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21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2.xml" ContentType="application/vnd.openxmlformats-officedocument.presentationml.notesSlid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23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charts/chart1.xml" ContentType="application/vnd.openxmlformats-officedocument.drawingml.chart+xml"/>
  <Override PartName="/ppt/theme/theme2.xml" ContentType="application/vnd.openxmlformats-officedocument.theme+xml"/>
  <Override PartName="/ppt/theme/theme24.xml" ContentType="application/vnd.openxmlformats-officedocument.theme+xml"/>
  <Override PartName="/ppt/theme/theme23.xml" ContentType="application/vnd.openxmlformats-officedocument.theme+xml"/>
  <Override PartName="/ppt/theme/theme22.xml" ContentType="application/vnd.openxmlformats-officedocument.theme+xml"/>
  <Override PartName="/ppt/theme/theme21.xml" ContentType="application/vnd.openxmlformats-officedocument.theme+xml"/>
  <Override PartName="/ppt/theme/theme20.xml" ContentType="application/vnd.openxmlformats-officedocument.theme+xml"/>
  <Override PartName="/ppt/theme/theme19.xml" ContentType="application/vnd.openxmlformats-officedocument.theme+xml"/>
  <Override PartName="/ppt/theme/theme18.xml" ContentType="application/vnd.openxmlformats-officedocument.theme+xml"/>
  <Override PartName="/ppt/theme/theme17.xml" ContentType="application/vnd.openxmlformats-officedocument.theme+xml"/>
  <Override PartName="/ppt/theme/theme16.xml" ContentType="application/vnd.openxmlformats-officedocument.theme+xml"/>
  <Override PartName="/ppt/theme/theme15.xml" ContentType="application/vnd.openxmlformats-officedocument.theme+xml"/>
  <Override PartName="/ppt/theme/theme14.xml" ContentType="application/vnd.openxmlformats-officedocument.theme+xml"/>
  <Override PartName="/ppt/theme/theme13.xml" ContentType="application/vnd.openxmlformats-officedocument.theme+xml"/>
  <Override PartName="/ppt/theme/theme12.xml" ContentType="application/vnd.openxmlformats-officedocument.theme+xml"/>
  <Override PartName="/ppt/theme/theme11.xml" ContentType="application/vnd.openxmlformats-officedocument.theme+xml"/>
  <Override PartName="/ppt/theme/theme10.xml" ContentType="application/vnd.openxmlformats-officedocument.theme+xml"/>
  <Override PartName="/ppt/theme/theme9.xml" ContentType="application/vnd.openxmlformats-officedocument.theme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34" r:id="rId1"/>
    <p:sldMasterId id="2147483841" r:id="rId2"/>
    <p:sldMasterId id="2147483910" r:id="rId3"/>
    <p:sldMasterId id="2147483928" r:id="rId4"/>
    <p:sldMasterId id="2147484047" r:id="rId5"/>
    <p:sldMasterId id="2147484182" r:id="rId6"/>
    <p:sldMasterId id="2147484544" r:id="rId7"/>
    <p:sldMasterId id="2147484551" r:id="rId8"/>
    <p:sldMasterId id="2147484676" r:id="rId9"/>
    <p:sldMasterId id="2147484700" r:id="rId10"/>
    <p:sldMasterId id="2147484995" r:id="rId11"/>
    <p:sldMasterId id="2147485069" r:id="rId12"/>
    <p:sldMasterId id="2147485098" r:id="rId13"/>
    <p:sldMasterId id="2147485113" r:id="rId14"/>
    <p:sldMasterId id="2147485137" r:id="rId15"/>
    <p:sldMasterId id="2147485206" r:id="rId16"/>
    <p:sldMasterId id="2147485213" r:id="rId17"/>
    <p:sldMasterId id="2147485219" r:id="rId18"/>
    <p:sldMasterId id="2147485248" r:id="rId19"/>
    <p:sldMasterId id="2147485254" r:id="rId20"/>
    <p:sldMasterId id="2147485276" r:id="rId21"/>
    <p:sldMasterId id="2147485295" r:id="rId22"/>
    <p:sldMasterId id="2147485307" r:id="rId23"/>
  </p:sldMasterIdLst>
  <p:notesMasterIdLst>
    <p:notesMasterId r:id="rId67"/>
  </p:notesMasterIdLst>
  <p:sldIdLst>
    <p:sldId id="924" r:id="rId24"/>
    <p:sldId id="2141411087" r:id="rId25"/>
    <p:sldId id="2134960292" r:id="rId26"/>
    <p:sldId id="2032092557" r:id="rId27"/>
    <p:sldId id="2141411095" r:id="rId28"/>
    <p:sldId id="2134960293" r:id="rId29"/>
    <p:sldId id="2147471663" r:id="rId30"/>
    <p:sldId id="2134960294" r:id="rId31"/>
    <p:sldId id="4113" r:id="rId32"/>
    <p:sldId id="2134960295" r:id="rId33"/>
    <p:sldId id="2147468874" r:id="rId34"/>
    <p:sldId id="270" r:id="rId35"/>
    <p:sldId id="2147468875" r:id="rId36"/>
    <p:sldId id="2147468876" r:id="rId37"/>
    <p:sldId id="2147468879" r:id="rId38"/>
    <p:sldId id="2147468881" r:id="rId39"/>
    <p:sldId id="2147468880" r:id="rId40"/>
    <p:sldId id="2141411096" r:id="rId41"/>
    <p:sldId id="2134960291" r:id="rId42"/>
    <p:sldId id="2141411097" r:id="rId43"/>
    <p:sldId id="3856" r:id="rId44"/>
    <p:sldId id="2714" r:id="rId45"/>
    <p:sldId id="3861" r:id="rId46"/>
    <p:sldId id="404" r:id="rId47"/>
    <p:sldId id="289" r:id="rId48"/>
    <p:sldId id="431" r:id="rId49"/>
    <p:sldId id="411" r:id="rId50"/>
    <p:sldId id="292" r:id="rId51"/>
    <p:sldId id="274" r:id="rId52"/>
    <p:sldId id="684" r:id="rId53"/>
    <p:sldId id="693" r:id="rId54"/>
    <p:sldId id="678" r:id="rId55"/>
    <p:sldId id="691" r:id="rId56"/>
    <p:sldId id="258" r:id="rId57"/>
    <p:sldId id="2147468882" r:id="rId58"/>
    <p:sldId id="2147468883" r:id="rId59"/>
    <p:sldId id="2147468884" r:id="rId60"/>
    <p:sldId id="2147471664" r:id="rId61"/>
    <p:sldId id="2147471665" r:id="rId62"/>
    <p:sldId id="2147471667" r:id="rId63"/>
    <p:sldId id="2147471666" r:id="rId64"/>
    <p:sldId id="2147471669" r:id="rId65"/>
    <p:sldId id="2147471668" r:id="rId6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1" clrIdx="0">
    <p:extLst>
      <p:ext uri="{19B8F6BF-5375-455C-9EA6-DF929625EA0E}">
        <p15:presenceInfo xmlns:p15="http://schemas.microsoft.com/office/powerpoint/2012/main" userId="Microsoft Office User" providerId="None"/>
      </p:ext>
    </p:extLst>
  </p:cmAuthor>
  <p:cmAuthor id="2" name="Mesa, Ruben A., M.D." initials="MRAM" lastIdx="1" clrIdx="1"/>
  <p:cmAuthor id="3" name="Nirupama Mulherkar" initials="NM" lastIdx="1" clrIdx="2">
    <p:extLst>
      <p:ext uri="{19B8F6BF-5375-455C-9EA6-DF929625EA0E}">
        <p15:presenceInfo xmlns:p15="http://schemas.microsoft.com/office/powerpoint/2012/main" userId="Nirupama Mulherkar" providerId="None"/>
      </p:ext>
    </p:extLst>
  </p:cmAuthor>
  <p:cmAuthor id="4" name="Steve Tuciarone" initials="ST" lastIdx="1" clrIdx="3">
    <p:extLst>
      <p:ext uri="{19B8F6BF-5375-455C-9EA6-DF929625EA0E}">
        <p15:presenceInfo xmlns:p15="http://schemas.microsoft.com/office/powerpoint/2012/main" userId="S::stuciarone@celgene.com::1dec709c-a6b7-46e7-8dff-0b6b073ce3c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43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58" autoAdjust="0"/>
    <p:restoredTop sz="94423" autoAdjust="0"/>
  </p:normalViewPr>
  <p:slideViewPr>
    <p:cSldViewPr snapToGrid="0" snapToObjects="1">
      <p:cViewPr varScale="1">
        <p:scale>
          <a:sx n="168" d="100"/>
          <a:sy n="168" d="100"/>
        </p:scale>
        <p:origin x="776" y="19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3.xml"/><Relationship Id="rId21" Type="http://schemas.openxmlformats.org/officeDocument/2006/relationships/slideMaster" Target="slideMasters/slideMaster21.xml"/><Relationship Id="rId42" Type="http://schemas.openxmlformats.org/officeDocument/2006/relationships/slide" Target="slides/slide19.xml"/><Relationship Id="rId47" Type="http://schemas.openxmlformats.org/officeDocument/2006/relationships/slide" Target="slides/slide24.xml"/><Relationship Id="rId63" Type="http://schemas.openxmlformats.org/officeDocument/2006/relationships/slide" Target="slides/slide40.xml"/><Relationship Id="rId68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slide" Target="slides/slide22.xml"/><Relationship Id="rId53" Type="http://schemas.openxmlformats.org/officeDocument/2006/relationships/slide" Target="slides/slide30.xml"/><Relationship Id="rId58" Type="http://schemas.openxmlformats.org/officeDocument/2006/relationships/slide" Target="slides/slide35.xml"/><Relationship Id="rId66" Type="http://schemas.openxmlformats.org/officeDocument/2006/relationships/slide" Target="slides/slide43.xml"/><Relationship Id="rId74" Type="http://schemas.openxmlformats.org/officeDocument/2006/relationships/customXml" Target="../customXml/item2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38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slide" Target="slides/slide25.xml"/><Relationship Id="rId56" Type="http://schemas.openxmlformats.org/officeDocument/2006/relationships/slide" Target="slides/slide33.xml"/><Relationship Id="rId64" Type="http://schemas.openxmlformats.org/officeDocument/2006/relationships/slide" Target="slides/slide41.xml"/><Relationship Id="rId69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8.xml"/><Relationship Id="rId72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slide" Target="slides/slide23.xml"/><Relationship Id="rId59" Type="http://schemas.openxmlformats.org/officeDocument/2006/relationships/slide" Target="slides/slide36.xml"/><Relationship Id="rId67" Type="http://schemas.openxmlformats.org/officeDocument/2006/relationships/notesMaster" Target="notesMasters/notesMaster1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8.xml"/><Relationship Id="rId54" Type="http://schemas.openxmlformats.org/officeDocument/2006/relationships/slide" Target="slides/slide31.xml"/><Relationship Id="rId62" Type="http://schemas.openxmlformats.org/officeDocument/2006/relationships/slide" Target="slides/slide39.xml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slide" Target="slides/slide26.xml"/><Relationship Id="rId57" Type="http://schemas.openxmlformats.org/officeDocument/2006/relationships/slide" Target="slides/slide34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8.xml"/><Relationship Id="rId44" Type="http://schemas.openxmlformats.org/officeDocument/2006/relationships/slide" Target="slides/slide21.xml"/><Relationship Id="rId52" Type="http://schemas.openxmlformats.org/officeDocument/2006/relationships/slide" Target="slides/slide29.xml"/><Relationship Id="rId60" Type="http://schemas.openxmlformats.org/officeDocument/2006/relationships/slide" Target="slides/slide37.xml"/><Relationship Id="rId65" Type="http://schemas.openxmlformats.org/officeDocument/2006/relationships/slide" Target="slides/slide42.xml"/><Relationship Id="rId73" Type="http://schemas.openxmlformats.org/officeDocument/2006/relationships/customXml" Target="../customXml/item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16.xml"/><Relationship Id="rId34" Type="http://schemas.openxmlformats.org/officeDocument/2006/relationships/slide" Target="slides/slide11.xml"/><Relationship Id="rId50" Type="http://schemas.openxmlformats.org/officeDocument/2006/relationships/slide" Target="slides/slide27.xml"/><Relationship Id="rId55" Type="http://schemas.openxmlformats.org/officeDocument/2006/relationships/slide" Target="slides/slide32.xml"/><Relationship Id="rId7" Type="http://schemas.openxmlformats.org/officeDocument/2006/relationships/slideMaster" Target="slideMasters/slideMaster7.xml"/><Relationship Id="rId71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052844039545901"/>
          <c:y val="2.21939116898285E-2"/>
          <c:w val="0.73518494269880397"/>
          <c:h val="0.951825694338288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ie segment Size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solidFill>
                <a:schemeClr val="bg2"/>
              </a:solidFill>
            </a:ln>
            <a:effectLst>
              <a:innerShdw blurRad="355600">
                <a:schemeClr val="bg2">
                  <a:lumMod val="25000"/>
                </a:schemeClr>
              </a:innerShdw>
            </a:effectLst>
          </c:spPr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bg2"/>
                </a:solidFill>
              </a:ln>
              <a:effectLst>
                <a:innerShdw blurRad="355600">
                  <a:schemeClr val="bg2">
                    <a:lumMod val="25000"/>
                  </a:scheme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1-3623-4603-ACD0-71A4AD0A7F7F}"/>
              </c:ext>
            </c:extLst>
          </c:dPt>
          <c:dPt>
            <c:idx val="1"/>
            <c:bubble3D val="0"/>
            <c:spPr>
              <a:solidFill>
                <a:schemeClr val="accent2">
                  <a:lumMod val="20000"/>
                  <a:lumOff val="80000"/>
                </a:schemeClr>
              </a:solidFill>
              <a:ln w="19050">
                <a:solidFill>
                  <a:schemeClr val="bg2"/>
                </a:solidFill>
              </a:ln>
              <a:effectLst>
                <a:innerShdw blurRad="355600">
                  <a:schemeClr val="bg2">
                    <a:lumMod val="25000"/>
                  </a:scheme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3-3623-4603-ACD0-71A4AD0A7F7F}"/>
              </c:ext>
            </c:extLst>
          </c:dPt>
          <c:dPt>
            <c:idx val="2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 w="19050">
                <a:solidFill>
                  <a:schemeClr val="bg2"/>
                </a:solidFill>
              </a:ln>
              <a:effectLst>
                <a:innerShdw blurRad="355600">
                  <a:schemeClr val="bg2">
                    <a:lumMod val="25000"/>
                  </a:scheme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5-3623-4603-ACD0-71A4AD0A7F7F}"/>
              </c:ext>
            </c:extLst>
          </c:dPt>
          <c:dPt>
            <c:idx val="3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bg2"/>
                </a:solidFill>
              </a:ln>
              <a:effectLst>
                <a:innerShdw blurRad="355600">
                  <a:schemeClr val="bg2">
                    <a:lumMod val="25000"/>
                  </a:scheme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7-3623-4603-ACD0-71A4AD0A7F7F}"/>
              </c:ext>
            </c:extLst>
          </c:dPt>
          <c:dPt>
            <c:idx val="4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 w="19050">
                <a:solidFill>
                  <a:schemeClr val="bg2"/>
                </a:solidFill>
              </a:ln>
              <a:effectLst>
                <a:innerShdw blurRad="355600">
                  <a:schemeClr val="bg2">
                    <a:lumMod val="25000"/>
                  </a:scheme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9-3623-4603-ACD0-71A4AD0A7F7F}"/>
              </c:ext>
            </c:extLst>
          </c:dPt>
          <c:dPt>
            <c:idx val="5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bg2"/>
                </a:solidFill>
              </a:ln>
              <a:effectLst>
                <a:innerShdw blurRad="355600">
                  <a:schemeClr val="bg2">
                    <a:lumMod val="25000"/>
                  </a:scheme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B-3623-4603-ACD0-71A4AD0A7F7F}"/>
              </c:ext>
            </c:extLst>
          </c:dPt>
          <c:dPt>
            <c:idx val="6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bg2"/>
                </a:solidFill>
              </a:ln>
              <a:effectLst>
                <a:innerShdw blurRad="355600">
                  <a:schemeClr val="bg2">
                    <a:lumMod val="25000"/>
                  </a:scheme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D-3623-4603-ACD0-71A4AD0A7F7F}"/>
              </c:ext>
            </c:extLst>
          </c:dPt>
          <c:dPt>
            <c:idx val="7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 w="19050">
                <a:solidFill>
                  <a:schemeClr val="bg2"/>
                </a:solidFill>
              </a:ln>
              <a:effectLst>
                <a:innerShdw blurRad="355600">
                  <a:schemeClr val="bg2">
                    <a:lumMod val="25000"/>
                  </a:scheme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F-3623-4603-ACD0-71A4AD0A7F7F}"/>
              </c:ext>
            </c:extLst>
          </c:dPt>
          <c:dLbls>
            <c:dLbl>
              <c:idx val="0"/>
              <c:layout>
                <c:manualLayout>
                  <c:x val="1.23164374009796E-2"/>
                  <c:y val="-3.7660181800820897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623-4603-ACD0-71A4AD0A7F7F}"/>
                </c:ext>
              </c:extLst>
            </c:dLbl>
            <c:dLbl>
              <c:idx val="5"/>
              <c:layout>
                <c:manualLayout>
                  <c:x val="-2.6685614368788999E-2"/>
                  <c:y val="5.0213575734427904E-3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623-4603-ACD0-71A4AD0A7F7F}"/>
                </c:ext>
              </c:extLst>
            </c:dLbl>
            <c:dLbl>
              <c:idx val="6"/>
              <c:layout>
                <c:manualLayout>
                  <c:x val="-2.8738353935619E-2"/>
                  <c:y val="-2.259610908049259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623-4603-ACD0-71A4AD0A7F7F}"/>
                </c:ext>
              </c:extLst>
            </c:dLbl>
            <c:dLbl>
              <c:idx val="7"/>
              <c:layout>
                <c:manualLayout>
                  <c:x val="0"/>
                  <c:y val="-3.5149503014099498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3623-4603-ACD0-71A4AD0A7F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1D366C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9</c:f>
              <c:strCache>
                <c:ptCount val="8"/>
                <c:pt idx="0">
                  <c:v>MDM2i</c:v>
                </c:pt>
                <c:pt idx="1">
                  <c:v>Immuno-modulator / CPI</c:v>
                </c:pt>
                <c:pt idx="2">
                  <c:v>HDAC / Epigenetic</c:v>
                </c:pt>
                <c:pt idx="3">
                  <c:v>Next-gen JAKi</c:v>
                </c:pt>
                <c:pt idx="4">
                  <c:v>Signalling / TKI</c:v>
                </c:pt>
                <c:pt idx="5">
                  <c:v>Receptor Ab / ADC</c:v>
                </c:pt>
                <c:pt idx="6">
                  <c:v>Anti-fibrotic</c:v>
                </c:pt>
                <c:pt idx="7">
                  <c:v>Cell Cycle Checkpoint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0.1</c:v>
                </c:pt>
                <c:pt idx="1">
                  <c:v>0.14000000000000001</c:v>
                </c:pt>
                <c:pt idx="2">
                  <c:v>0.22</c:v>
                </c:pt>
                <c:pt idx="3">
                  <c:v>0.18</c:v>
                </c:pt>
                <c:pt idx="4">
                  <c:v>0.13</c:v>
                </c:pt>
                <c:pt idx="5">
                  <c:v>0.06</c:v>
                </c:pt>
                <c:pt idx="6">
                  <c:v>0.06</c:v>
                </c:pt>
                <c:pt idx="7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3623-4603-ACD0-71A4AD0A7F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360"/>
        <c:holeSize val="4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95.emf"/><Relationship Id="rId1" Type="http://schemas.openxmlformats.org/officeDocument/2006/relationships/image" Target="../media/image94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97.emf"/><Relationship Id="rId1" Type="http://schemas.openxmlformats.org/officeDocument/2006/relationships/image" Target="../media/image9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27A954-2C00-5940-9180-4664AA3FF68B}" type="datetimeFigureOut">
              <a:rPr lang="en-US" smtClean="0"/>
              <a:t>11/11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EE969D-541C-5946-8104-90FDEDFE64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9384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C</a:t>
            </a:r>
            <a:r>
              <a:rPr lang="en-US" baseline="0" dirty="0"/>
              <a:t> to d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EE969D-541C-5946-8104-90FDEDFE641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31984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B84AA8-5E51-41DE-BB87-3567F7433A0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17061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4FB33F-A295-4954-8A9C-BF201426FA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62237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D17001-3C6B-9C48-95DC-665C218725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14499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D17001-3C6B-9C48-95DC-665C218725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33470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D17001-3C6B-9C48-95DC-665C218725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73923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D17001-3C6B-9C48-95DC-665C218725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70161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D17001-3C6B-9C48-95DC-665C218725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048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Geneva" charset="0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Geneva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44051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RAK1 is critical in inflammasome signaling.  Inhibition of IRAK1 suppresses IL-1, </a:t>
            </a:r>
            <a:r>
              <a:rPr lang="en-US" dirty="0" err="1"/>
              <a:t>TNFalpha</a:t>
            </a:r>
            <a:r>
              <a:rPr lang="en-US" dirty="0"/>
              <a:t>, IL-6, IL17 and TGF beta among other inflammatory cytokin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765F8F-FC81-4EC5-BCED-E8F4252ABA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89592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69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F3FC0C-986F-5D46-B578-ECDE770236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69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09125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08DA9D-9261-41FF-A10E-03428ABE50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77684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EE969D-541C-5946-8104-90FDEDFE641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67673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08DA9D-9261-41FF-A10E-03428ABE50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910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B84AA8-5E51-41DE-BB87-3567F7433A0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21887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dirty="0">
                <a:solidFill>
                  <a:schemeClr val="tx1"/>
                </a:solidFill>
              </a:rPr>
              <a:t>MF is driven by constitutive activation of JAK/STAT signaling pathway.  Increased expression of pro-survival proteins, such as BCL-X</a:t>
            </a:r>
            <a:r>
              <a:rPr lang="en-US" sz="1800" b="0" baseline="-25000" dirty="0">
                <a:solidFill>
                  <a:schemeClr val="tx1"/>
                </a:solidFill>
              </a:rPr>
              <a:t>L</a:t>
            </a:r>
            <a:r>
              <a:rPr lang="en-US" sz="1800" b="0" dirty="0">
                <a:solidFill>
                  <a:schemeClr val="tx1"/>
                </a:solidFill>
              </a:rPr>
              <a:t>, enables MF cells to evade apoptosis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is Phase 2 REFINE study is evaluating navitoclax and ruxolitinib combination in patients with MF who are either naïve and/or exposed to ruxolitinib. Previous results in patients with persistent or progressive myeloﬁbrosis showed that the addition of navitoclax to ruxolitinib resulted in durable SVR</a:t>
            </a:r>
            <a:r>
              <a:rPr lang="en-US" sz="1800" baseline="-25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5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improved TSS</a:t>
            </a:r>
            <a:r>
              <a:rPr lang="en-US" sz="1800" baseline="-25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0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hemoglobin response, and BMF reducti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B84AA8-5E51-41DE-BB87-3567F7433A0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90916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6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6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8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9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0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0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0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0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0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0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0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Master" Target="../slideMasters/slideMaster20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1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3.xml"/><Relationship Id="rId1" Type="http://schemas.openxmlformats.org/officeDocument/2006/relationships/tags" Target="../tags/tag2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tiff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381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685801"/>
            <a:ext cx="10363200" cy="2743200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191000"/>
            <a:ext cx="9448800" cy="1752600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3810000"/>
            <a:ext cx="12192000" cy="0"/>
          </a:xfrm>
          <a:prstGeom prst="line">
            <a:avLst/>
          </a:prstGeom>
          <a:ln w="28575">
            <a:solidFill>
              <a:srgbClr val="84B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" y="6553200"/>
            <a:ext cx="10668000" cy="22860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5"/>
            <a:endParaRPr lang="en-US" dirty="0">
              <a:solidFill>
                <a:srgbClr val="323232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0800" y="6476360"/>
            <a:ext cx="609600" cy="305440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5"/>
            <a:fld id="{74EEA10D-E951-474C-8CD0-91078E47E9CB}" type="slidenum">
              <a:rPr lang="en-US" smtClean="0">
                <a:solidFill>
                  <a:srgbClr val="323232"/>
                </a:solidFill>
              </a:rPr>
              <a:pPr defTabSz="914355"/>
              <a:t>‹#›</a:t>
            </a:fld>
            <a:endParaRPr lang="en-US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4193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0AC585-C618-4145-97F9-D796B56897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A382A8-A1B4-2649-B98B-018AC1CC08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F439B2-5875-FB48-8204-1BC5845857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B0AB0B1-4E72-0F4F-BD3B-BD3BD89A60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01244" y="6475453"/>
            <a:ext cx="2384425" cy="3444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549522-D7C2-4019-87CB-F232E76F366D}" type="datetime1">
              <a:rPr lang="en-US" smtClean="0">
                <a:solidFill>
                  <a:srgbClr val="FFFFFF"/>
                </a:solidFill>
                <a:latin typeface="Calibri"/>
              </a:rPr>
              <a:pPr>
                <a:defRPr/>
              </a:pPr>
              <a:t>11/11/22</a:t>
            </a:fld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99E8FF3-EA37-F049-B53D-56CA5121B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27389" y="6465928"/>
            <a:ext cx="5741987" cy="3635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E0A299E-EE1B-3F48-BE4D-B2C819DC3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8643" y="6470651"/>
            <a:ext cx="2481943" cy="3540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44F889-5250-E84E-AC29-829E65F4F6E8}" type="slidenum">
              <a:rPr lang="en-US" smtClean="0">
                <a:solidFill>
                  <a:srgbClr val="FFFFFF"/>
                </a:solidFill>
                <a:latin typeface="Calibri"/>
              </a:rPr>
              <a:pPr>
                <a:defRPr/>
              </a:pPr>
              <a:t>‹#›</a:t>
            </a:fld>
            <a:r>
              <a:rPr lang="en-US" dirty="0">
                <a:solidFill>
                  <a:srgbClr val="FFFFFF"/>
                </a:solidFill>
                <a:latin typeface="Calibri"/>
              </a:rPr>
              <a:t> |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0020280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196756"/>
            <a:ext cx="11406717" cy="5132611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00" y="5966155"/>
            <a:ext cx="2950633" cy="774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02106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B51A69-217E-304A-83E7-7C76069E0B56}" type="datetime1">
              <a:rPr lang="en-US" smtClean="0">
                <a:solidFill>
                  <a:srgbClr val="BC4800"/>
                </a:solidFill>
              </a:rPr>
              <a:pPr/>
              <a:t>11/11/22</a:t>
            </a:fld>
            <a:endParaRPr lang="en-US">
              <a:solidFill>
                <a:srgbClr val="BC48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BC4800"/>
                </a:solidFill>
              </a:rPr>
              <a:t>This presentation is the intellectual property of the author/presenter. Contact them at mesar@uthscsa.edu for permission to reprint and/or distribute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AB156-197D-A64A-BD06-C109EC4A5AB2}" type="slidenum">
              <a:rPr lang="en-US" smtClean="0">
                <a:solidFill>
                  <a:srgbClr val="BC4800"/>
                </a:solidFill>
              </a:rPr>
              <a:pPr/>
              <a:t>‹#›</a:t>
            </a:fld>
            <a:endParaRPr lang="en-US">
              <a:solidFill>
                <a:srgbClr val="BC48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90168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914400" y="6497638"/>
            <a:ext cx="9144000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514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7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914400" y="6503988"/>
            <a:ext cx="9144000" cy="19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514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7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67640"/>
            <a:ext cx="10566400" cy="787400"/>
          </a:xfrm>
          <a:noFill/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76400"/>
            <a:ext cx="10363200" cy="4419600"/>
          </a:xfrm>
        </p:spPr>
        <p:txBody>
          <a:bodyPr/>
          <a:lstStyle>
            <a:lvl1pPr>
              <a:spcBef>
                <a:spcPts val="506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914400" y="6248400"/>
            <a:ext cx="10392227" cy="4572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75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675" b="0" baseline="0"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 defTabSz="514350">
              <a:defRPr/>
            </a:pPr>
            <a:fld id="{2BE16F37-D63B-443C-96C0-C234F1098F79}" type="slidenum">
              <a:rPr lang="en-US" smtClean="0">
                <a:latin typeface="Arial"/>
              </a:rPr>
              <a:pPr defTabSz="514350">
                <a:defRPr/>
              </a:pPr>
              <a:t>‹#›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714922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-2"/>
            <a:ext cx="12191999" cy="45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0" i="0" dirty="0">
              <a:solidFill>
                <a:schemeClr val="lt1"/>
              </a:solidFill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255212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  <a:p>
            <a:pPr lvl="0"/>
            <a:r>
              <a:rPr lang="en-US" dirty="0"/>
              <a:t>Goes Here</a:t>
            </a:r>
          </a:p>
        </p:txBody>
      </p:sp>
      <p:pic>
        <p:nvPicPr>
          <p:cNvPr id="3" name="Picture 2" descr="PREFERRED_full-color_MAYS-UTH-MDA_h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7520" y="5120640"/>
            <a:ext cx="4620768" cy="117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9679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Blue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0"/>
            <a:ext cx="12191999" cy="45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0" i="0" dirty="0"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177155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5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</a:p>
          <a:p>
            <a:pPr lvl="0"/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10350659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Green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0"/>
            <a:ext cx="12191999" cy="45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0" i="0" dirty="0"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177156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5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</a:p>
          <a:p>
            <a:pPr lvl="0"/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656757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" y="-2"/>
            <a:ext cx="12191999" cy="45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0" i="0" dirty="0">
              <a:solidFill>
                <a:schemeClr val="lt1"/>
              </a:solidFill>
              <a:latin typeface="Goudy Oldstyle Std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26592" y="1179576"/>
            <a:ext cx="9729216" cy="2715768"/>
          </a:xfrm>
        </p:spPr>
        <p:txBody>
          <a:bodyPr anchor="b" anchorCtr="0">
            <a:noAutofit/>
          </a:bodyPr>
          <a:lstStyle>
            <a:lvl1pPr>
              <a:defRPr sz="45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551929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4464460"/>
            <a:ext cx="10515600" cy="1063486"/>
          </a:xfrm>
          <a:solidFill>
            <a:schemeClr val="tx1"/>
          </a:solidFill>
          <a:ln>
            <a:noFill/>
          </a:ln>
        </p:spPr>
        <p:txBody>
          <a:bodyPr lIns="182880" tIns="91440" rIns="274320" bIns="27432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insert photo caption.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838200" y="685835"/>
            <a:ext cx="10515600" cy="3778624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534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Text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597368"/>
            <a:ext cx="10515600" cy="1191092"/>
          </a:xfrm>
        </p:spPr>
        <p:txBody>
          <a:bodyPr>
            <a:normAutofit/>
          </a:bodyPr>
          <a:lstStyle>
            <a:lvl1pPr>
              <a:defRPr sz="4000" baseline="0"/>
            </a:lvl1pPr>
          </a:lstStyle>
          <a:p>
            <a:r>
              <a:rPr lang="en-US" dirty="0"/>
              <a:t>Click to insert Slide Head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9" y="1922930"/>
            <a:ext cx="5157787" cy="4172604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6484937" y="1922930"/>
            <a:ext cx="4870451" cy="3671046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01035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ubhead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5" y="1044076"/>
            <a:ext cx="3352800" cy="569572"/>
          </a:xfrm>
        </p:spPr>
        <p:txBody>
          <a:bodyPr>
            <a:normAutofit/>
          </a:bodyPr>
          <a:lstStyle>
            <a:lvl1pPr>
              <a:defRPr sz="27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1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7" y="1775015"/>
            <a:ext cx="3352800" cy="3757657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750"/>
              </a:spcBef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4384353" y="1775015"/>
            <a:ext cx="3352800" cy="3757657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750"/>
              </a:spcBef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7928920" y="1775015"/>
            <a:ext cx="3352800" cy="3757656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750"/>
              </a:spcBef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384351" y="1043609"/>
            <a:ext cx="3352800" cy="56957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700">
                <a:solidFill>
                  <a:schemeClr val="accent1"/>
                </a:solidFill>
              </a:defRPr>
            </a:lvl1pPr>
            <a:lvl2pPr marL="342900" indent="0">
              <a:buNone/>
              <a:defRPr sz="2700">
                <a:solidFill>
                  <a:schemeClr val="accent1"/>
                </a:solidFill>
              </a:defRPr>
            </a:lvl2pPr>
            <a:lvl3pPr marL="685800" indent="0">
              <a:buNone/>
              <a:defRPr sz="2700">
                <a:solidFill>
                  <a:schemeClr val="accent1"/>
                </a:solidFill>
              </a:defRPr>
            </a:lvl3pPr>
            <a:lvl4pPr marL="1028700" indent="0">
              <a:buNone/>
              <a:defRPr sz="2700">
                <a:solidFill>
                  <a:schemeClr val="accent1"/>
                </a:solidFill>
              </a:defRPr>
            </a:lvl4pPr>
            <a:lvl5pPr marL="1371600" indent="0">
              <a:buNone/>
              <a:defRPr sz="27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Headline 2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7928919" y="1043063"/>
            <a:ext cx="3352800" cy="569837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700">
                <a:solidFill>
                  <a:schemeClr val="accent1"/>
                </a:solidFill>
              </a:defRPr>
            </a:lvl1pPr>
            <a:lvl2pPr marL="342900" indent="0">
              <a:buNone/>
              <a:defRPr sz="2700">
                <a:solidFill>
                  <a:schemeClr val="accent1"/>
                </a:solidFill>
              </a:defRPr>
            </a:lvl2pPr>
            <a:lvl3pPr marL="685800" indent="0">
              <a:buNone/>
              <a:defRPr sz="2700">
                <a:solidFill>
                  <a:schemeClr val="accent1"/>
                </a:solidFill>
              </a:defRPr>
            </a:lvl3pPr>
            <a:lvl4pPr marL="1028700" indent="0">
              <a:buNone/>
              <a:defRPr sz="2700">
                <a:solidFill>
                  <a:schemeClr val="accent1"/>
                </a:solidFill>
              </a:defRPr>
            </a:lvl4pPr>
            <a:lvl5pPr marL="1371600" indent="0">
              <a:buNone/>
              <a:defRPr sz="27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2697739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46293-BAA3-524C-A0E1-BAE9E5083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659608"/>
            <a:ext cx="10515600" cy="10311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09920C-387A-6A4C-93C6-A45CAD6735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668" indent="0">
              <a:buNone/>
              <a:defRPr sz="1500" b="1"/>
            </a:lvl2pPr>
            <a:lvl3pPr marL="685358" indent="0">
              <a:buNone/>
              <a:defRPr sz="1400" b="1"/>
            </a:lvl3pPr>
            <a:lvl4pPr marL="1028037" indent="0">
              <a:buNone/>
              <a:defRPr sz="1200" b="1"/>
            </a:lvl4pPr>
            <a:lvl5pPr marL="1370716" indent="0">
              <a:buNone/>
              <a:defRPr sz="1200" b="1"/>
            </a:lvl5pPr>
            <a:lvl6pPr marL="1713407" indent="0">
              <a:buNone/>
              <a:defRPr sz="1200" b="1"/>
            </a:lvl6pPr>
            <a:lvl7pPr marL="2056073" indent="0">
              <a:buNone/>
              <a:defRPr sz="1200" b="1"/>
            </a:lvl7pPr>
            <a:lvl8pPr marL="2398740" indent="0">
              <a:buNone/>
              <a:defRPr sz="1200" b="1"/>
            </a:lvl8pPr>
            <a:lvl9pPr marL="2741408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D4388C-97F0-1A4C-9C01-09D7632A01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0A2267-C929-2648-A64E-31D51643035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10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668" indent="0">
              <a:buNone/>
              <a:defRPr sz="1500" b="1"/>
            </a:lvl2pPr>
            <a:lvl3pPr marL="685358" indent="0">
              <a:buNone/>
              <a:defRPr sz="1400" b="1"/>
            </a:lvl3pPr>
            <a:lvl4pPr marL="1028037" indent="0">
              <a:buNone/>
              <a:defRPr sz="1200" b="1"/>
            </a:lvl4pPr>
            <a:lvl5pPr marL="1370716" indent="0">
              <a:buNone/>
              <a:defRPr sz="1200" b="1"/>
            </a:lvl5pPr>
            <a:lvl6pPr marL="1713407" indent="0">
              <a:buNone/>
              <a:defRPr sz="1200" b="1"/>
            </a:lvl6pPr>
            <a:lvl7pPr marL="2056073" indent="0">
              <a:buNone/>
              <a:defRPr sz="1200" b="1"/>
            </a:lvl7pPr>
            <a:lvl8pPr marL="2398740" indent="0">
              <a:buNone/>
              <a:defRPr sz="1200" b="1"/>
            </a:lvl8pPr>
            <a:lvl9pPr marL="2741408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A4E3BB-2E50-FA4F-BC88-6F6CE3526B3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1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826B6678-A27B-1A40-A40A-3B70F34232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01244" y="6475453"/>
            <a:ext cx="2384425" cy="3444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033C1A-43EA-47F5-851D-770B8A35E1EF}" type="datetime1">
              <a:rPr lang="en-US" smtClean="0">
                <a:solidFill>
                  <a:srgbClr val="FFFFFF"/>
                </a:solidFill>
                <a:latin typeface="Calibri"/>
              </a:rPr>
              <a:pPr>
                <a:defRPr/>
              </a:pPr>
              <a:t>11/11/22</a:t>
            </a:fld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64E60C8-2ED8-AC42-89F7-7E69EE4B35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27389" y="6465928"/>
            <a:ext cx="5741987" cy="3635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5C46650-AF3A-7041-BBC8-C031A88D40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8643" y="6470651"/>
            <a:ext cx="2481943" cy="3540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44F889-5250-E84E-AC29-829E65F4F6E8}" type="slidenum">
              <a:rPr lang="en-US" smtClean="0">
                <a:solidFill>
                  <a:srgbClr val="FFFFFF"/>
                </a:solidFill>
                <a:latin typeface="Calibri"/>
              </a:rPr>
              <a:pPr>
                <a:defRPr/>
              </a:pPr>
              <a:t>‹#›</a:t>
            </a:fld>
            <a:r>
              <a:rPr lang="en-US" dirty="0">
                <a:solidFill>
                  <a:srgbClr val="FFFFFF"/>
                </a:solidFill>
                <a:latin typeface="Calibri"/>
              </a:rPr>
              <a:t> |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59512195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871004"/>
            <a:ext cx="10515600" cy="699379"/>
          </a:xfrm>
        </p:spPr>
        <p:txBody>
          <a:bodyPr>
            <a:normAutofit/>
          </a:bodyPr>
          <a:lstStyle>
            <a:lvl1pPr>
              <a:defRPr sz="4000" baseline="0"/>
            </a:lvl1pPr>
          </a:lstStyle>
          <a:p>
            <a:r>
              <a:rPr lang="en-US" dirty="0"/>
              <a:t>Click to insert Slide Head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8" y="2268588"/>
            <a:ext cx="5050024" cy="327392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6306672" y="2268588"/>
            <a:ext cx="5048717" cy="327392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39788" y="1632479"/>
            <a:ext cx="5049835" cy="544194"/>
          </a:xfrm>
        </p:spPr>
        <p:txBody>
          <a:bodyPr anchor="ctr" anchorCtr="0">
            <a:normAutofit/>
          </a:bodyPr>
          <a:lstStyle>
            <a:lvl1pPr marL="0" indent="0">
              <a:spcBef>
                <a:spcPts val="0"/>
              </a:spcBef>
              <a:buNone/>
              <a:defRPr sz="2700" baseline="0">
                <a:solidFill>
                  <a:schemeClr val="accent1"/>
                </a:solidFill>
              </a:defRPr>
            </a:lvl1pPr>
            <a:lvl2pPr>
              <a:defRPr sz="2700">
                <a:solidFill>
                  <a:schemeClr val="accent1">
                    <a:lumMod val="40000"/>
                    <a:lumOff val="60000"/>
                  </a:schemeClr>
                </a:solidFill>
              </a:defRPr>
            </a:lvl2pPr>
            <a:lvl3pPr>
              <a:defRPr sz="2700">
                <a:solidFill>
                  <a:schemeClr val="accent1">
                    <a:lumMod val="40000"/>
                    <a:lumOff val="60000"/>
                  </a:schemeClr>
                </a:solidFill>
              </a:defRPr>
            </a:lvl3pPr>
            <a:lvl4pPr>
              <a:defRPr sz="2700">
                <a:solidFill>
                  <a:schemeClr val="accent1">
                    <a:lumMod val="40000"/>
                    <a:lumOff val="60000"/>
                  </a:schemeClr>
                </a:solidFill>
              </a:defRPr>
            </a:lvl4pPr>
            <a:lvl5pPr>
              <a:defRPr sz="2700">
                <a:solidFill>
                  <a:schemeClr val="accent1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306672" y="1632852"/>
            <a:ext cx="5048717" cy="544194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700">
                <a:solidFill>
                  <a:schemeClr val="accent1"/>
                </a:solidFill>
              </a:defRPr>
            </a:lvl1pPr>
            <a:lvl2pPr marL="342900" indent="0">
              <a:buNone/>
              <a:defRPr sz="2700">
                <a:solidFill>
                  <a:schemeClr val="accent1"/>
                </a:solidFill>
              </a:defRPr>
            </a:lvl2pPr>
            <a:lvl3pPr marL="685800" indent="0">
              <a:buNone/>
              <a:defRPr sz="2700">
                <a:solidFill>
                  <a:schemeClr val="accent1"/>
                </a:solidFill>
              </a:defRPr>
            </a:lvl3pPr>
            <a:lvl4pPr marL="1028700" indent="0">
              <a:buNone/>
              <a:defRPr sz="2700">
                <a:solidFill>
                  <a:schemeClr val="accent1"/>
                </a:solidFill>
              </a:defRPr>
            </a:lvl4pPr>
            <a:lvl5pPr marL="1371600" indent="0">
              <a:buNone/>
              <a:defRPr sz="27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</p:spTree>
    <p:extLst>
      <p:ext uri="{BB962C8B-B14F-4D97-AF65-F5344CB8AC3E}">
        <p14:creationId xmlns:p14="http://schemas.microsoft.com/office/powerpoint/2010/main" val="911120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77814"/>
            <a:ext cx="10515600" cy="69632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0" y="2373021"/>
            <a:ext cx="10515600" cy="3238407"/>
          </a:xfrm>
        </p:spPr>
        <p:txBody>
          <a:bodyPr numCol="3" spcCol="274320">
            <a:norm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623831"/>
            <a:ext cx="10515600" cy="552839"/>
          </a:xfrm>
        </p:spPr>
        <p:txBody>
          <a:bodyPr anchor="ctr" anchorCtr="0">
            <a:normAutofit/>
          </a:bodyPr>
          <a:lstStyle>
            <a:lvl1pPr marL="0" indent="0">
              <a:spcBef>
                <a:spcPts val="0"/>
              </a:spcBef>
              <a:buNone/>
              <a:defRPr sz="2700" baseline="0">
                <a:solidFill>
                  <a:schemeClr val="accent1"/>
                </a:solidFill>
              </a:defRPr>
            </a:lvl1pPr>
            <a:lvl2pPr>
              <a:defRPr sz="3600">
                <a:solidFill>
                  <a:schemeClr val="accent1">
                    <a:lumMod val="40000"/>
                    <a:lumOff val="60000"/>
                  </a:schemeClr>
                </a:solidFill>
              </a:defRPr>
            </a:lvl2pPr>
            <a:lvl3pPr>
              <a:defRPr sz="3600">
                <a:solidFill>
                  <a:schemeClr val="accent1">
                    <a:lumMod val="40000"/>
                    <a:lumOff val="60000"/>
                  </a:schemeClr>
                </a:solidFill>
              </a:defRPr>
            </a:lvl3pPr>
            <a:lvl4pPr>
              <a:defRPr sz="3600">
                <a:solidFill>
                  <a:schemeClr val="accent1">
                    <a:lumMod val="40000"/>
                    <a:lumOff val="60000"/>
                  </a:schemeClr>
                </a:solidFill>
              </a:defRPr>
            </a:lvl4pPr>
            <a:lvl5pPr>
              <a:defRPr sz="3600">
                <a:solidFill>
                  <a:schemeClr val="accent1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</p:spTree>
    <p:extLst>
      <p:ext uri="{BB962C8B-B14F-4D97-AF65-F5344CB8AC3E}">
        <p14:creationId xmlns:p14="http://schemas.microsoft.com/office/powerpoint/2010/main" val="2587559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Text +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99084"/>
            <a:ext cx="10515600" cy="586992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2" y="1788611"/>
            <a:ext cx="10515599" cy="3111381"/>
          </a:xfrm>
        </p:spPr>
        <p:txBody>
          <a:bodyPr numCol="4" spcCol="274320">
            <a:normAutofit/>
          </a:bodyPr>
          <a:lstStyle>
            <a:lvl1pPr marL="0" indent="0">
              <a:lnSpc>
                <a:spcPct val="90000"/>
              </a:lnSpc>
              <a:spcBef>
                <a:spcPts val="1000"/>
              </a:spcBef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1" y="5874027"/>
            <a:ext cx="7852087" cy="728397"/>
          </a:xfrm>
        </p:spPr>
        <p:txBody>
          <a:bodyPr anchor="t" anchorCtr="0">
            <a:normAutofit/>
          </a:bodyPr>
          <a:lstStyle>
            <a:lvl1pPr>
              <a:lnSpc>
                <a:spcPct val="110000"/>
              </a:lnSpc>
              <a:defRPr sz="11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defRPr sz="15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5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5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5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insert footer content. </a:t>
            </a:r>
          </a:p>
        </p:txBody>
      </p:sp>
    </p:spTree>
    <p:extLst>
      <p:ext uri="{BB962C8B-B14F-4D97-AF65-F5344CB8AC3E}">
        <p14:creationId xmlns:p14="http://schemas.microsoft.com/office/powerpoint/2010/main" val="535529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04489"/>
            <a:ext cx="10515600" cy="586991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2" y="1788660"/>
            <a:ext cx="10515599" cy="3628167"/>
          </a:xfrm>
        </p:spPr>
        <p:txBody>
          <a:bodyPr numCol="3" spcCol="274320">
            <a:normAutofit/>
          </a:bodyPr>
          <a:lstStyle>
            <a:lvl1pPr marL="0" indent="0">
              <a:lnSpc>
                <a:spcPct val="90000"/>
              </a:lnSpc>
              <a:spcBef>
                <a:spcPts val="1000"/>
              </a:spcBef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813971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90" y="3375457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3532563" y="3375457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6225335" y="3375457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2" hasCustomPrompt="1"/>
          </p:nvPr>
        </p:nvSpPr>
        <p:spPr>
          <a:xfrm>
            <a:off x="8918109" y="3375457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141041" y="1563452"/>
            <a:ext cx="106231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0" i="0" dirty="0">
                <a:solidFill>
                  <a:schemeClr val="bg2"/>
                </a:solidFill>
                <a:latin typeface="Goudy Oldstyle Std Regular" charset="0"/>
                <a:ea typeface="Goudy Oldstyle Std Regular" charset="0"/>
                <a:cs typeface="Goudy Oldstyle Std Regular" charset="0"/>
              </a:rPr>
              <a:t>2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9" y="1415777"/>
            <a:ext cx="2178424" cy="1636776"/>
          </a:xfrm>
          <a:prstGeom prst="ellipse">
            <a:avLst/>
          </a:prstGeom>
          <a:solidFill>
            <a:schemeClr val="accent4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7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3539287" y="1415777"/>
            <a:ext cx="2178424" cy="1636776"/>
          </a:xfrm>
          <a:prstGeom prst="ellipse">
            <a:avLst/>
          </a:prstGeom>
          <a:solidFill>
            <a:schemeClr val="accent2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7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6225335" y="1415777"/>
            <a:ext cx="2178424" cy="1636776"/>
          </a:xfrm>
          <a:prstGeom prst="ellipse">
            <a:avLst/>
          </a:prstGeom>
          <a:solidFill>
            <a:schemeClr val="accent1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7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8911384" y="1415777"/>
            <a:ext cx="2178424" cy="1636776"/>
          </a:xfrm>
          <a:prstGeom prst="ellipse">
            <a:avLst/>
          </a:prstGeom>
          <a:solidFill>
            <a:schemeClr val="accent3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7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2151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31851" y="1371509"/>
            <a:ext cx="10597029" cy="3886293"/>
          </a:xfrm>
        </p:spPr>
        <p:txBody>
          <a:bodyPr anchor="ctr" anchorCtr="0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000" baseline="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  <a:lvl3pPr marL="685800" indent="0">
              <a:buNone/>
              <a:defRPr sz="4500">
                <a:solidFill>
                  <a:schemeClr val="bg1"/>
                </a:solidFill>
              </a:defRPr>
            </a:lvl3pPr>
            <a:lvl4pPr marL="1028700" indent="0">
              <a:buNone/>
              <a:defRPr sz="4500">
                <a:solidFill>
                  <a:schemeClr val="bg1"/>
                </a:solidFill>
              </a:defRPr>
            </a:lvl4pPr>
            <a:lvl5pPr marL="1371600" indent="0">
              <a:buNone/>
              <a:defRPr sz="4500">
                <a:solidFill>
                  <a:schemeClr val="bg1"/>
                </a:solidFill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Insert inspiring quote here. Insert inspiring quote here.</a:t>
            </a:r>
          </a:p>
        </p:txBody>
      </p:sp>
      <p:pic>
        <p:nvPicPr>
          <p:cNvPr id="2" name="Picture 1" descr="PREFERRED_full-reverse_MAYS-UTH-MDA-h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3804" y="5852161"/>
            <a:ext cx="2609088" cy="662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711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597368"/>
            <a:ext cx="10515600" cy="806889"/>
          </a:xfrm>
        </p:spPr>
        <p:txBody>
          <a:bodyPr>
            <a:normAutofit/>
          </a:bodyPr>
          <a:lstStyle>
            <a:lvl1pPr>
              <a:defRPr sz="2700" baseline="0"/>
            </a:lvl1pPr>
          </a:lstStyle>
          <a:p>
            <a:r>
              <a:rPr lang="en-US" dirty="0"/>
              <a:t>Click to insert Chart 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839789" y="1567544"/>
            <a:ext cx="10515601" cy="4034038"/>
          </a:xfrm>
        </p:spPr>
        <p:txBody>
          <a:bodyPr anchor="ctr" anchorCtr="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998538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9126073" y="4666131"/>
            <a:ext cx="3065929" cy="21918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152885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2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90422-FAC2-1B47-B696-15B7C4FF0E2E}" type="datetime1">
              <a:rPr lang="en-US" smtClean="0"/>
              <a:pPr/>
              <a:t>11/11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ABAB64-726D-C943-9B15-2E81C6025A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490454"/>
            <a:ext cx="10972800" cy="713539"/>
          </a:xfr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368923"/>
            <a:ext cx="10972800" cy="4947903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161156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DA7E4252-9FC0-4914-A2C0-12B2E25756A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9739" y="1565234"/>
            <a:ext cx="10521951" cy="4098969"/>
          </a:xfrm>
          <a:prstGeom prst="rect">
            <a:avLst/>
          </a:prstGeom>
        </p:spPr>
        <p:txBody>
          <a:bodyPr/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>
              <a:buClr>
                <a:srgbClr val="C00000"/>
              </a:buClr>
              <a:buSzPct val="120000"/>
            </a:pPr>
            <a:r>
              <a:rPr lang="en-US" dirty="0"/>
              <a:t>Edit Master text styles</a:t>
            </a:r>
          </a:p>
          <a:p>
            <a:pPr lvl="1">
              <a:buSzPct val="90000"/>
              <a:buFont typeface="Courier New" panose="02070309020205020404" pitchFamily="49" charset="0"/>
              <a:buChar char="o"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A89C7A-4E2A-4A29-8C30-F3AAEF9AC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045" y="320678"/>
            <a:ext cx="10515600" cy="450889"/>
          </a:xfrm>
          <a:prstGeom prst="rect">
            <a:avLst/>
          </a:prstGeom>
        </p:spPr>
        <p:txBody>
          <a:bodyPr anchor="b"/>
          <a:lstStyle/>
          <a:p>
            <a:r>
              <a:rPr lang="en-US" sz="21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Headline style and text for interior slides single lin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49FABF1-AFAD-4607-84F1-06E305EDBC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3045" y="5664201"/>
            <a:ext cx="5772955" cy="7747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9289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04DD88-9A78-9243-B960-AF2B0F2FC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D413D55C-04EE-934A-88F4-B5255F69E3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01244" y="6475453"/>
            <a:ext cx="2384425" cy="3444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1D6FA1-68FE-4D43-9966-5F76CF5C31B1}" type="datetime1">
              <a:rPr lang="en-US" smtClean="0">
                <a:solidFill>
                  <a:srgbClr val="FFFFFF"/>
                </a:solidFill>
                <a:latin typeface="Calibri"/>
              </a:rPr>
              <a:pPr>
                <a:defRPr/>
              </a:pPr>
              <a:t>11/11/22</a:t>
            </a:fld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88FF200-9D8A-114F-80B5-789F79CFF3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27389" y="6465928"/>
            <a:ext cx="5741987" cy="3635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5E9E3D0-B8AF-944D-B9A2-3FC57D446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8643" y="6470651"/>
            <a:ext cx="2481943" cy="3540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44F889-5250-E84E-AC29-829E65F4F6E8}" type="slidenum">
              <a:rPr lang="en-US" smtClean="0">
                <a:solidFill>
                  <a:srgbClr val="FFFFFF"/>
                </a:solidFill>
                <a:latin typeface="Calibri"/>
              </a:rPr>
              <a:pPr>
                <a:defRPr/>
              </a:pPr>
              <a:t>‹#›</a:t>
            </a:fld>
            <a:r>
              <a:rPr lang="en-US" dirty="0">
                <a:solidFill>
                  <a:srgbClr val="FFFFFF"/>
                </a:solidFill>
                <a:latin typeface="Calibri"/>
              </a:rPr>
              <a:t> |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6743229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s Spe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hapter Title</a:t>
            </a:r>
            <a:endParaRPr lang="de-AT" dirty="0"/>
          </a:p>
        </p:txBody>
      </p:sp>
      <p:sp>
        <p:nvSpPr>
          <p:cNvPr id="23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6385084" y="1628779"/>
            <a:ext cx="4992000" cy="4608513"/>
          </a:xfrm>
        </p:spPr>
        <p:txBody>
          <a:bodyPr/>
          <a:lstStyle>
            <a:lvl1pPr>
              <a:lnSpc>
                <a:spcPts val="2400"/>
              </a:lnSpc>
              <a:defRPr sz="2400">
                <a:solidFill>
                  <a:schemeClr val="accent1">
                    <a:lumMod val="10000"/>
                  </a:schemeClr>
                </a:solidFill>
              </a:defRPr>
            </a:lvl1pPr>
            <a:lvl2pPr marL="0" indent="0">
              <a:buClr>
                <a:schemeClr val="bg1"/>
              </a:buClr>
              <a:buSzPct val="25000"/>
              <a:defRPr>
                <a:solidFill>
                  <a:srgbClr val="7F7F7F"/>
                </a:solidFill>
              </a:defRPr>
            </a:lvl2pPr>
            <a:lvl3pPr marL="0" indent="0"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i="1">
                <a:solidFill>
                  <a:schemeClr val="accent1">
                    <a:lumMod val="10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10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10000"/>
                  </a:schemeClr>
                </a:solidFill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</a:p>
          <a:p>
            <a:pPr lvl="1"/>
            <a:r>
              <a:rPr lang="fr-FR" dirty="0"/>
              <a:t>“</a:t>
            </a:r>
            <a:r>
              <a:rPr lang="fr-FR" dirty="0" err="1"/>
              <a:t>Aenean</a:t>
            </a:r>
            <a:r>
              <a:rPr lang="fr-FR" dirty="0"/>
              <a:t> massa. 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“</a:t>
            </a: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814923" y="6381328"/>
            <a:ext cx="10562167" cy="0"/>
          </a:xfrm>
          <a:prstGeom prst="line">
            <a:avLst/>
          </a:prstGeom>
          <a:ln w="3175">
            <a:solidFill>
              <a:srgbClr val="695E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814916" y="1628779"/>
            <a:ext cx="4992000" cy="4608513"/>
          </a:xfr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  <a:defRPr>
                <a:solidFill>
                  <a:schemeClr val="accent1">
                    <a:lumMod val="10000"/>
                  </a:schemeClr>
                </a:solidFill>
              </a:defRPr>
            </a:lvl1pPr>
            <a:lvl2pPr marL="542925" indent="-361950">
              <a:lnSpc>
                <a:spcPct val="100000"/>
              </a:lnSpc>
              <a:spcBef>
                <a:spcPts val="0"/>
              </a:spcBef>
              <a:defRPr>
                <a:solidFill>
                  <a:schemeClr val="accent1">
                    <a:lumMod val="10000"/>
                  </a:schemeClr>
                </a:solidFill>
              </a:defRPr>
            </a:lvl2pPr>
            <a:lvl3pPr marL="809625" indent="-447675">
              <a:lnSpc>
                <a:spcPct val="100000"/>
              </a:lnSpc>
              <a:spcBef>
                <a:spcPts val="0"/>
              </a:spcBef>
              <a:defRPr baseline="0">
                <a:solidFill>
                  <a:schemeClr val="accent1">
                    <a:lumMod val="10000"/>
                  </a:schemeClr>
                </a:solidFill>
              </a:defRPr>
            </a:lvl3pPr>
            <a:lvl4pPr marL="990600" indent="-447675">
              <a:lnSpc>
                <a:spcPct val="100000"/>
              </a:lnSpc>
              <a:spcBef>
                <a:spcPts val="0"/>
              </a:spcBef>
              <a:defRPr>
                <a:solidFill>
                  <a:schemeClr val="accent1">
                    <a:lumMod val="10000"/>
                  </a:schemeClr>
                </a:solidFill>
              </a:defRPr>
            </a:lvl4pPr>
            <a:lvl5pPr marL="1162050" indent="-447675">
              <a:lnSpc>
                <a:spcPct val="100000"/>
              </a:lnSpc>
              <a:spcBef>
                <a:spcPts val="0"/>
              </a:spcBef>
              <a:defRPr>
                <a:solidFill>
                  <a:schemeClr val="accent1">
                    <a:lumMod val="10000"/>
                  </a:schemeClr>
                </a:solidFill>
              </a:defRPr>
            </a:lvl5pPr>
            <a:lvl6pPr marL="1343025" indent="-352425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lvl6pPr>
            <a:lvl7pPr marL="1619250" indent="-361950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tabLst/>
              <a:defRPr/>
            </a:lvl7pPr>
            <a:lvl8pPr marL="1885950" indent="-361950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defRPr/>
            </a:lvl8pPr>
            <a:lvl9pPr marL="2152650" indent="-361950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defRPr/>
            </a:lvl9pPr>
          </a:lstStyle>
          <a:p>
            <a:pPr lvl="0"/>
            <a:r>
              <a:rPr lang="de-DE" dirty="0"/>
              <a:t>Level 1</a:t>
            </a:r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  <a:p>
            <a:pPr lvl="5"/>
            <a:r>
              <a:rPr lang="de-DE" dirty="0"/>
              <a:t>Level 6</a:t>
            </a:r>
          </a:p>
          <a:p>
            <a:pPr lvl="6"/>
            <a:r>
              <a:rPr lang="de-DE" dirty="0"/>
              <a:t>Level 7</a:t>
            </a:r>
          </a:p>
          <a:p>
            <a:pPr lvl="7"/>
            <a:r>
              <a:rPr lang="de-DE" dirty="0"/>
              <a:t>Level 8</a:t>
            </a:r>
          </a:p>
          <a:p>
            <a:pPr lvl="8"/>
            <a:r>
              <a:rPr lang="de-DE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174778054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588566"/>
            <a:ext cx="5384800" cy="353759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588566"/>
            <a:ext cx="5384800" cy="353759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112AE92-20AD-8D4C-BE5B-92E66A82D5FE}" type="datetime1">
              <a:rPr lang="en-US"/>
              <a:pPr/>
              <a:t>11/11/22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90444B3-43E0-CD49-8543-3A769AE78B9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51227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8815" y="414342"/>
            <a:ext cx="10086623" cy="4247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vert="horz" lIns="91376" tIns="45688" rIns="91376" bIns="45688" rtlCol="0" anchor="ctr"/>
          <a:lstStyle>
            <a:lvl1pPr>
              <a:defRPr lang="en-US" smtClean="0"/>
            </a:lvl1pPr>
          </a:lstStyle>
          <a:p>
            <a:pPr algn="r"/>
            <a:fld id="{CC611C88-BB67-448E-AF0C-E7770D6CC1F7}" type="slidenum">
              <a:rPr>
                <a:solidFill>
                  <a:srgbClr val="BABABA">
                    <a:lumMod val="75000"/>
                  </a:srgbClr>
                </a:solidFill>
              </a:rPr>
              <a:pPr algn="r"/>
              <a:t>‹#›</a:t>
            </a:fld>
            <a:endParaRPr>
              <a:solidFill>
                <a:srgbClr val="BABABA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>
              <a:solidFill>
                <a:srgbClr val="BABAB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037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196754"/>
            <a:ext cx="11406717" cy="5132611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398" y="5966155"/>
            <a:ext cx="2950633" cy="774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89097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A7173C3-DCDD-F248-9341-A47270E33206}"/>
              </a:ext>
            </a:extLst>
          </p:cNvPr>
          <p:cNvSpPr/>
          <p:nvPr/>
        </p:nvSpPr>
        <p:spPr>
          <a:xfrm>
            <a:off x="10864857" y="268291"/>
            <a:ext cx="958849" cy="566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sz="180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85B98FB7-5D99-FD4C-92E4-B63790E967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A75A5C3-D5A4-EE42-AE5B-6ECFE281404B}" type="datetime1">
              <a:rPr lang="fr-FR" altLang="fr-FR"/>
              <a:pPr/>
              <a:t>11/11/2022</a:t>
            </a:fld>
            <a:endParaRPr lang="fr-FR" altLang="fr-FR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CD3D9D47-270A-BD4C-B4B1-EC8A717036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950F262-AF1D-CF47-A500-A34821B2D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8B53EC-F0CE-BA47-8FC0-C9D7A7CBB8C9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48471822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9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7" y="1513047"/>
            <a:ext cx="10877529" cy="465068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15695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593940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-LB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255733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85508"/>
            <a:ext cx="1219199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6945774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1081909"/>
            <a:ext cx="12191999" cy="376239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1500" b="1" cap="none" baseline="0">
                <a:solidFill>
                  <a:schemeClr val="tx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002109A-F2F6-6C45-914D-AF93255657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85508"/>
            <a:ext cx="1219199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40845036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9C340B-2382-8A43-854B-97527F15F7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01244" y="6475453"/>
            <a:ext cx="2384425" cy="344487"/>
          </a:xfrm>
        </p:spPr>
        <p:txBody>
          <a:bodyPr/>
          <a:lstStyle/>
          <a:p>
            <a:pPr>
              <a:defRPr/>
            </a:pPr>
            <a:fld id="{75BFC51F-1D97-46FF-AA16-F218E44BE822}" type="datetime1">
              <a:rPr lang="en-US">
                <a:solidFill>
                  <a:srgbClr val="FFFFFF"/>
                </a:solidFill>
                <a:latin typeface="Calibri"/>
              </a:rPr>
              <a:pPr>
                <a:defRPr/>
              </a:pPr>
              <a:t>11/11/22</a:t>
            </a:fld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E9876F-51CB-7C4C-ACCF-5CA92CA25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27389" y="6465928"/>
            <a:ext cx="5741987" cy="363537"/>
          </a:xfrm>
        </p:spPr>
        <p:txBody>
          <a:bodyPr/>
          <a:lstStyle/>
          <a:p>
            <a:pPr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0033BB-0BFE-6D4B-88D2-D382BA7EA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8643" y="6470651"/>
            <a:ext cx="2481943" cy="354012"/>
          </a:xfrm>
        </p:spPr>
        <p:txBody>
          <a:bodyPr/>
          <a:lstStyle/>
          <a:p>
            <a:pPr>
              <a:defRPr/>
            </a:pPr>
            <a:fld id="{5BF92C94-257A-7E4A-B809-22B4E6AD3B34}" type="slidenum">
              <a:rPr lang="en-US">
                <a:solidFill>
                  <a:srgbClr val="FFFFFF"/>
                </a:solidFill>
                <a:latin typeface="Calibri"/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  <a:latin typeface="Calibri"/>
              </a:rPr>
              <a:t> | Strictly Confidential</a:t>
            </a:r>
            <a:endParaRPr lang="en-US" dirty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4130265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1081909"/>
            <a:ext cx="12191999" cy="376239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1500" b="1" cap="none" baseline="0">
                <a:solidFill>
                  <a:schemeClr val="bg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BF0DEF2-0937-2B41-BBF7-5A925BF5E9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85508"/>
            <a:ext cx="1219199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546656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719669" y="1274618"/>
            <a:ext cx="10752667" cy="5065222"/>
          </a:xfrm>
          <a:prstGeom prst="rect">
            <a:avLst/>
          </a:prstGeom>
        </p:spPr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/>
            </a:lvl1pPr>
            <a:lvl2pPr marL="189000" indent="-189000">
              <a:defRPr/>
            </a:lvl2pPr>
            <a:lvl3pPr marL="378000" indent="-189000">
              <a:defRPr/>
            </a:lvl3pPr>
            <a:lvl4pPr marL="567000" indent="-189000">
              <a:defRPr/>
            </a:lvl4pPr>
            <a:lvl5pPr marL="756000" indent="-18900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670ADA5-D249-DF4E-9628-0C44C2A9CE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85508"/>
            <a:ext cx="1219199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8778361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1081909"/>
            <a:ext cx="12191999" cy="376239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1500" b="1" cap="none" baseline="0">
                <a:solidFill>
                  <a:schemeClr val="tx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2"/>
          </p:nvPr>
        </p:nvSpPr>
        <p:spPr>
          <a:xfrm>
            <a:off x="719669" y="1828800"/>
            <a:ext cx="10752667" cy="4511040"/>
          </a:xfrm>
          <a:prstGeom prst="rect">
            <a:avLst/>
          </a:prstGeom>
        </p:spPr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/>
            </a:lvl1pPr>
            <a:lvl2pPr marL="189000" indent="-189000">
              <a:defRPr/>
            </a:lvl2pPr>
            <a:lvl3pPr marL="378000" indent="-189000">
              <a:defRPr/>
            </a:lvl3pPr>
            <a:lvl4pPr marL="567000" indent="-189000">
              <a:defRPr/>
            </a:lvl4pPr>
            <a:lvl5pPr marL="756000" indent="-189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DDD00E7-4CA1-B14F-A2A9-B250C76DE6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85508"/>
            <a:ext cx="1219199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1380344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and Conten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1081909"/>
            <a:ext cx="12191999" cy="376239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1500" b="1" cap="none" baseline="0">
                <a:solidFill>
                  <a:schemeClr val="bg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19669" y="1828800"/>
            <a:ext cx="10752667" cy="4511040"/>
          </a:xfrm>
          <a:prstGeom prst="rect">
            <a:avLst/>
          </a:prstGeom>
        </p:spPr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/>
            </a:lvl1pPr>
            <a:lvl2pPr marL="189000" indent="-189000">
              <a:defRPr/>
            </a:lvl2pPr>
            <a:lvl3pPr marL="378000" indent="-189000">
              <a:defRPr/>
            </a:lvl3pPr>
            <a:lvl4pPr marL="567000" indent="-189000">
              <a:defRPr/>
            </a:lvl4pPr>
            <a:lvl5pPr marL="756000" indent="-189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4C4A056-767E-7846-ADD6-6B974878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85508"/>
            <a:ext cx="1219199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2317571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2E26E41-BE52-EA4D-9723-BC2D748151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7" y="1082676"/>
            <a:ext cx="3382963" cy="549554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481B53C-8B67-2A4C-A0EB-8E19D7EA13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85508"/>
            <a:ext cx="1219199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08913653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081909"/>
            <a:ext cx="8808720" cy="376239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1500" b="1" cap="none" baseline="0">
                <a:solidFill>
                  <a:schemeClr val="tx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8BECD78-4FC2-FE4A-B0AD-B67981B7F3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7" y="1082676"/>
            <a:ext cx="3382963" cy="549554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4D62FE7-9E3C-C642-B5F9-6FC990620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85508"/>
            <a:ext cx="1219199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9832497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1081909"/>
            <a:ext cx="12191999" cy="376239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1500" b="1" cap="none" baseline="0">
                <a:solidFill>
                  <a:schemeClr val="bg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B9B7CDD4-5358-4D8E-8ED9-166A8565E4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7" y="1535090"/>
            <a:ext cx="3382963" cy="507042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8784519-ACB7-864D-9900-D7AE9DBF19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85508"/>
            <a:ext cx="1219199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6985606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719670" y="1274618"/>
            <a:ext cx="7906172" cy="5168570"/>
          </a:xfrm>
          <a:prstGeom prst="rect">
            <a:avLst/>
          </a:prstGeom>
        </p:spPr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/>
            </a:lvl1pPr>
            <a:lvl2pPr marL="189000" indent="-189000">
              <a:defRPr/>
            </a:lvl2pPr>
            <a:lvl3pPr marL="378000" indent="-189000">
              <a:defRPr/>
            </a:lvl3pPr>
            <a:lvl4pPr marL="567000" indent="-189000">
              <a:defRPr/>
            </a:lvl4pPr>
            <a:lvl5pPr marL="756000" indent="-189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55718AC-2FD5-0440-95AD-599C14F5AB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7" y="1082676"/>
            <a:ext cx="3382963" cy="549554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D22A12F-A14E-494C-B19F-804882DB1B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85508"/>
            <a:ext cx="1219199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675053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081909"/>
            <a:ext cx="8808720" cy="376239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1500" b="1" cap="none" baseline="0">
                <a:solidFill>
                  <a:schemeClr val="tx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2"/>
          </p:nvPr>
        </p:nvSpPr>
        <p:spPr>
          <a:xfrm>
            <a:off x="719670" y="1817225"/>
            <a:ext cx="7906172" cy="4625964"/>
          </a:xfrm>
          <a:prstGeom prst="rect">
            <a:avLst/>
          </a:prstGeom>
        </p:spPr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/>
            </a:lvl1pPr>
            <a:lvl2pPr marL="189000" indent="-189000">
              <a:defRPr/>
            </a:lvl2pPr>
            <a:lvl3pPr marL="378000" indent="-189000">
              <a:defRPr/>
            </a:lvl3pPr>
            <a:lvl4pPr marL="567000" indent="-189000">
              <a:defRPr/>
            </a:lvl4pPr>
            <a:lvl5pPr marL="756000" indent="-189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B4AAD2D-984D-E544-BD25-871E6B66AC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7" y="1082676"/>
            <a:ext cx="3382963" cy="549554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F3865CA-3CF8-D949-8BB9-0AAC2100FA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85508"/>
            <a:ext cx="1219199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4237218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and Conten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1081909"/>
            <a:ext cx="12191999" cy="376239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1500" b="1" cap="none" baseline="0">
                <a:solidFill>
                  <a:schemeClr val="bg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19670" y="1817225"/>
            <a:ext cx="7906172" cy="4625964"/>
          </a:xfrm>
          <a:prstGeom prst="rect">
            <a:avLst/>
          </a:prstGeom>
        </p:spPr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/>
            </a:lvl1pPr>
            <a:lvl2pPr marL="189000" indent="-189000">
              <a:defRPr/>
            </a:lvl2pPr>
            <a:lvl3pPr marL="378000" indent="-189000">
              <a:defRPr/>
            </a:lvl3pPr>
            <a:lvl4pPr marL="567000" indent="-189000">
              <a:defRPr/>
            </a:lvl4pPr>
            <a:lvl5pPr marL="756000" indent="-18900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D1709C7-12E6-844D-A9A7-0947E09376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7" y="1535090"/>
            <a:ext cx="3382963" cy="507042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9123E37-5834-2642-9C6F-AB0F6E2009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85508"/>
            <a:ext cx="1219199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9499433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3EBEEC-D3D5-B245-B314-580D3B834D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1BD764-320F-7A4C-B66D-70C37DCF49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66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937E12-8B67-D041-8461-31038B17F7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668" indent="0">
              <a:buNone/>
              <a:defRPr sz="1100"/>
            </a:lvl2pPr>
            <a:lvl3pPr marL="685358" indent="0">
              <a:buNone/>
              <a:defRPr sz="900"/>
            </a:lvl3pPr>
            <a:lvl4pPr marL="1028037" indent="0">
              <a:buNone/>
              <a:defRPr sz="800"/>
            </a:lvl4pPr>
            <a:lvl5pPr marL="1370716" indent="0">
              <a:buNone/>
              <a:defRPr sz="800"/>
            </a:lvl5pPr>
            <a:lvl6pPr marL="1713407" indent="0">
              <a:buNone/>
              <a:defRPr sz="800"/>
            </a:lvl6pPr>
            <a:lvl7pPr marL="2056073" indent="0">
              <a:buNone/>
              <a:defRPr sz="800"/>
            </a:lvl7pPr>
            <a:lvl8pPr marL="2398740" indent="0">
              <a:buNone/>
              <a:defRPr sz="800"/>
            </a:lvl8pPr>
            <a:lvl9pPr marL="2741408" indent="0">
              <a:buNone/>
              <a:defRPr sz="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0471516A-4104-D943-BEE5-27E187345A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01244" y="6475453"/>
            <a:ext cx="2384425" cy="3444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167F91-4FCD-4C2B-9F74-A8A609A202E6}" type="datetime1">
              <a:rPr lang="en-US" smtClean="0">
                <a:solidFill>
                  <a:srgbClr val="FFFFFF"/>
                </a:solidFill>
                <a:latin typeface="Calibri"/>
              </a:rPr>
              <a:pPr>
                <a:defRPr/>
              </a:pPr>
              <a:t>11/11/22</a:t>
            </a:fld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FC80AA1-E898-4D41-8069-57CD323D9D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27389" y="6465928"/>
            <a:ext cx="5741987" cy="3635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572BC64-1731-1E46-982B-4D55C878C5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8643" y="6470651"/>
            <a:ext cx="2481943" cy="3540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44F889-5250-E84E-AC29-829E65F4F6E8}" type="slidenum">
              <a:rPr lang="en-US" smtClean="0">
                <a:solidFill>
                  <a:srgbClr val="FFFFFF"/>
                </a:solidFill>
                <a:latin typeface="Calibri"/>
              </a:rPr>
              <a:pPr>
                <a:defRPr/>
              </a:pPr>
              <a:t>‹#›</a:t>
            </a:fld>
            <a:r>
              <a:rPr lang="en-US" dirty="0">
                <a:solidFill>
                  <a:srgbClr val="FFFFFF"/>
                </a:solidFill>
                <a:latin typeface="Calibri"/>
              </a:rPr>
              <a:t> |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3549882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82" y="6471860"/>
            <a:ext cx="880871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BC484EA-0BDF-4770-B31E-6CC037854AA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7"/>
            <a:ext cx="3382963" cy="5496993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996636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383280" y="1081909"/>
            <a:ext cx="8808720" cy="376239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1500" b="1" cap="none" baseline="0">
                <a:solidFill>
                  <a:schemeClr val="tx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3B8EEF4-EC73-414D-BC41-9FC13827DC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3282" y="6471860"/>
            <a:ext cx="880871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1C0BD4B-501C-C344-A596-388688D86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7"/>
            <a:ext cx="3382963" cy="5496993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87574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1081909"/>
            <a:ext cx="12191999" cy="376239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1500" b="1" cap="none" baseline="0">
                <a:solidFill>
                  <a:schemeClr val="bg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FE6E611-6A87-6A4E-9A21-3D61C39F2C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3282" y="6471860"/>
            <a:ext cx="880871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611CB88-F6CF-8D4D-AC16-80C4475AE31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7"/>
            <a:ext cx="3382963" cy="5496993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58853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3786961" y="1274618"/>
            <a:ext cx="7906172" cy="5288742"/>
          </a:xfrm>
          <a:prstGeom prst="rect">
            <a:avLst/>
          </a:prstGeom>
        </p:spPr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/>
            </a:lvl1pPr>
            <a:lvl2pPr marL="189000" indent="-189000">
              <a:defRPr/>
            </a:lvl2pPr>
            <a:lvl3pPr marL="378000" indent="-189000">
              <a:defRPr/>
            </a:lvl3pPr>
            <a:lvl4pPr marL="567000" indent="-189000">
              <a:defRPr/>
            </a:lvl4pPr>
            <a:lvl5pPr marL="756000" indent="-189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7F7DEDA-B224-3342-9EBB-7357C367EB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3282" y="6471860"/>
            <a:ext cx="880871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95BFC60-AF06-E843-A18B-2B960A3787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7"/>
            <a:ext cx="3382963" cy="5496993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8904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notes top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" y="1097280"/>
            <a:ext cx="12191999" cy="1463040"/>
          </a:xfrm>
          <a:solidFill>
            <a:schemeClr val="bg1">
              <a:lumMod val="95000"/>
            </a:schemeClr>
          </a:solidFill>
        </p:spPr>
        <p:txBody>
          <a:bodyPr wrap="square" lIns="720000" tIns="182880" rIns="720000" bIns="182880" anchor="ctr" anchorCtr="0">
            <a:normAutofit/>
          </a:bodyPr>
          <a:lstStyle>
            <a:lvl1pPr>
              <a:defRPr sz="1200" b="0" i="0"/>
            </a:lvl1pPr>
          </a:lstStyle>
          <a:p>
            <a:pPr lvl="0"/>
            <a:r>
              <a:rPr lang="en-US" dirty="0"/>
              <a:t>Notes comes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AA40195-06BC-7C49-A95F-A02178B1C3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85508"/>
            <a:ext cx="1219199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99735403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 w notes top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9" y="132517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" y="1097280"/>
            <a:ext cx="12191999" cy="1463040"/>
          </a:xfrm>
          <a:solidFill>
            <a:schemeClr val="bg1">
              <a:lumMod val="95000"/>
            </a:schemeClr>
          </a:solidFill>
        </p:spPr>
        <p:txBody>
          <a:bodyPr wrap="square" lIns="720000" tIns="182880" rIns="648000" bIns="182880" anchor="ctr" anchorCtr="0">
            <a:normAutofit/>
          </a:bodyPr>
          <a:lstStyle>
            <a:lvl1pPr>
              <a:defRPr sz="1200" b="0" i="0"/>
            </a:lvl1pPr>
          </a:lstStyle>
          <a:p>
            <a:pPr lvl="0"/>
            <a:r>
              <a:rPr lang="en-US" dirty="0"/>
              <a:t>Notes comes her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19669" y="2772229"/>
            <a:ext cx="10752667" cy="3640928"/>
          </a:xfrm>
          <a:prstGeom prst="rect">
            <a:avLst/>
          </a:prstGeom>
        </p:spPr>
        <p:txBody>
          <a:bodyPr/>
          <a:lstStyle>
            <a:lvl1pPr>
              <a:spcBef>
                <a:spcPts val="900"/>
              </a:spcBef>
              <a:spcAft>
                <a:spcPts val="900"/>
              </a:spcAft>
              <a:defRPr/>
            </a:lvl1pPr>
            <a:lvl2pPr marL="189000" indent="-189000">
              <a:defRPr/>
            </a:lvl2pPr>
            <a:lvl3pPr marL="378000" indent="-189000">
              <a:defRPr/>
            </a:lvl3pPr>
            <a:lvl4pPr marL="567000" indent="-189000">
              <a:defRPr/>
            </a:lvl4pPr>
            <a:lvl5pPr marL="756000" indent="-18900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CF5EE89-7A94-684A-AC6B-0595660363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6485508"/>
            <a:ext cx="12191999" cy="236013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25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7814399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 GLOBAL 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6000">
                <a:srgbClr val="232C3D"/>
              </a:gs>
              <a:gs pos="100000">
                <a:srgbClr val="525F7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08865" y="3929145"/>
            <a:ext cx="1713084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08865" y="2862631"/>
            <a:ext cx="11065820" cy="646331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>
            <a:lvl1pPr algn="l">
              <a:lnSpc>
                <a:spcPct val="100000"/>
              </a:lnSpc>
              <a:defRPr sz="36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Breaker</a:t>
            </a:r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865" y="324949"/>
            <a:ext cx="1713083" cy="345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079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 userDrawn="1">
          <p15:clr>
            <a:srgbClr val="FBAE40"/>
          </p15:clr>
        </p15:guide>
        <p15:guide id="2" orient="horz" pos="822" userDrawn="1">
          <p15:clr>
            <a:srgbClr val="FBAE40"/>
          </p15:clr>
        </p15:guide>
        <p15:guide id="3" pos="725" userDrawn="1">
          <p15:clr>
            <a:srgbClr val="FBAE40"/>
          </p15:clr>
        </p15:guide>
        <p15:guide id="4" orient="horz" pos="3435" userDrawn="1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56032" y="1476354"/>
            <a:ext cx="11612880" cy="4657828"/>
          </a:xfrm>
          <a:prstGeom prst="rect">
            <a:avLst/>
          </a:prstGeom>
        </p:spPr>
        <p:txBody>
          <a:bodyPr/>
          <a:lstStyle>
            <a:lvl1pPr>
              <a:defRPr sz="1800" b="1" i="0">
                <a:solidFill>
                  <a:srgbClr val="141414"/>
                </a:solidFill>
                <a:latin typeface="Franklin Gothic Book" panose="020B0503020102020204" pitchFamily="34" charset="0"/>
              </a:defRPr>
            </a:lvl1pPr>
            <a:lvl2pPr>
              <a:defRPr sz="1800" b="0" i="0">
                <a:solidFill>
                  <a:srgbClr val="141414"/>
                </a:solidFill>
                <a:latin typeface="Franklin Gothic Book" panose="020B0503020102020204" pitchFamily="34" charset="0"/>
              </a:defRPr>
            </a:lvl2pPr>
            <a:lvl3pPr>
              <a:defRPr sz="1500" b="0" i="0">
                <a:solidFill>
                  <a:srgbClr val="141414"/>
                </a:solidFill>
                <a:latin typeface="Franklin Gothic Book" panose="020B0503020102020204" pitchFamily="34" charset="0"/>
              </a:defRPr>
            </a:lvl3pPr>
            <a:lvl4pPr>
              <a:defRPr sz="1350" b="0" i="0">
                <a:solidFill>
                  <a:srgbClr val="141414"/>
                </a:solidFill>
                <a:latin typeface="Franklin Gothic Book" panose="020B0503020102020204" pitchFamily="34" charset="0"/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56034" y="6163056"/>
            <a:ext cx="11085039" cy="47548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1050" b="0" i="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B4EAA9C-DC0A-0048-A2D8-74BB19787D68}"/>
              </a:ext>
            </a:extLst>
          </p:cNvPr>
          <p:cNvSpPr/>
          <p:nvPr userDrawn="1"/>
        </p:nvSpPr>
        <p:spPr>
          <a:xfrm>
            <a:off x="11559261" y="6260295"/>
            <a:ext cx="449323" cy="44932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0" i="0" dirty="0">
              <a:latin typeface="Franklin Gothic Book" panose="020B0503020102020204" pitchFamily="34" charset="0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8288" y="6345936"/>
            <a:ext cx="667512" cy="27432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900" b="0">
                <a:solidFill>
                  <a:schemeClr val="tx1"/>
                </a:solidFill>
                <a:latin typeface="Franklin Gothic Medium Cond" panose="020B0606030402020204" pitchFamily="34" charset="0"/>
              </a:defRPr>
            </a:lvl1pPr>
          </a:lstStyle>
          <a:p>
            <a:fld id="{BFA19188-CCD0-4FFB-8DFB-60D3E72DC0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64363" y="6642556"/>
            <a:ext cx="10863276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b="0" i="0" dirty="0">
                <a:solidFill>
                  <a:srgbClr val="7F7F7F"/>
                </a:solidFill>
                <a:latin typeface="Franklin Gothic Book" panose="020B05030201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1B859BD-6651-934E-8378-533424EE8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 b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582697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 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56032" y="6163056"/>
            <a:ext cx="11420856" cy="475488"/>
          </a:xfrm>
        </p:spPr>
        <p:txBody>
          <a:bodyPr anchor="b"/>
          <a:lstStyle>
            <a:lvl1pPr>
              <a:spcBef>
                <a:spcPts val="0"/>
              </a:spcBef>
              <a:defRPr sz="1050" b="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8288" y="6345936"/>
            <a:ext cx="667512" cy="27432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900" b="1">
                <a:solidFill>
                  <a:schemeClr val="tx1"/>
                </a:solidFill>
                <a:latin typeface="Franklin Gothic Medium Cond" panose="020B0606030402020204" pitchFamily="34" charset="0"/>
              </a:defRPr>
            </a:lvl1pPr>
          </a:lstStyle>
          <a:p>
            <a:fld id="{BFA19188-CCD0-4FFB-8DFB-60D3E72DC0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0" name="TextBox 69"/>
          <p:cNvSpPr txBox="1"/>
          <p:nvPr userDrawn="1"/>
        </p:nvSpPr>
        <p:spPr>
          <a:xfrm>
            <a:off x="664363" y="6642556"/>
            <a:ext cx="10863276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dirty="0"/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334687306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 ONC 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6000">
                <a:srgbClr val="232C3D"/>
              </a:gs>
              <a:gs pos="100000">
                <a:srgbClr val="525F7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08865" y="3929145"/>
            <a:ext cx="1713084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08865" y="2862631"/>
            <a:ext cx="11065820" cy="646331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>
            <a:lvl1pPr algn="l">
              <a:lnSpc>
                <a:spcPct val="100000"/>
              </a:lnSpc>
              <a:defRPr sz="36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Breaker</a:t>
            </a:r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26F396B-746E-1D4E-9887-F01778DD0E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2066" y="331074"/>
            <a:ext cx="1318884" cy="58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416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 userDrawn="1">
          <p15:clr>
            <a:srgbClr val="FBAE40"/>
          </p15:clr>
        </p15:guide>
        <p15:guide id="2" orient="horz" pos="822" userDrawn="1">
          <p15:clr>
            <a:srgbClr val="FBAE40"/>
          </p15:clr>
        </p15:guide>
        <p15:guide id="3" pos="725" userDrawn="1">
          <p15:clr>
            <a:srgbClr val="FBAE40"/>
          </p15:clr>
        </p15:guide>
        <p15:guide id="4" orient="horz" pos="343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AE7E7F-F1AB-6C47-9676-F2C0520FC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15AE54-1CE8-3842-8382-6A4521C4ED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66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668" indent="0">
              <a:buNone/>
              <a:defRPr sz="2100"/>
            </a:lvl2pPr>
            <a:lvl3pPr marL="685358" indent="0">
              <a:buNone/>
              <a:defRPr sz="1800"/>
            </a:lvl3pPr>
            <a:lvl4pPr marL="1028037" indent="0">
              <a:buNone/>
              <a:defRPr sz="1500"/>
            </a:lvl4pPr>
            <a:lvl5pPr marL="1370716" indent="0">
              <a:buNone/>
              <a:defRPr sz="1500"/>
            </a:lvl5pPr>
            <a:lvl6pPr marL="1713407" indent="0">
              <a:buNone/>
              <a:defRPr sz="1500"/>
            </a:lvl6pPr>
            <a:lvl7pPr marL="2056073" indent="0">
              <a:buNone/>
              <a:defRPr sz="1500"/>
            </a:lvl7pPr>
            <a:lvl8pPr marL="2398740" indent="0">
              <a:buNone/>
              <a:defRPr sz="1500"/>
            </a:lvl8pPr>
            <a:lvl9pPr marL="2741408" indent="0">
              <a:buNone/>
              <a:defRPr sz="15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1FDA4D-DB45-4F44-9314-5D14A10589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668" indent="0">
              <a:buNone/>
              <a:defRPr sz="1100"/>
            </a:lvl2pPr>
            <a:lvl3pPr marL="685358" indent="0">
              <a:buNone/>
              <a:defRPr sz="900"/>
            </a:lvl3pPr>
            <a:lvl4pPr marL="1028037" indent="0">
              <a:buNone/>
              <a:defRPr sz="800"/>
            </a:lvl4pPr>
            <a:lvl5pPr marL="1370716" indent="0">
              <a:buNone/>
              <a:defRPr sz="800"/>
            </a:lvl5pPr>
            <a:lvl6pPr marL="1713407" indent="0">
              <a:buNone/>
              <a:defRPr sz="800"/>
            </a:lvl6pPr>
            <a:lvl7pPr marL="2056073" indent="0">
              <a:buNone/>
              <a:defRPr sz="800"/>
            </a:lvl7pPr>
            <a:lvl8pPr marL="2398740" indent="0">
              <a:buNone/>
              <a:defRPr sz="800"/>
            </a:lvl8pPr>
            <a:lvl9pPr marL="2741408" indent="0">
              <a:buNone/>
              <a:defRPr sz="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E93BD581-97A7-624B-BD78-E9ECB2C90C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01244" y="6475453"/>
            <a:ext cx="2384425" cy="344487"/>
          </a:xfrm>
        </p:spPr>
        <p:txBody>
          <a:bodyPr/>
          <a:lstStyle/>
          <a:p>
            <a:pPr>
              <a:defRPr/>
            </a:pPr>
            <a:fld id="{2E5C034F-5C3C-4D31-B801-4ED0BFC714BD}" type="datetime1">
              <a:rPr lang="en-US">
                <a:solidFill>
                  <a:srgbClr val="FFFFFF"/>
                </a:solidFill>
                <a:latin typeface="Calibri"/>
              </a:rPr>
              <a:pPr>
                <a:defRPr/>
              </a:pPr>
              <a:t>11/11/22</a:t>
            </a:fld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87E6EC08-0C36-7340-9C0C-94617F7F1E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27389" y="6465928"/>
            <a:ext cx="5741987" cy="363537"/>
          </a:xfrm>
        </p:spPr>
        <p:txBody>
          <a:bodyPr/>
          <a:lstStyle/>
          <a:p>
            <a:pPr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3A426DA-604E-5647-B4E2-E37866506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8643" y="6470651"/>
            <a:ext cx="2481943" cy="354012"/>
          </a:xfrm>
        </p:spPr>
        <p:txBody>
          <a:bodyPr/>
          <a:lstStyle/>
          <a:p>
            <a:pPr>
              <a:defRPr/>
            </a:pPr>
            <a:fld id="{5BF92C94-257A-7E4A-B809-22B4E6AD3B34}" type="slidenum">
              <a:rPr lang="en-US">
                <a:solidFill>
                  <a:srgbClr val="FFFFFF"/>
                </a:solidFill>
                <a:latin typeface="Calibri"/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  <a:latin typeface="Calibri"/>
              </a:rPr>
              <a:t> | Strictly Confidential</a:t>
            </a:r>
            <a:endParaRPr lang="en-US" dirty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3557840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_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14528" y="6161088"/>
            <a:ext cx="11362944" cy="69691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050" b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528" y="384048"/>
            <a:ext cx="11362944" cy="8686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13808" y="1609344"/>
            <a:ext cx="11364384" cy="44958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2"/>
                </a:solidFill>
                <a:latin typeface="+mn-lt"/>
              </a:defRPr>
            </a:lvl2pPr>
            <a:lvl3pPr>
              <a:defRPr>
                <a:solidFill>
                  <a:schemeClr val="tx2"/>
                </a:solidFill>
                <a:latin typeface="+mn-lt"/>
              </a:defRPr>
            </a:lvl3pPr>
            <a:lvl4pPr>
              <a:defRPr>
                <a:solidFill>
                  <a:schemeClr val="tx2"/>
                </a:solidFill>
                <a:latin typeface="+mn-lt"/>
              </a:defRPr>
            </a:lvl4pPr>
            <a:lvl5pPr>
              <a:buClr>
                <a:srgbClr val="067A80"/>
              </a:buClr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034738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3774" y="384048"/>
            <a:ext cx="11362945" cy="8686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3773" y="1609344"/>
            <a:ext cx="11362944" cy="4498848"/>
          </a:xfrm>
        </p:spPr>
        <p:txBody>
          <a:bodyPr>
            <a:noAutofit/>
          </a:bodyPr>
          <a:lstStyle>
            <a:lvl3pPr marL="596616"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3776" y="1295400"/>
            <a:ext cx="11362945" cy="0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53773" y="6163056"/>
            <a:ext cx="11362944" cy="694944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78218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8D464B76-1440-43B5-B0A2-8507A1F563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5651" cy="6858000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4B4847E-5021-4E07-A45D-8DFA7CA3006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89301" y="0"/>
            <a:ext cx="8902700" cy="671830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CE5385-B39E-9440-A798-2EA8FDA854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3792" y="4618505"/>
            <a:ext cx="3366208" cy="1111301"/>
          </a:xfrm>
        </p:spPr>
        <p:txBody>
          <a:bodyPr anchor="b"/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5CD7B7-7CCE-7844-A237-28759F1F76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4694" y="5823241"/>
            <a:ext cx="3870132" cy="7444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050" b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E1AA17E-0F64-4736-9335-17300C15A1BE}"/>
              </a:ext>
            </a:extLst>
          </p:cNvPr>
          <p:cNvSpPr/>
          <p:nvPr userDrawn="1"/>
        </p:nvSpPr>
        <p:spPr>
          <a:xfrm>
            <a:off x="0" y="6617369"/>
            <a:ext cx="12192000" cy="238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Calibri" panose="020F0502020204030204" pitchFamily="34" charset="0"/>
            </a:endParaRP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12026" y="6327191"/>
            <a:ext cx="776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FB36D3-C3B6-4730-932D-29B82D2178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D62663A-4332-42FC-8D49-E90BE1AD3624}"/>
              </a:ext>
            </a:extLst>
          </p:cNvPr>
          <p:cNvSpPr/>
          <p:nvPr userDrawn="1"/>
        </p:nvSpPr>
        <p:spPr>
          <a:xfrm>
            <a:off x="0" y="6604599"/>
            <a:ext cx="12192000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25" b="1" spc="-8" dirty="0">
                <a:solidFill>
                  <a:schemeClr val="bg1"/>
                </a:solidFill>
                <a:latin typeface="+mj-lt"/>
              </a:rPr>
              <a:t>Please see additional Important Safety Information throughout and accompanying full Prescribing Information, including Boxed Warning.</a:t>
            </a:r>
          </a:p>
        </p:txBody>
      </p:sp>
    </p:spTree>
    <p:extLst>
      <p:ext uri="{BB962C8B-B14F-4D97-AF65-F5344CB8AC3E}">
        <p14:creationId xmlns:p14="http://schemas.microsoft.com/office/powerpoint/2010/main" val="320915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, circle&#10;&#10;Description automatically generated">
            <a:extLst>
              <a:ext uri="{FF2B5EF4-FFF2-40B4-BE49-F238E27FC236}">
                <a16:creationId xmlns:a16="http://schemas.microsoft.com/office/drawing/2014/main" id="{68184F35-24C6-4FED-A24D-AB63928C7A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5651" cy="6858000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711DBFB-3D82-424B-B39A-9AD39EAF682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561951" y="3665580"/>
            <a:ext cx="5898383" cy="5245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0">
                <a:solidFill>
                  <a:srgbClr val="656D78"/>
                </a:solidFill>
                <a:latin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DB8204E-1B93-4432-AD1A-B9496B6E5F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41855" y="2758715"/>
            <a:ext cx="6631912" cy="9144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400"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907B6E9-5AC7-43CF-92CF-17D9EF582BC7}"/>
              </a:ext>
            </a:extLst>
          </p:cNvPr>
          <p:cNvSpPr/>
          <p:nvPr userDrawn="1"/>
        </p:nvSpPr>
        <p:spPr>
          <a:xfrm>
            <a:off x="0" y="6625072"/>
            <a:ext cx="12192000" cy="238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Calibri" panose="020F0502020204030204" pitchFamily="34" charset="0"/>
            </a:endParaRP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12026" y="6327191"/>
            <a:ext cx="776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FB36D3-C3B6-4730-932D-29B82D2178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6C56A12-50CC-4519-8F64-6EEBB569B921}"/>
              </a:ext>
            </a:extLst>
          </p:cNvPr>
          <p:cNvSpPr/>
          <p:nvPr userDrawn="1"/>
        </p:nvSpPr>
        <p:spPr>
          <a:xfrm>
            <a:off x="0" y="6604599"/>
            <a:ext cx="12192000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25" b="1" spc="-8" dirty="0">
                <a:solidFill>
                  <a:schemeClr val="bg1"/>
                </a:solidFill>
                <a:latin typeface="+mj-lt"/>
              </a:rPr>
              <a:t>Please see additional Important Safety Information throughout and accompanying full Prescribing Information, including Boxed Warning.</a:t>
            </a:r>
          </a:p>
        </p:txBody>
      </p:sp>
    </p:spTree>
    <p:extLst>
      <p:ext uri="{BB962C8B-B14F-4D97-AF65-F5344CB8AC3E}">
        <p14:creationId xmlns:p14="http://schemas.microsoft.com/office/powerpoint/2010/main" val="78756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Tex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, circle&#10;&#10;Description automatically generated">
            <a:extLst>
              <a:ext uri="{FF2B5EF4-FFF2-40B4-BE49-F238E27FC236}">
                <a16:creationId xmlns:a16="http://schemas.microsoft.com/office/drawing/2014/main" id="{68184F35-24C6-4FED-A24D-AB63928C7A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85651" cy="6858000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711DBFB-3D82-424B-B39A-9AD39EAF682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561951" y="3665580"/>
            <a:ext cx="5898383" cy="5245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 b="0">
                <a:solidFill>
                  <a:srgbClr val="656D78"/>
                </a:solidFill>
                <a:latin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DB8204E-1B93-4432-AD1A-B9496B6E5F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41855" y="2758715"/>
            <a:ext cx="6631912" cy="9144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400">
                <a:solidFill>
                  <a:schemeClr val="accent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907B6E9-5AC7-43CF-92CF-17D9EF582BC7}"/>
              </a:ext>
            </a:extLst>
          </p:cNvPr>
          <p:cNvSpPr/>
          <p:nvPr userDrawn="1"/>
        </p:nvSpPr>
        <p:spPr>
          <a:xfrm>
            <a:off x="0" y="6625072"/>
            <a:ext cx="12192000" cy="238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A405D9-A9FA-4311-9965-B477A4BA82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9983" y="6119616"/>
            <a:ext cx="1260455" cy="459822"/>
          </a:xfrm>
          <a:prstGeom prst="rect">
            <a:avLst/>
          </a:prstGeom>
        </p:spPr>
      </p:pic>
      <p:sp>
        <p:nvSpPr>
          <p:cNvPr id="11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12026" y="6327191"/>
            <a:ext cx="776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FB36D3-C3B6-4730-932D-29B82D2178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BC3F8E0-AC58-4C18-9FF7-6C6D875E226B}"/>
              </a:ext>
            </a:extLst>
          </p:cNvPr>
          <p:cNvSpPr/>
          <p:nvPr userDrawn="1"/>
        </p:nvSpPr>
        <p:spPr>
          <a:xfrm>
            <a:off x="0" y="6604599"/>
            <a:ext cx="12192000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25" b="1" spc="-8" dirty="0">
                <a:solidFill>
                  <a:schemeClr val="bg1"/>
                </a:solidFill>
                <a:latin typeface="+mj-lt"/>
              </a:rPr>
              <a:t>Please see additional Important Safety Information throughout and accompanying full Prescribing Information, including Boxed Warning.</a:t>
            </a:r>
          </a:p>
        </p:txBody>
      </p:sp>
    </p:spTree>
    <p:extLst>
      <p:ext uri="{BB962C8B-B14F-4D97-AF65-F5344CB8AC3E}">
        <p14:creationId xmlns:p14="http://schemas.microsoft.com/office/powerpoint/2010/main" val="214797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41233-0239-514C-8713-666C91FABE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026" y="0"/>
            <a:ext cx="9585575" cy="128156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11734238-3281-4A03-89A7-2F35972C45DC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096000" y="1897048"/>
            <a:ext cx="5105155" cy="402167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3B334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rgbClr val="656D78"/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rgbClr val="656D78"/>
                </a:solidFill>
                <a:latin typeface="+mn-lt"/>
              </a:defRPr>
            </a:lvl2pPr>
            <a:lvl3pPr marL="255985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rgbClr val="656D78"/>
                </a:solidFill>
                <a:latin typeface="+mn-lt"/>
              </a:defRPr>
            </a:lvl3pPr>
            <a:lvl4pPr marL="384572" indent="-126206"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rgbClr val="656D78"/>
                </a:solidFill>
                <a:latin typeface="+mn-lt"/>
              </a:defRPr>
            </a:lvl4pPr>
          </a:lstStyle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A109C14F-15C8-435D-9691-26A6812F720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79076" y="1897048"/>
            <a:ext cx="5176173" cy="402167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3B334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rgbClr val="656D78"/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rgbClr val="656D78"/>
                </a:solidFill>
                <a:latin typeface="+mn-lt"/>
              </a:defRPr>
            </a:lvl2pPr>
            <a:lvl3pPr marL="255985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rgbClr val="656D78"/>
                </a:solidFill>
                <a:latin typeface="+mn-lt"/>
              </a:defRPr>
            </a:lvl3pPr>
            <a:lvl4pPr marL="384572" indent="-126206"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rgbClr val="656D78"/>
                </a:solidFill>
                <a:latin typeface="+mn-lt"/>
              </a:defRPr>
            </a:lvl4pPr>
          </a:lstStyle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1662315-868F-466E-8164-025E997454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6026" y="6100762"/>
            <a:ext cx="9585575" cy="42831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675" b="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93A964C-F625-4969-B3DE-AD26A2AB7ABD}"/>
              </a:ext>
            </a:extLst>
          </p:cNvPr>
          <p:cNvSpPr/>
          <p:nvPr userDrawn="1"/>
        </p:nvSpPr>
        <p:spPr>
          <a:xfrm>
            <a:off x="0" y="6625072"/>
            <a:ext cx="12192000" cy="238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Calibri" panose="020F0502020204030204" pitchFamily="34" charset="0"/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12026" y="6327191"/>
            <a:ext cx="776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FB36D3-C3B6-4730-932D-29B82D2178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F59565B-D472-4116-85D1-24147F5546EC}"/>
              </a:ext>
            </a:extLst>
          </p:cNvPr>
          <p:cNvSpPr/>
          <p:nvPr userDrawn="1"/>
        </p:nvSpPr>
        <p:spPr>
          <a:xfrm>
            <a:off x="0" y="6604599"/>
            <a:ext cx="12192000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25" b="1" spc="-8" dirty="0">
                <a:solidFill>
                  <a:schemeClr val="bg1"/>
                </a:solidFill>
                <a:latin typeface="+mj-lt"/>
              </a:rPr>
              <a:t>Please see additional Important Safety Information throughout and accompanying full Prescribing Information, including Boxed Warning.</a:t>
            </a:r>
          </a:p>
        </p:txBody>
      </p:sp>
    </p:spTree>
    <p:extLst>
      <p:ext uri="{BB962C8B-B14F-4D97-AF65-F5344CB8AC3E}">
        <p14:creationId xmlns:p14="http://schemas.microsoft.com/office/powerpoint/2010/main" val="804621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">
            <a:extLst>
              <a:ext uri="{FF2B5EF4-FFF2-40B4-BE49-F238E27FC236}">
                <a16:creationId xmlns:a16="http://schemas.microsoft.com/office/drawing/2014/main" id="{331FE0FF-E8FD-4FEE-8EDD-C038DF6A04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885" y="2"/>
            <a:ext cx="11884067" cy="679767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4F41233-0239-514C-8713-666C91FABE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752" y="1739"/>
            <a:ext cx="9432425" cy="128156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3894C7-351B-E749-8860-81B1F25B40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79075" y="1891250"/>
            <a:ext cx="10362955" cy="417351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3B334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rgbClr val="656D78"/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rgbClr val="656D78"/>
                </a:solidFill>
                <a:latin typeface="+mn-lt"/>
              </a:defRPr>
            </a:lvl2pPr>
            <a:lvl3pPr marL="255985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rgbClr val="656D78"/>
                </a:solidFill>
                <a:latin typeface="Open Sans" panose="020B0606030504020204"/>
              </a:defRPr>
            </a:lvl3pPr>
            <a:lvl4pPr marL="384572" indent="-126206"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rgbClr val="656D78"/>
                </a:solidFill>
                <a:latin typeface="Open Sans" panose="020B0606030504020204"/>
              </a:defRPr>
            </a:lvl4pPr>
          </a:lstStyle>
          <a:p>
            <a:pPr lvl="1"/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A167497-DDF0-4606-833B-D48243A134E8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82751" y="1559613"/>
            <a:ext cx="10359279" cy="318387"/>
          </a:xfrm>
          <a:prstGeom prst="rect">
            <a:avLst/>
          </a:prstGeom>
        </p:spPr>
        <p:txBody>
          <a:bodyPr anchor="b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latin typeface="+mn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2A7993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Source Sans Pro Black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EC0B75-46D0-4C24-928F-2EABD83E23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6026" y="6103937"/>
            <a:ext cx="9439151" cy="42831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675" b="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CCE3CC-03C2-4AC9-AE64-40F918C746B3}"/>
              </a:ext>
            </a:extLst>
          </p:cNvPr>
          <p:cNvSpPr/>
          <p:nvPr userDrawn="1"/>
        </p:nvSpPr>
        <p:spPr>
          <a:xfrm>
            <a:off x="0" y="6625072"/>
            <a:ext cx="12192000" cy="238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+mn-lt"/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12026" y="6327191"/>
            <a:ext cx="776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D7FB36D3-C3B6-4730-932D-29B82D2178E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 descr="Text, logo&#10;&#10;Description automatically generated">
            <a:extLst>
              <a:ext uri="{FF2B5EF4-FFF2-40B4-BE49-F238E27FC236}">
                <a16:creationId xmlns:a16="http://schemas.microsoft.com/office/drawing/2014/main" id="{4F794725-F1AB-4204-BC8B-B5105499DE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4543" y="6152828"/>
            <a:ext cx="1219264" cy="402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17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wo Conten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">
            <a:extLst>
              <a:ext uri="{FF2B5EF4-FFF2-40B4-BE49-F238E27FC236}">
                <a16:creationId xmlns:a16="http://schemas.microsoft.com/office/drawing/2014/main" id="{331FE0FF-E8FD-4FEE-8EDD-C038DF6A04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885" y="2"/>
            <a:ext cx="11884067" cy="679767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4F41233-0239-514C-8713-666C91FABE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752" y="1739"/>
            <a:ext cx="9432425" cy="1281560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3894C7-351B-E749-8860-81B1F25B40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79075" y="1891250"/>
            <a:ext cx="10362955" cy="417351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3B334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rgbClr val="656D78"/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rgbClr val="656D78"/>
                </a:solidFill>
                <a:latin typeface="+mn-lt"/>
              </a:defRPr>
            </a:lvl2pPr>
            <a:lvl3pPr marL="255985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rgbClr val="656D78"/>
                </a:solidFill>
                <a:latin typeface="Open Sans" panose="020B0606030504020204"/>
              </a:defRPr>
            </a:lvl3pPr>
            <a:lvl4pPr marL="384572" indent="-126206"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rgbClr val="656D78"/>
                </a:solidFill>
                <a:latin typeface="Open Sans" panose="020B0606030504020204"/>
              </a:defRPr>
            </a:lvl4pPr>
          </a:lstStyle>
          <a:p>
            <a:pPr lvl="1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EC0B75-46D0-4C24-928F-2EABD83E23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6026" y="6103937"/>
            <a:ext cx="9439151" cy="42831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675" b="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CCE3CC-03C2-4AC9-AE64-40F918C746B3}"/>
              </a:ext>
            </a:extLst>
          </p:cNvPr>
          <p:cNvSpPr/>
          <p:nvPr userDrawn="1"/>
        </p:nvSpPr>
        <p:spPr>
          <a:xfrm>
            <a:off x="0" y="6637772"/>
            <a:ext cx="12192000" cy="238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+mn-lt"/>
            </a:endParaRPr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12026" y="6327191"/>
            <a:ext cx="776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D7FB36D3-C3B6-4730-932D-29B82D2178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DDB77A6-BE29-4532-887C-88CBA0B7FBC0}"/>
              </a:ext>
            </a:extLst>
          </p:cNvPr>
          <p:cNvSpPr/>
          <p:nvPr userDrawn="1"/>
        </p:nvSpPr>
        <p:spPr>
          <a:xfrm>
            <a:off x="0" y="6604599"/>
            <a:ext cx="12192000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25" b="1" spc="-8" dirty="0">
                <a:solidFill>
                  <a:schemeClr val="bg1"/>
                </a:solidFill>
                <a:latin typeface="+mn-lt"/>
              </a:rPr>
              <a:t>Please see additional Important Safety Information throughout and accompanying full Prescribing Information, including Boxed Warning.</a:t>
            </a:r>
          </a:p>
        </p:txBody>
      </p:sp>
      <p:pic>
        <p:nvPicPr>
          <p:cNvPr id="21" name="Picture 20" descr="Text, logo&#10;&#10;Description automatically generated">
            <a:extLst>
              <a:ext uri="{FF2B5EF4-FFF2-40B4-BE49-F238E27FC236}">
                <a16:creationId xmlns:a16="http://schemas.microsoft.com/office/drawing/2014/main" id="{4F794725-F1AB-4204-BC8B-B5105499DE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4543" y="6152828"/>
            <a:ext cx="1219264" cy="402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08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2757829E-AE50-4948-8FBB-26A3FF36542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8902700" cy="67183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 descr="Shape, circle&#10;&#10;Description automatically generated">
            <a:extLst>
              <a:ext uri="{FF2B5EF4-FFF2-40B4-BE49-F238E27FC236}">
                <a16:creationId xmlns:a16="http://schemas.microsoft.com/office/drawing/2014/main" id="{BA924DA8-35F8-4C46-98DE-C220D74645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03A82BB7-1F7C-4AD1-ABF5-040A7C8FA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25489" y="2454043"/>
            <a:ext cx="2998211" cy="1949914"/>
          </a:xfrm>
        </p:spPr>
        <p:txBody>
          <a:bodyPr anchor="ctr"/>
          <a:lstStyle>
            <a:lvl1pPr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76510F2-535A-47BF-B405-6D4A20ED7F5F}"/>
              </a:ext>
            </a:extLst>
          </p:cNvPr>
          <p:cNvCxnSpPr>
            <a:cxnSpLocks/>
          </p:cNvCxnSpPr>
          <p:nvPr userDrawn="1"/>
        </p:nvCxnSpPr>
        <p:spPr>
          <a:xfrm>
            <a:off x="0" y="6692900"/>
            <a:ext cx="12192000" cy="0"/>
          </a:xfrm>
          <a:prstGeom prst="line">
            <a:avLst/>
          </a:prstGeom>
          <a:ln w="1333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4EB0E671-D0D7-4292-AE51-77AE07A63909}"/>
              </a:ext>
            </a:extLst>
          </p:cNvPr>
          <p:cNvSpPr/>
          <p:nvPr userDrawn="1"/>
        </p:nvSpPr>
        <p:spPr>
          <a:xfrm>
            <a:off x="0" y="6625072"/>
            <a:ext cx="12192000" cy="238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FDF881-5A8A-4A7B-8223-08FA7BF8068F}"/>
              </a:ext>
            </a:extLst>
          </p:cNvPr>
          <p:cNvSpPr/>
          <p:nvPr userDrawn="1"/>
        </p:nvSpPr>
        <p:spPr>
          <a:xfrm>
            <a:off x="0" y="6604599"/>
            <a:ext cx="12192000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25" b="1" spc="-8" dirty="0">
                <a:solidFill>
                  <a:schemeClr val="bg1"/>
                </a:solidFill>
                <a:latin typeface="+mn-lt"/>
              </a:rPr>
              <a:t>Please see additional Important Safety Information throughout and accompanying full Prescribing Information, including Boxed Warning.</a:t>
            </a:r>
          </a:p>
        </p:txBody>
      </p:sp>
    </p:spTree>
    <p:extLst>
      <p:ext uri="{BB962C8B-B14F-4D97-AF65-F5344CB8AC3E}">
        <p14:creationId xmlns:p14="http://schemas.microsoft.com/office/powerpoint/2010/main" val="337367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 Intr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, circle&#10;&#10;Description automatically generated">
            <a:extLst>
              <a:ext uri="{FF2B5EF4-FFF2-40B4-BE49-F238E27FC236}">
                <a16:creationId xmlns:a16="http://schemas.microsoft.com/office/drawing/2014/main" id="{85CCB56B-C0EB-4C61-8376-C6EBBE11AD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65FFD6AA-5E16-478C-A448-B24E05136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6658" y="1895419"/>
            <a:ext cx="5834497" cy="128156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500DD49-CE80-42DD-BF12-1DF55AF4D79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366657" y="3529699"/>
            <a:ext cx="5017048" cy="15427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3B334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rgbClr val="656D78"/>
                </a:solidFill>
              </a:defRPr>
            </a:lvl1pPr>
            <a:lvl2pPr marL="128588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rgbClr val="656D78"/>
                </a:solidFill>
                <a:latin typeface="+mn-lt"/>
              </a:defRPr>
            </a:lvl2pPr>
            <a:lvl3pPr marL="255985" indent="-128588"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rgbClr val="656D78"/>
                </a:solidFill>
                <a:latin typeface="+mn-lt"/>
              </a:defRPr>
            </a:lvl3pPr>
            <a:lvl4pPr marL="384572" indent="-126206">
              <a:buClr>
                <a:schemeClr val="accent3"/>
              </a:buClr>
              <a:buFont typeface="Arial" panose="020B0604020202020204" pitchFamily="34" charset="0"/>
              <a:buChar char="•"/>
              <a:defRPr sz="900">
                <a:solidFill>
                  <a:srgbClr val="656D78"/>
                </a:solidFill>
                <a:latin typeface="+mn-lt"/>
              </a:defRPr>
            </a:lvl4pPr>
          </a:lstStyle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76BBC8-7CFB-4D27-91EF-0004E708D65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366658" y="3185912"/>
            <a:ext cx="5015269" cy="318387"/>
          </a:xfrm>
          <a:prstGeom prst="rect">
            <a:avLst/>
          </a:prstGeom>
        </p:spPr>
        <p:txBody>
          <a:bodyPr anchor="b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>
                <a:latin typeface="+mn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2A7993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Source Sans Pro Black" charset="0"/>
              </a:rPr>
              <a:t>CONTENT 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664AB22-2B18-484C-A639-3E7C58B673AC}"/>
              </a:ext>
            </a:extLst>
          </p:cNvPr>
          <p:cNvSpPr txBox="1">
            <a:spLocks/>
          </p:cNvSpPr>
          <p:nvPr userDrawn="1"/>
        </p:nvSpPr>
        <p:spPr>
          <a:xfrm>
            <a:off x="414461" y="2450868"/>
            <a:ext cx="2998211" cy="1949914"/>
          </a:xfrm>
          <a:prstGeom prst="rect">
            <a:avLst/>
          </a:prstGeom>
        </p:spPr>
        <p:txBody>
          <a:bodyPr vert="horz" lIns="68580" tIns="34290" rIns="68580" bIns="3429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sz="2100" dirty="0"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629098D-211F-42DF-B1B4-D39BCEB9ECFF}"/>
              </a:ext>
            </a:extLst>
          </p:cNvPr>
          <p:cNvSpPr/>
          <p:nvPr userDrawn="1"/>
        </p:nvSpPr>
        <p:spPr>
          <a:xfrm>
            <a:off x="0" y="6625072"/>
            <a:ext cx="12192000" cy="238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+mn-lt"/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12026" y="6327191"/>
            <a:ext cx="776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D7FB36D3-C3B6-4730-932D-29B82D2178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EED77E8-F0AB-472B-9BCF-CFD11EE66F75}"/>
              </a:ext>
            </a:extLst>
          </p:cNvPr>
          <p:cNvSpPr/>
          <p:nvPr userDrawn="1"/>
        </p:nvSpPr>
        <p:spPr>
          <a:xfrm>
            <a:off x="0" y="6604599"/>
            <a:ext cx="12192000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25" b="1" spc="-8" dirty="0">
                <a:solidFill>
                  <a:schemeClr val="bg1"/>
                </a:solidFill>
                <a:latin typeface="+mn-lt"/>
              </a:rPr>
              <a:t>Please see additional Important Safety Information throughout and accompanying full Prescribing Information, including Boxed Warning.</a:t>
            </a:r>
          </a:p>
        </p:txBody>
      </p:sp>
    </p:spTree>
    <p:extLst>
      <p:ext uri="{BB962C8B-B14F-4D97-AF65-F5344CB8AC3E}">
        <p14:creationId xmlns:p14="http://schemas.microsoft.com/office/powerpoint/2010/main" val="3964252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E44EC7-B50F-4954-A7B8-50E46A1317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053C7B5-F023-4BEA-871D-EADC27A91B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781" y="6509847"/>
            <a:ext cx="2982847" cy="360000"/>
          </a:xfrm>
          <a:prstGeom prst="rect">
            <a:avLst/>
          </a:prstGeom>
        </p:spPr>
        <p:txBody>
          <a:bodyPr vert="horz" lIns="68543" tIns="34289" rIns="68543" bIns="34289" rtlCol="0" anchor="ctr"/>
          <a:lstStyle>
            <a:lvl1pPr algn="l">
              <a:defRPr sz="1100">
                <a:solidFill>
                  <a:schemeClr val="bg2"/>
                </a:solidFill>
              </a:defRPr>
            </a:lvl1pPr>
          </a:lstStyle>
          <a:p>
            <a:fld id="{BCC301CC-959A-4738-8FCC-B86587F4D6D1}" type="slidenum">
              <a:rPr lang="en-GB" smtClean="0">
                <a:solidFill>
                  <a:srgbClr val="E7E6E6"/>
                </a:solidFill>
                <a:latin typeface="Calibri"/>
              </a:rPr>
              <a:pPr/>
              <a:t>‹#›</a:t>
            </a:fld>
            <a:r>
              <a:rPr lang="en-GB" dirty="0">
                <a:solidFill>
                  <a:srgbClr val="E7E6E6"/>
                </a:solidFill>
                <a:latin typeface="Calibri"/>
              </a:rPr>
              <a:t>  | 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1719909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018D3762-856C-4EBC-8DC4-A5A5F9A21B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0320"/>
            <a:ext cx="8902700" cy="6811963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13182FD5-2B36-4445-AEC0-4A2504B734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541"/>
            <a:ext cx="12192000" cy="685954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AA00DA09-01A3-448B-B56B-CF65030940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25489" y="2454043"/>
            <a:ext cx="2998211" cy="1949914"/>
          </a:xfrm>
        </p:spPr>
        <p:txBody>
          <a:bodyPr anchor="ctr"/>
          <a:lstStyle>
            <a:lvl1pPr>
              <a:defRPr sz="21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E157F8F-0974-4FD0-83A5-2F46F6ED68BC}"/>
              </a:ext>
            </a:extLst>
          </p:cNvPr>
          <p:cNvSpPr/>
          <p:nvPr userDrawn="1"/>
        </p:nvSpPr>
        <p:spPr>
          <a:xfrm>
            <a:off x="0" y="6625072"/>
            <a:ext cx="12192000" cy="238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A911BEE-3627-4989-9863-B189F5595A04}"/>
              </a:ext>
            </a:extLst>
          </p:cNvPr>
          <p:cNvSpPr/>
          <p:nvPr userDrawn="1"/>
        </p:nvSpPr>
        <p:spPr>
          <a:xfrm>
            <a:off x="0" y="6604599"/>
            <a:ext cx="12192000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25" b="1" spc="-8" dirty="0">
                <a:solidFill>
                  <a:schemeClr val="bg1"/>
                </a:solidFill>
                <a:latin typeface="+mn-lt"/>
              </a:rPr>
              <a:t>Please see full Prescribing Information, including BOXED WARNING and Medication Guide, available at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387253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4F847091-8850-44DC-9206-8451618691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541"/>
            <a:ext cx="12192000" cy="6859542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9E377255-1192-4EF6-8D0F-77E203D04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6093" y="1885242"/>
            <a:ext cx="6096000" cy="1570192"/>
          </a:xfrm>
        </p:spPr>
        <p:txBody>
          <a:bodyPr anchor="b">
            <a:normAutofit/>
          </a:bodyPr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414FFE-89BC-405A-9D44-38CE1D989A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56094" y="3490587"/>
            <a:ext cx="7742397" cy="670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0822A6B-755C-4A8A-9EDF-77382AA3701D}"/>
              </a:ext>
            </a:extLst>
          </p:cNvPr>
          <p:cNvSpPr/>
          <p:nvPr userDrawn="1"/>
        </p:nvSpPr>
        <p:spPr>
          <a:xfrm>
            <a:off x="0" y="6625072"/>
            <a:ext cx="12192000" cy="238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9633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21AA021-6A98-4A4B-84A0-D8549F23CFF5}"/>
              </a:ext>
            </a:extLst>
          </p:cNvPr>
          <p:cNvSpPr/>
          <p:nvPr userDrawn="1"/>
        </p:nvSpPr>
        <p:spPr>
          <a:xfrm>
            <a:off x="2" y="2"/>
            <a:ext cx="12191999" cy="6789411"/>
          </a:xfrm>
          <a:prstGeom prst="rect">
            <a:avLst/>
          </a:prstGeom>
          <a:solidFill>
            <a:srgbClr val="67CB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Calibri" panose="020F050202020403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E377255-1192-4EF6-8D0F-77E203D04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2259" y="1943111"/>
            <a:ext cx="7907483" cy="1640564"/>
          </a:xfrm>
        </p:spPr>
        <p:txBody>
          <a:bodyPr anchor="b">
            <a:normAutofit/>
          </a:bodyPr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8B2B186-CFB1-4AFB-9B2E-F9644C4EE1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142261" y="3583907"/>
            <a:ext cx="7907481" cy="7444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4FC6D23-2B3C-4341-8EB0-2CD5A2888D27}"/>
              </a:ext>
            </a:extLst>
          </p:cNvPr>
          <p:cNvCxnSpPr/>
          <p:nvPr userDrawn="1"/>
        </p:nvCxnSpPr>
        <p:spPr>
          <a:xfrm>
            <a:off x="2" y="6797675"/>
            <a:ext cx="12188951" cy="0"/>
          </a:xfrm>
          <a:prstGeom prst="line">
            <a:avLst/>
          </a:prstGeom>
          <a:ln w="1333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1F42509-AFE8-469B-8086-28E460A9C649}"/>
              </a:ext>
            </a:extLst>
          </p:cNvPr>
          <p:cNvCxnSpPr>
            <a:cxnSpLocks/>
          </p:cNvCxnSpPr>
          <p:nvPr userDrawn="1"/>
        </p:nvCxnSpPr>
        <p:spPr>
          <a:xfrm>
            <a:off x="0" y="6692900"/>
            <a:ext cx="12192000" cy="0"/>
          </a:xfrm>
          <a:prstGeom prst="line">
            <a:avLst/>
          </a:prstGeom>
          <a:ln w="1333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F5C54D9E-AD53-40F7-9ABF-C68D57938814}"/>
              </a:ext>
            </a:extLst>
          </p:cNvPr>
          <p:cNvSpPr/>
          <p:nvPr userDrawn="1"/>
        </p:nvSpPr>
        <p:spPr>
          <a:xfrm>
            <a:off x="0" y="6625072"/>
            <a:ext cx="12192000" cy="238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925390-618B-4B9F-BAC1-01F95552CD07}"/>
              </a:ext>
            </a:extLst>
          </p:cNvPr>
          <p:cNvSpPr/>
          <p:nvPr userDrawn="1"/>
        </p:nvSpPr>
        <p:spPr>
          <a:xfrm>
            <a:off x="0" y="6604599"/>
            <a:ext cx="12192000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25" b="1" spc="-8" dirty="0">
                <a:solidFill>
                  <a:schemeClr val="bg1"/>
                </a:solidFill>
                <a:latin typeface="+mj-lt"/>
              </a:rPr>
              <a:t>Please see full Prescribing Information, including BOXED WARNING and Medication Guide, available at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947231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6A89BEA-6196-8B42-8E6C-6061BED3A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40896" y="6400802"/>
            <a:ext cx="43688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B1C25D79-A8CB-4446-8518-AC413F7B006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F44EBD-976D-4D4F-A4AC-B52C7F13E6E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2336" y="1223328"/>
            <a:ext cx="11228832" cy="476402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CB6D6C-4712-4EEA-B7D1-5ED15923FB5B}"/>
              </a:ext>
            </a:extLst>
          </p:cNvPr>
          <p:cNvSpPr/>
          <p:nvPr userDrawn="1"/>
        </p:nvSpPr>
        <p:spPr>
          <a:xfrm>
            <a:off x="412478" y="6614347"/>
            <a:ext cx="9161417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50" b="1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lease see full Prescribing Information, including Boxed Warning and Medication Guide, available at end of this presentation. </a:t>
            </a:r>
          </a:p>
        </p:txBody>
      </p:sp>
      <p:sp>
        <p:nvSpPr>
          <p:cNvPr id="2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1320" y="6332222"/>
            <a:ext cx="8669944" cy="282125"/>
          </a:xfrm>
        </p:spPr>
        <p:txBody>
          <a:bodyPr/>
          <a:lstStyle/>
          <a:p>
            <a:r>
              <a:rPr lang="en-US" dirty="0"/>
              <a:t>FOOTER PLACEHOLDER</a:t>
            </a:r>
          </a:p>
        </p:txBody>
      </p:sp>
    </p:spTree>
    <p:extLst>
      <p:ext uri="{BB962C8B-B14F-4D97-AF65-F5344CB8AC3E}">
        <p14:creationId xmlns:p14="http://schemas.microsoft.com/office/powerpoint/2010/main" val="219880710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1320" y="6332222"/>
            <a:ext cx="8669944" cy="282125"/>
          </a:xfrm>
        </p:spPr>
        <p:txBody>
          <a:bodyPr/>
          <a:lstStyle/>
          <a:p>
            <a:r>
              <a:rPr lang="en-US"/>
              <a:t>FOOTER PLACEHOLDER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6A89BEA-6196-8B42-8E6C-6061BED3A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40896" y="6400802"/>
            <a:ext cx="43688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B1C25D79-A8CB-4446-8518-AC413F7B006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FF44EBD-976D-4D4F-A4AC-B52C7F13E6E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2336" y="1238568"/>
            <a:ext cx="11228832" cy="4764024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CB6D6C-4712-4EEA-B7D1-5ED15923FB5B}"/>
              </a:ext>
            </a:extLst>
          </p:cNvPr>
          <p:cNvSpPr/>
          <p:nvPr userDrawn="1"/>
        </p:nvSpPr>
        <p:spPr>
          <a:xfrm>
            <a:off x="412478" y="6614347"/>
            <a:ext cx="9161417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50" b="1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lease see full Prescribing Information, including Boxed Warning and Medication Guide, available at end of this presentation. </a:t>
            </a:r>
          </a:p>
        </p:txBody>
      </p:sp>
    </p:spTree>
    <p:extLst>
      <p:ext uri="{BB962C8B-B14F-4D97-AF65-F5344CB8AC3E}">
        <p14:creationId xmlns:p14="http://schemas.microsoft.com/office/powerpoint/2010/main" val="3594647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1320" y="6332222"/>
            <a:ext cx="8669944" cy="282125"/>
          </a:xfrm>
        </p:spPr>
        <p:txBody>
          <a:bodyPr/>
          <a:lstStyle/>
          <a:p>
            <a:r>
              <a:rPr lang="en-US"/>
              <a:t>FOOTER PLACEHOLDER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6A89BEA-6196-8B42-8E6C-6061BED3A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40896" y="6400802"/>
            <a:ext cx="43688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B1C25D79-A8CB-4446-8518-AC413F7B006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CB6D6C-4712-4EEA-B7D1-5ED15923FB5B}"/>
              </a:ext>
            </a:extLst>
          </p:cNvPr>
          <p:cNvSpPr/>
          <p:nvPr userDrawn="1"/>
        </p:nvSpPr>
        <p:spPr>
          <a:xfrm>
            <a:off x="412478" y="6614347"/>
            <a:ext cx="9161417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50" b="1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lease see full Prescribing Information, including Boxed Warning and Medication Guide, available at end of this presentation. </a:t>
            </a:r>
          </a:p>
        </p:txBody>
      </p:sp>
    </p:spTree>
    <p:extLst>
      <p:ext uri="{BB962C8B-B14F-4D97-AF65-F5344CB8AC3E}">
        <p14:creationId xmlns:p14="http://schemas.microsoft.com/office/powerpoint/2010/main" val="4007313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1320" y="6332222"/>
            <a:ext cx="8669944" cy="282125"/>
          </a:xfrm>
        </p:spPr>
        <p:txBody>
          <a:bodyPr/>
          <a:lstStyle/>
          <a:p>
            <a:r>
              <a:rPr lang="en-US"/>
              <a:t>FOOTER PLACEHOLDER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6A89BEA-6196-8B42-8E6C-6061BED3A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40896" y="6400802"/>
            <a:ext cx="43688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B1C25D79-A8CB-4446-8518-AC413F7B006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CB6D6C-4712-4EEA-B7D1-5ED15923FB5B}"/>
              </a:ext>
            </a:extLst>
          </p:cNvPr>
          <p:cNvSpPr/>
          <p:nvPr userDrawn="1"/>
        </p:nvSpPr>
        <p:spPr>
          <a:xfrm>
            <a:off x="412478" y="6614347"/>
            <a:ext cx="9161417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50" b="1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lease see full Prescribing Information, including Boxed Warning and Medication Guide, available at end of this presentation. 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103031"/>
            <a:ext cx="12192000" cy="6304208"/>
            <a:chOff x="0" y="103031"/>
            <a:chExt cx="12192000" cy="6304208"/>
          </a:xfrm>
        </p:grpSpPr>
        <p:grpSp>
          <p:nvGrpSpPr>
            <p:cNvPr id="8" name="Group 7"/>
            <p:cNvGrpSpPr/>
            <p:nvPr userDrawn="1"/>
          </p:nvGrpSpPr>
          <p:grpSpPr>
            <a:xfrm>
              <a:off x="0" y="103031"/>
              <a:ext cx="12192000" cy="6304208"/>
              <a:chOff x="0" y="103031"/>
              <a:chExt cx="12192000" cy="6304208"/>
            </a:xfrm>
          </p:grpSpPr>
          <p:cxnSp>
            <p:nvCxnSpPr>
              <p:cNvPr id="16" name="Straight Connector 15"/>
              <p:cNvCxnSpPr/>
              <p:nvPr userDrawn="1"/>
            </p:nvCxnSpPr>
            <p:spPr>
              <a:xfrm>
                <a:off x="502277" y="103031"/>
                <a:ext cx="0" cy="6304208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 userDrawn="1"/>
            </p:nvCxnSpPr>
            <p:spPr>
              <a:xfrm>
                <a:off x="11672811" y="103031"/>
                <a:ext cx="0" cy="6304208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 userDrawn="1"/>
            </p:nvCxnSpPr>
            <p:spPr>
              <a:xfrm>
                <a:off x="0" y="862884"/>
                <a:ext cx="12192000" cy="0"/>
              </a:xfrm>
              <a:prstGeom prst="line">
                <a:avLst/>
              </a:prstGeom>
              <a:ln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 userDrawn="1"/>
            </p:nvCxnSpPr>
            <p:spPr>
              <a:xfrm>
                <a:off x="0" y="1313833"/>
                <a:ext cx="12192000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>
              <a:xfrm>
                <a:off x="0" y="1504101"/>
                <a:ext cx="12192000" cy="0"/>
              </a:xfrm>
              <a:prstGeom prst="line">
                <a:avLst/>
              </a:prstGeom>
              <a:ln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>
              <a:xfrm>
                <a:off x="0" y="418565"/>
                <a:ext cx="12192000" cy="0"/>
              </a:xfrm>
              <a:prstGeom prst="line">
                <a:avLst/>
              </a:prstGeom>
              <a:ln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>
              <a:xfrm>
                <a:off x="0" y="6073979"/>
                <a:ext cx="12192000" cy="0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oup 8"/>
            <p:cNvGrpSpPr/>
            <p:nvPr userDrawn="1"/>
          </p:nvGrpSpPr>
          <p:grpSpPr>
            <a:xfrm>
              <a:off x="3208060" y="1313833"/>
              <a:ext cx="5748828" cy="4760146"/>
              <a:chOff x="3208060" y="103031"/>
              <a:chExt cx="5748828" cy="6304208"/>
            </a:xfrm>
          </p:grpSpPr>
          <p:cxnSp>
            <p:nvCxnSpPr>
              <p:cNvPr id="10" name="Straight Connector 9"/>
              <p:cNvCxnSpPr/>
              <p:nvPr userDrawn="1"/>
            </p:nvCxnSpPr>
            <p:spPr>
              <a:xfrm>
                <a:off x="3208060" y="103031"/>
                <a:ext cx="0" cy="630420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/>
              <p:cNvCxnSpPr/>
              <p:nvPr userDrawn="1"/>
            </p:nvCxnSpPr>
            <p:spPr>
              <a:xfrm>
                <a:off x="3313976" y="103031"/>
                <a:ext cx="0" cy="630420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/>
              <p:cNvCxnSpPr/>
              <p:nvPr userDrawn="1"/>
            </p:nvCxnSpPr>
            <p:spPr>
              <a:xfrm>
                <a:off x="6031612" y="103031"/>
                <a:ext cx="0" cy="630420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/>
              <p:cNvCxnSpPr/>
              <p:nvPr userDrawn="1"/>
            </p:nvCxnSpPr>
            <p:spPr>
              <a:xfrm>
                <a:off x="6137528" y="103031"/>
                <a:ext cx="0" cy="630420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 userDrawn="1"/>
            </p:nvCxnSpPr>
            <p:spPr>
              <a:xfrm>
                <a:off x="8850972" y="103031"/>
                <a:ext cx="0" cy="630420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>
              <a:xfrm>
                <a:off x="8956888" y="103031"/>
                <a:ext cx="0" cy="6304208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3" name="Group 22"/>
          <p:cNvGrpSpPr/>
          <p:nvPr userDrawn="1"/>
        </p:nvGrpSpPr>
        <p:grpSpPr>
          <a:xfrm>
            <a:off x="182881" y="5974080"/>
            <a:ext cx="8145780" cy="1196340"/>
            <a:chOff x="182880" y="5974080"/>
            <a:chExt cx="8145780" cy="1196340"/>
          </a:xfrm>
        </p:grpSpPr>
        <p:grpSp>
          <p:nvGrpSpPr>
            <p:cNvPr id="24" name="Group 23"/>
            <p:cNvGrpSpPr/>
            <p:nvPr userDrawn="1"/>
          </p:nvGrpSpPr>
          <p:grpSpPr>
            <a:xfrm>
              <a:off x="182880" y="5974080"/>
              <a:ext cx="8145780" cy="1196340"/>
              <a:chOff x="182880" y="5974080"/>
              <a:chExt cx="8145780" cy="1196340"/>
            </a:xfrm>
          </p:grpSpPr>
          <p:cxnSp>
            <p:nvCxnSpPr>
              <p:cNvPr id="26" name="Straight Connector 25"/>
              <p:cNvCxnSpPr/>
              <p:nvPr userDrawn="1"/>
            </p:nvCxnSpPr>
            <p:spPr>
              <a:xfrm>
                <a:off x="182880" y="6454140"/>
                <a:ext cx="8145780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>
              <a:xfrm>
                <a:off x="771378" y="5974080"/>
                <a:ext cx="0" cy="119634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5" name="Straight Connector 24"/>
            <p:cNvCxnSpPr/>
            <p:nvPr userDrawn="1"/>
          </p:nvCxnSpPr>
          <p:spPr>
            <a:xfrm>
              <a:off x="832338" y="5974080"/>
              <a:ext cx="0" cy="11963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33004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14925" y="1567537"/>
            <a:ext cx="11085097" cy="2387600"/>
          </a:xfrm>
        </p:spPr>
        <p:txBody>
          <a:bodyPr anchor="t"/>
          <a:lstStyle>
            <a:lvl1pPr algn="l">
              <a:defRPr sz="405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6959" y="2610852"/>
            <a:ext cx="9144000" cy="1311440"/>
          </a:xfrm>
        </p:spPr>
        <p:txBody>
          <a:bodyPr>
            <a:normAutofit/>
          </a:bodyPr>
          <a:lstStyle>
            <a:lvl1pPr marL="0" indent="0" algn="l">
              <a:buNone/>
              <a:defRPr sz="270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457" y="2852383"/>
            <a:ext cx="3159457" cy="315945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2" y="4648202"/>
            <a:ext cx="2493055" cy="390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12576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14925" y="1567537"/>
            <a:ext cx="11085097" cy="2387600"/>
          </a:xfrm>
        </p:spPr>
        <p:txBody>
          <a:bodyPr anchor="t"/>
          <a:lstStyle>
            <a:lvl1pPr algn="l">
              <a:defRPr sz="405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6959" y="2610852"/>
            <a:ext cx="9144000" cy="1311440"/>
          </a:xfrm>
        </p:spPr>
        <p:txBody>
          <a:bodyPr>
            <a:normAutofit/>
          </a:bodyPr>
          <a:lstStyle>
            <a:lvl1pPr marL="0" indent="0" algn="l">
              <a:buNone/>
              <a:defRPr sz="270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457" y="2852383"/>
            <a:ext cx="3159457" cy="3159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7512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defRPr sz="3000"/>
            </a:lvl1pPr>
            <a:lvl2pPr marL="685800" indent="-342900">
              <a:defRPr sz="2700"/>
            </a:lvl2pPr>
            <a:lvl3pPr marL="1028700" indent="-342900">
              <a:defRPr sz="2400"/>
            </a:lvl3pPr>
            <a:lvl4pPr marL="1371600" indent="-342900">
              <a:defRPr sz="2100"/>
            </a:lvl4pPr>
            <a:lvl5pPr marL="1714500" indent="-342900"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91691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87604"/>
            <a:ext cx="11736288" cy="837141"/>
          </a:xfrm>
        </p:spPr>
        <p:txBody>
          <a:bodyPr/>
          <a:lstStyle>
            <a:lvl1pPr>
              <a:defRPr sz="3200" b="1">
                <a:solidFill>
                  <a:srgbClr val="0F376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6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54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08928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 sz="30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 sz="30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669717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6" y="228602"/>
            <a:ext cx="12188824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676891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325117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858931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MC"/>
          <p:cNvPicPr>
            <a:picLocks noChangeAspect="1" noChangeArrowheads="1"/>
          </p:cNvPicPr>
          <p:nvPr userDrawn="1"/>
        </p:nvPicPr>
        <p:blipFill rotWithShape="1"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79" t="35463" r="17987" b="39428"/>
          <a:stretch/>
        </p:blipFill>
        <p:spPr bwMode="auto">
          <a:xfrm>
            <a:off x="3072064" y="2434392"/>
            <a:ext cx="6083968" cy="1764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9743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120" userDrawn="1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839056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890697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04491"/>
            <a:ext cx="10515600" cy="586991"/>
          </a:xfrm>
        </p:spPr>
        <p:txBody>
          <a:bodyPr>
            <a:normAutofit/>
          </a:bodyPr>
          <a:lstStyle>
            <a:lvl1pPr>
              <a:defRPr sz="202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3" y="1788662"/>
            <a:ext cx="10515599" cy="3628167"/>
          </a:xfrm>
        </p:spPr>
        <p:txBody>
          <a:bodyPr numCol="3" spcCol="274320">
            <a:normAutofit/>
          </a:bodyPr>
          <a:lstStyle>
            <a:lvl1pPr marL="0" indent="0">
              <a:lnSpc>
                <a:spcPct val="90000"/>
              </a:lnSpc>
              <a:spcBef>
                <a:spcPts val="750"/>
              </a:spcBef>
              <a:buNone/>
              <a:defRPr sz="13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628201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Green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F5A165A-0596-B847-AC1D-E82657A02578}"/>
              </a:ext>
            </a:extLst>
          </p:cNvPr>
          <p:cNvSpPr/>
          <p:nvPr userDrawn="1"/>
        </p:nvSpPr>
        <p:spPr>
          <a:xfrm>
            <a:off x="3" y="2"/>
            <a:ext cx="12191999" cy="104199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60" b="0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C0F38C-57B2-474A-801F-54361C0C95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8"/>
            <a:ext cx="10515600" cy="37464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E69E0B21-8C53-804D-B158-1E6AE5FBD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3238"/>
            <a:ext cx="10515600" cy="10452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 descr="UTHSA_logo_H_Full-White.png">
            <a:extLst>
              <a:ext uri="{FF2B5EF4-FFF2-40B4-BE49-F238E27FC236}">
                <a16:creationId xmlns:a16="http://schemas.microsoft.com/office/drawing/2014/main" id="{E5BD669D-49C9-0A4E-9CDC-17F6CD9FC0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80867"/>
          <a:stretch/>
        </p:blipFill>
        <p:spPr>
          <a:xfrm>
            <a:off x="11712203" y="391793"/>
            <a:ext cx="479796" cy="64797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5DD1A76-F8B4-5E4B-8F39-6221F0C6FC4D}"/>
              </a:ext>
            </a:extLst>
          </p:cNvPr>
          <p:cNvSpPr txBox="1"/>
          <p:nvPr userDrawn="1"/>
        </p:nvSpPr>
        <p:spPr>
          <a:xfrm>
            <a:off x="9856416" y="598001"/>
            <a:ext cx="2335584" cy="1299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US" sz="844" spc="0">
                <a:solidFill>
                  <a:schemeClr val="bg1"/>
                </a:solidFill>
              </a:rPr>
              <a:t>Mays Cancer Center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4E30C258-9BFB-46E6-A0CD-F71E23233F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65672" y="637006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3EC155A-3910-4F72-BF01-14E3FAC90F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000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91" y="3375459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125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3532563" y="3375459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125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6225335" y="3375459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125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2" hasCustomPrompt="1"/>
          </p:nvPr>
        </p:nvSpPr>
        <p:spPr>
          <a:xfrm>
            <a:off x="8918110" y="3375459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125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141042" y="1563452"/>
            <a:ext cx="1062319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950" b="0" i="0">
                <a:solidFill>
                  <a:schemeClr val="bg2"/>
                </a:solidFill>
                <a:latin typeface="Goudy Oldstyle Std Regular" charset="0"/>
                <a:ea typeface="Goudy Oldstyle Std Regular" charset="0"/>
                <a:cs typeface="Goudy Oldstyle Std Regular" charset="0"/>
              </a:rPr>
              <a:t>2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9" y="1415777"/>
            <a:ext cx="2178424" cy="1636776"/>
          </a:xfrm>
          <a:prstGeom prst="ellipse">
            <a:avLst/>
          </a:prstGeom>
          <a:solidFill>
            <a:schemeClr val="accent4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25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3539287" y="1415777"/>
            <a:ext cx="2178424" cy="1636776"/>
          </a:xfrm>
          <a:prstGeom prst="ellipse">
            <a:avLst/>
          </a:prstGeom>
          <a:solidFill>
            <a:schemeClr val="accent2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25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6225335" y="1415777"/>
            <a:ext cx="2178424" cy="1636776"/>
          </a:xfrm>
          <a:prstGeom prst="ellipse">
            <a:avLst/>
          </a:prstGeom>
          <a:solidFill>
            <a:schemeClr val="accent1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25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8911384" y="1415777"/>
            <a:ext cx="2178424" cy="1636776"/>
          </a:xfrm>
          <a:prstGeom prst="ellipse">
            <a:avLst/>
          </a:prstGeom>
          <a:solidFill>
            <a:schemeClr val="accent3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25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60480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6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5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77C72C0-906E-B546-B9CE-B691EA22A1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87604"/>
            <a:ext cx="11736288" cy="837141"/>
          </a:xfrm>
        </p:spPr>
        <p:txBody>
          <a:bodyPr/>
          <a:lstStyle>
            <a:lvl1pPr>
              <a:defRPr sz="3200" b="1">
                <a:solidFill>
                  <a:srgbClr val="0F376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8295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9" userDrawn="1">
          <p15:clr>
            <a:srgbClr val="FBAE40"/>
          </p15:clr>
        </p15:guide>
        <p15:guide id="2" pos="575" userDrawn="1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-2"/>
            <a:ext cx="12191999" cy="45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0" i="0" dirty="0">
              <a:solidFill>
                <a:schemeClr val="lt1"/>
              </a:solidFill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255212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  <a:p>
            <a:pPr lvl="0"/>
            <a:r>
              <a:rPr lang="en-US" dirty="0"/>
              <a:t>Goes Here</a:t>
            </a:r>
          </a:p>
        </p:txBody>
      </p:sp>
      <p:pic>
        <p:nvPicPr>
          <p:cNvPr id="3" name="Picture 2" descr="PREFERRED_full-color_MAYS-UTH-MDA_h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7520" y="5120640"/>
            <a:ext cx="4620768" cy="117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651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Blue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0"/>
            <a:ext cx="12191999" cy="45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0" i="0" dirty="0"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177155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5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</a:p>
          <a:p>
            <a:pPr lvl="0"/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1331788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Green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0"/>
            <a:ext cx="12191999" cy="45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0" i="0" dirty="0"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177156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5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</a:p>
          <a:p>
            <a:pPr lvl="0"/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815828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" y="-2"/>
            <a:ext cx="12191999" cy="45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0" i="0" dirty="0">
              <a:solidFill>
                <a:schemeClr val="lt1"/>
              </a:solidFill>
              <a:latin typeface="Goudy Oldstyle Std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26592" y="1179576"/>
            <a:ext cx="9729216" cy="2715768"/>
          </a:xfrm>
        </p:spPr>
        <p:txBody>
          <a:bodyPr anchor="b" anchorCtr="0">
            <a:noAutofit/>
          </a:bodyPr>
          <a:lstStyle>
            <a:lvl1pPr>
              <a:defRPr sz="45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2819352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4464460"/>
            <a:ext cx="10515600" cy="1063486"/>
          </a:xfrm>
          <a:solidFill>
            <a:schemeClr val="tx1"/>
          </a:solidFill>
          <a:ln>
            <a:noFill/>
          </a:ln>
        </p:spPr>
        <p:txBody>
          <a:bodyPr lIns="182880" tIns="91440" rIns="274320" bIns="27432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insert photo caption.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838200" y="685835"/>
            <a:ext cx="10515600" cy="3778624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6574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Text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597368"/>
            <a:ext cx="10515600" cy="1191092"/>
          </a:xfrm>
        </p:spPr>
        <p:txBody>
          <a:bodyPr>
            <a:normAutofit/>
          </a:bodyPr>
          <a:lstStyle>
            <a:lvl1pPr>
              <a:defRPr sz="4000" baseline="0"/>
            </a:lvl1pPr>
          </a:lstStyle>
          <a:p>
            <a:r>
              <a:rPr lang="en-US" dirty="0"/>
              <a:t>Click to insert Slide Head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9" y="1922930"/>
            <a:ext cx="5157787" cy="4172604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6484937" y="1922930"/>
            <a:ext cx="4870451" cy="3671046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07024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ubhead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5" y="1044076"/>
            <a:ext cx="3352800" cy="569572"/>
          </a:xfrm>
        </p:spPr>
        <p:txBody>
          <a:bodyPr>
            <a:normAutofit/>
          </a:bodyPr>
          <a:lstStyle>
            <a:lvl1pPr>
              <a:defRPr sz="27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1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7" y="1775015"/>
            <a:ext cx="3352800" cy="3757657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750"/>
              </a:spcBef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4384353" y="1775015"/>
            <a:ext cx="3352800" cy="3757657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750"/>
              </a:spcBef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7928920" y="1775015"/>
            <a:ext cx="3352800" cy="3757656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750"/>
              </a:spcBef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384351" y="1043609"/>
            <a:ext cx="3352800" cy="56957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700">
                <a:solidFill>
                  <a:schemeClr val="accent1"/>
                </a:solidFill>
              </a:defRPr>
            </a:lvl1pPr>
            <a:lvl2pPr marL="342900" indent="0">
              <a:buNone/>
              <a:defRPr sz="2700">
                <a:solidFill>
                  <a:schemeClr val="accent1"/>
                </a:solidFill>
              </a:defRPr>
            </a:lvl2pPr>
            <a:lvl3pPr marL="685800" indent="0">
              <a:buNone/>
              <a:defRPr sz="2700">
                <a:solidFill>
                  <a:schemeClr val="accent1"/>
                </a:solidFill>
              </a:defRPr>
            </a:lvl3pPr>
            <a:lvl4pPr marL="1028700" indent="0">
              <a:buNone/>
              <a:defRPr sz="2700">
                <a:solidFill>
                  <a:schemeClr val="accent1"/>
                </a:solidFill>
              </a:defRPr>
            </a:lvl4pPr>
            <a:lvl5pPr marL="1371600" indent="0">
              <a:buNone/>
              <a:defRPr sz="27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Headline 2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7928919" y="1043063"/>
            <a:ext cx="3352800" cy="569837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700">
                <a:solidFill>
                  <a:schemeClr val="accent1"/>
                </a:solidFill>
              </a:defRPr>
            </a:lvl1pPr>
            <a:lvl2pPr marL="342900" indent="0">
              <a:buNone/>
              <a:defRPr sz="2700">
                <a:solidFill>
                  <a:schemeClr val="accent1"/>
                </a:solidFill>
              </a:defRPr>
            </a:lvl2pPr>
            <a:lvl3pPr marL="685800" indent="0">
              <a:buNone/>
              <a:defRPr sz="2700">
                <a:solidFill>
                  <a:schemeClr val="accent1"/>
                </a:solidFill>
              </a:defRPr>
            </a:lvl3pPr>
            <a:lvl4pPr marL="1028700" indent="0">
              <a:buNone/>
              <a:defRPr sz="2700">
                <a:solidFill>
                  <a:schemeClr val="accent1"/>
                </a:solidFill>
              </a:defRPr>
            </a:lvl4pPr>
            <a:lvl5pPr marL="1371600" indent="0">
              <a:buNone/>
              <a:defRPr sz="27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183400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871004"/>
            <a:ext cx="10515600" cy="699379"/>
          </a:xfrm>
        </p:spPr>
        <p:txBody>
          <a:bodyPr>
            <a:normAutofit/>
          </a:bodyPr>
          <a:lstStyle>
            <a:lvl1pPr>
              <a:defRPr sz="4000" baseline="0"/>
            </a:lvl1pPr>
          </a:lstStyle>
          <a:p>
            <a:r>
              <a:rPr lang="en-US" dirty="0"/>
              <a:t>Click to insert Slide Head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8" y="2268588"/>
            <a:ext cx="5050024" cy="327392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6306672" y="2268588"/>
            <a:ext cx="5048717" cy="327392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39788" y="1632479"/>
            <a:ext cx="5049835" cy="544194"/>
          </a:xfrm>
        </p:spPr>
        <p:txBody>
          <a:bodyPr anchor="ctr" anchorCtr="0">
            <a:normAutofit/>
          </a:bodyPr>
          <a:lstStyle>
            <a:lvl1pPr marL="0" indent="0">
              <a:spcBef>
                <a:spcPts val="0"/>
              </a:spcBef>
              <a:buNone/>
              <a:defRPr sz="2700" baseline="0">
                <a:solidFill>
                  <a:schemeClr val="accent1"/>
                </a:solidFill>
              </a:defRPr>
            </a:lvl1pPr>
            <a:lvl2pPr>
              <a:defRPr sz="2700">
                <a:solidFill>
                  <a:schemeClr val="accent1">
                    <a:lumMod val="40000"/>
                    <a:lumOff val="60000"/>
                  </a:schemeClr>
                </a:solidFill>
              </a:defRPr>
            </a:lvl2pPr>
            <a:lvl3pPr>
              <a:defRPr sz="2700">
                <a:solidFill>
                  <a:schemeClr val="accent1">
                    <a:lumMod val="40000"/>
                    <a:lumOff val="60000"/>
                  </a:schemeClr>
                </a:solidFill>
              </a:defRPr>
            </a:lvl3pPr>
            <a:lvl4pPr>
              <a:defRPr sz="2700">
                <a:solidFill>
                  <a:schemeClr val="accent1">
                    <a:lumMod val="40000"/>
                    <a:lumOff val="60000"/>
                  </a:schemeClr>
                </a:solidFill>
              </a:defRPr>
            </a:lvl4pPr>
            <a:lvl5pPr>
              <a:defRPr sz="2700">
                <a:solidFill>
                  <a:schemeClr val="accent1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306672" y="1632852"/>
            <a:ext cx="5048717" cy="544194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700">
                <a:solidFill>
                  <a:schemeClr val="accent1"/>
                </a:solidFill>
              </a:defRPr>
            </a:lvl1pPr>
            <a:lvl2pPr marL="342900" indent="0">
              <a:buNone/>
              <a:defRPr sz="2700">
                <a:solidFill>
                  <a:schemeClr val="accent1"/>
                </a:solidFill>
              </a:defRPr>
            </a:lvl2pPr>
            <a:lvl3pPr marL="685800" indent="0">
              <a:buNone/>
              <a:defRPr sz="2700">
                <a:solidFill>
                  <a:schemeClr val="accent1"/>
                </a:solidFill>
              </a:defRPr>
            </a:lvl3pPr>
            <a:lvl4pPr marL="1028700" indent="0">
              <a:buNone/>
              <a:defRPr sz="2700">
                <a:solidFill>
                  <a:schemeClr val="accent1"/>
                </a:solidFill>
              </a:defRPr>
            </a:lvl4pPr>
            <a:lvl5pPr marL="1371600" indent="0">
              <a:buNone/>
              <a:defRPr sz="27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</p:spTree>
    <p:extLst>
      <p:ext uri="{BB962C8B-B14F-4D97-AF65-F5344CB8AC3E}">
        <p14:creationId xmlns:p14="http://schemas.microsoft.com/office/powerpoint/2010/main" val="326463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77814"/>
            <a:ext cx="10515600" cy="69632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0" y="2373021"/>
            <a:ext cx="10515600" cy="3238407"/>
          </a:xfrm>
        </p:spPr>
        <p:txBody>
          <a:bodyPr numCol="3" spcCol="274320">
            <a:norm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623831"/>
            <a:ext cx="10515600" cy="552839"/>
          </a:xfrm>
        </p:spPr>
        <p:txBody>
          <a:bodyPr anchor="ctr" anchorCtr="0">
            <a:normAutofit/>
          </a:bodyPr>
          <a:lstStyle>
            <a:lvl1pPr marL="0" indent="0">
              <a:spcBef>
                <a:spcPts val="0"/>
              </a:spcBef>
              <a:buNone/>
              <a:defRPr sz="2700" baseline="0">
                <a:solidFill>
                  <a:schemeClr val="accent1"/>
                </a:solidFill>
              </a:defRPr>
            </a:lvl1pPr>
            <a:lvl2pPr>
              <a:defRPr sz="3600">
                <a:solidFill>
                  <a:schemeClr val="accent1">
                    <a:lumMod val="40000"/>
                    <a:lumOff val="60000"/>
                  </a:schemeClr>
                </a:solidFill>
              </a:defRPr>
            </a:lvl2pPr>
            <a:lvl3pPr>
              <a:defRPr sz="3600">
                <a:solidFill>
                  <a:schemeClr val="accent1">
                    <a:lumMod val="40000"/>
                    <a:lumOff val="60000"/>
                  </a:schemeClr>
                </a:solidFill>
              </a:defRPr>
            </a:lvl3pPr>
            <a:lvl4pPr>
              <a:defRPr sz="3600">
                <a:solidFill>
                  <a:schemeClr val="accent1">
                    <a:lumMod val="40000"/>
                    <a:lumOff val="60000"/>
                  </a:schemeClr>
                </a:solidFill>
              </a:defRPr>
            </a:lvl4pPr>
            <a:lvl5pPr>
              <a:defRPr sz="3600">
                <a:solidFill>
                  <a:schemeClr val="accent1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</p:spTree>
    <p:extLst>
      <p:ext uri="{BB962C8B-B14F-4D97-AF65-F5344CB8AC3E}">
        <p14:creationId xmlns:p14="http://schemas.microsoft.com/office/powerpoint/2010/main" val="3599323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Text +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99084"/>
            <a:ext cx="10515600" cy="586992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2" y="1788611"/>
            <a:ext cx="10515599" cy="3111381"/>
          </a:xfrm>
        </p:spPr>
        <p:txBody>
          <a:bodyPr numCol="4" spcCol="274320">
            <a:normAutofit/>
          </a:bodyPr>
          <a:lstStyle>
            <a:lvl1pPr marL="0" indent="0">
              <a:lnSpc>
                <a:spcPct val="90000"/>
              </a:lnSpc>
              <a:spcBef>
                <a:spcPts val="1000"/>
              </a:spcBef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1" y="5874027"/>
            <a:ext cx="7852087" cy="728397"/>
          </a:xfrm>
        </p:spPr>
        <p:txBody>
          <a:bodyPr anchor="t" anchorCtr="0">
            <a:normAutofit/>
          </a:bodyPr>
          <a:lstStyle>
            <a:lvl1pPr>
              <a:lnSpc>
                <a:spcPct val="110000"/>
              </a:lnSpc>
              <a:defRPr sz="11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defRPr sz="15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5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5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5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insert footer content. </a:t>
            </a:r>
          </a:p>
        </p:txBody>
      </p:sp>
    </p:spTree>
    <p:extLst>
      <p:ext uri="{BB962C8B-B14F-4D97-AF65-F5344CB8AC3E}">
        <p14:creationId xmlns:p14="http://schemas.microsoft.com/office/powerpoint/2010/main" val="362398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828800"/>
            <a:ext cx="5080000" cy="4120480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8800"/>
            <a:ext cx="5080000" cy="4120480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6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5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9CC1961-90E4-5B49-ADE7-9E535A305B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87604"/>
            <a:ext cx="11736288" cy="837141"/>
          </a:xfrm>
        </p:spPr>
        <p:txBody>
          <a:bodyPr/>
          <a:lstStyle>
            <a:lvl1pPr>
              <a:defRPr sz="3200" b="1">
                <a:solidFill>
                  <a:srgbClr val="0F376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812885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04489"/>
            <a:ext cx="10515600" cy="586991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2" y="1788660"/>
            <a:ext cx="10515599" cy="3628167"/>
          </a:xfrm>
        </p:spPr>
        <p:txBody>
          <a:bodyPr numCol="3" spcCol="274320">
            <a:normAutofit/>
          </a:bodyPr>
          <a:lstStyle>
            <a:lvl1pPr marL="0" indent="0">
              <a:lnSpc>
                <a:spcPct val="90000"/>
              </a:lnSpc>
              <a:spcBef>
                <a:spcPts val="1000"/>
              </a:spcBef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600637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90" y="3375457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3532563" y="3375457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6225335" y="3375457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2" hasCustomPrompt="1"/>
          </p:nvPr>
        </p:nvSpPr>
        <p:spPr>
          <a:xfrm>
            <a:off x="8918109" y="3375457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141041" y="1563452"/>
            <a:ext cx="106231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0" i="0" dirty="0">
                <a:solidFill>
                  <a:schemeClr val="bg2"/>
                </a:solidFill>
                <a:latin typeface="Goudy Oldstyle Std Regular" charset="0"/>
                <a:ea typeface="Goudy Oldstyle Std Regular" charset="0"/>
                <a:cs typeface="Goudy Oldstyle Std Regular" charset="0"/>
              </a:rPr>
              <a:t>2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9" y="1415777"/>
            <a:ext cx="2178424" cy="1636776"/>
          </a:xfrm>
          <a:prstGeom prst="ellipse">
            <a:avLst/>
          </a:prstGeom>
          <a:solidFill>
            <a:schemeClr val="accent4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7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3539287" y="1415777"/>
            <a:ext cx="2178424" cy="1636776"/>
          </a:xfrm>
          <a:prstGeom prst="ellipse">
            <a:avLst/>
          </a:prstGeom>
          <a:solidFill>
            <a:schemeClr val="accent2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7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6225335" y="1415777"/>
            <a:ext cx="2178424" cy="1636776"/>
          </a:xfrm>
          <a:prstGeom prst="ellipse">
            <a:avLst/>
          </a:prstGeom>
          <a:solidFill>
            <a:schemeClr val="accent1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7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8911384" y="1415777"/>
            <a:ext cx="2178424" cy="1636776"/>
          </a:xfrm>
          <a:prstGeom prst="ellipse">
            <a:avLst/>
          </a:prstGeom>
          <a:solidFill>
            <a:schemeClr val="accent3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7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954857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31851" y="1371509"/>
            <a:ext cx="10597029" cy="3886293"/>
          </a:xfrm>
        </p:spPr>
        <p:txBody>
          <a:bodyPr anchor="ctr" anchorCtr="0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000" baseline="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  <a:lvl3pPr marL="685800" indent="0">
              <a:buNone/>
              <a:defRPr sz="4500">
                <a:solidFill>
                  <a:schemeClr val="bg1"/>
                </a:solidFill>
              </a:defRPr>
            </a:lvl3pPr>
            <a:lvl4pPr marL="1028700" indent="0">
              <a:buNone/>
              <a:defRPr sz="4500">
                <a:solidFill>
                  <a:schemeClr val="bg1"/>
                </a:solidFill>
              </a:defRPr>
            </a:lvl4pPr>
            <a:lvl5pPr marL="1371600" indent="0">
              <a:buNone/>
              <a:defRPr sz="4500">
                <a:solidFill>
                  <a:schemeClr val="bg1"/>
                </a:solidFill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Insert inspiring quote here. Insert inspiring quote here.</a:t>
            </a:r>
          </a:p>
        </p:txBody>
      </p:sp>
      <p:pic>
        <p:nvPicPr>
          <p:cNvPr id="2" name="Picture 1" descr="PREFERRED_full-reverse_MAYS-UTH-MDA-h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3804" y="5852161"/>
            <a:ext cx="2609088" cy="662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43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597368"/>
            <a:ext cx="10515600" cy="806889"/>
          </a:xfrm>
        </p:spPr>
        <p:txBody>
          <a:bodyPr>
            <a:normAutofit/>
          </a:bodyPr>
          <a:lstStyle>
            <a:lvl1pPr>
              <a:defRPr sz="2700" baseline="0"/>
            </a:lvl1pPr>
          </a:lstStyle>
          <a:p>
            <a:r>
              <a:rPr lang="en-US" dirty="0"/>
              <a:t>Click to insert Chart 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839789" y="1567544"/>
            <a:ext cx="10515601" cy="4034038"/>
          </a:xfrm>
        </p:spPr>
        <p:txBody>
          <a:bodyPr anchor="ctr" anchorCtr="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87079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9126073" y="4666131"/>
            <a:ext cx="3065929" cy="21918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617147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_No 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EA5B0D27-3846-0341-B1FA-D398CFE81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382" y="352697"/>
            <a:ext cx="11083119" cy="403020"/>
          </a:xfrm>
        </p:spPr>
        <p:txBody>
          <a:bodyPr lIns="0" tIns="0" rIns="0" bIns="0" anchor="t"/>
          <a:lstStyle>
            <a:lvl1pPr>
              <a:defRPr sz="225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615C181-6DB8-8540-8B9C-34DD377145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7382" y="1127094"/>
            <a:ext cx="11083119" cy="5045106"/>
          </a:xfrm>
        </p:spPr>
        <p:txBody>
          <a:bodyPr lIns="0" tIns="0" rIns="0" bIns="0"/>
          <a:lstStyle>
            <a:lvl1pPr marL="171450" marR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EE5340"/>
              </a:buClr>
              <a:buSzTx/>
              <a:buFont typeface="Wingdings" pitchFamily="2" charset="2"/>
              <a:buChar char="§"/>
              <a:tabLst/>
              <a:defRPr sz="1200">
                <a:solidFill>
                  <a:schemeClr val="tx1"/>
                </a:solidFill>
              </a:defRPr>
            </a:lvl1pPr>
            <a:lvl2pPr marL="514350" marR="0" indent="-171450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EE5340"/>
              </a:buClr>
              <a:buSzTx/>
              <a:buFont typeface="System Font Regular"/>
              <a:buChar char="-"/>
              <a:tabLst/>
              <a:defRPr sz="900">
                <a:solidFill>
                  <a:schemeClr val="tx1"/>
                </a:solidFill>
              </a:defRPr>
            </a:lvl2pPr>
            <a:lvl3pPr marL="857250" marR="0" indent="-171450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EE5340"/>
              </a:buClr>
              <a:buSzTx/>
              <a:buFont typeface="Wingdings" pitchFamily="2" charset="2"/>
              <a:buChar char="§"/>
              <a:tabLst/>
              <a:defRPr sz="900">
                <a:solidFill>
                  <a:schemeClr val="tx1"/>
                </a:solidFill>
              </a:defRPr>
            </a:lvl3pPr>
            <a:lvl4pPr marL="1200150" marR="0" indent="-171450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EE5340"/>
              </a:buClr>
              <a:buSzTx/>
              <a:buFont typeface="System Font Regular"/>
              <a:buChar char="-"/>
              <a:tabLst/>
              <a:defRPr sz="900">
                <a:solidFill>
                  <a:schemeClr val="tx1"/>
                </a:solidFill>
              </a:defRPr>
            </a:lvl4pPr>
            <a:lvl5pPr marL="1543050" marR="0" indent="-171450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EE5340"/>
              </a:buClr>
              <a:buSzTx/>
              <a:buFont typeface="Wingdings" pitchFamily="2" charset="2"/>
              <a:buChar char="§"/>
              <a:tabLst/>
              <a:defRPr sz="900">
                <a:solidFill>
                  <a:schemeClr val="tx1"/>
                </a:solidFill>
              </a:defRPr>
            </a:lvl5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EE534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87C804-FD1B-9D48-A5A6-781E60360C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3400" y="6248400"/>
            <a:ext cx="4902200" cy="3556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">
                <a:solidFill>
                  <a:schemeClr val="accent4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add sources</a:t>
            </a:r>
          </a:p>
        </p:txBody>
      </p:sp>
    </p:spTree>
    <p:extLst>
      <p:ext uri="{BB962C8B-B14F-4D97-AF65-F5344CB8AC3E}">
        <p14:creationId xmlns:p14="http://schemas.microsoft.com/office/powerpoint/2010/main" val="67295411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3774" y="384048"/>
            <a:ext cx="11362945" cy="8686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3773" y="1609344"/>
            <a:ext cx="11362944" cy="4498848"/>
          </a:xfrm>
        </p:spPr>
        <p:txBody>
          <a:bodyPr>
            <a:noAutofit/>
          </a:bodyPr>
          <a:lstStyle>
            <a:lvl3pPr marL="596616"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3776" y="1295400"/>
            <a:ext cx="11362945" cy="0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53773" y="6163056"/>
            <a:ext cx="11362944" cy="694944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defRPr sz="14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803487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255633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" y="-2"/>
            <a:ext cx="12191999" cy="45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60" b="0" i="0" dirty="0">
              <a:solidFill>
                <a:schemeClr val="lt1"/>
              </a:solidFill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255216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3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  <a:p>
            <a:pPr lvl="0"/>
            <a:r>
              <a:rPr lang="en-US" dirty="0"/>
              <a:t>Goes Here</a:t>
            </a:r>
          </a:p>
        </p:txBody>
      </p:sp>
      <p:pic>
        <p:nvPicPr>
          <p:cNvPr id="3" name="Picture 2" descr="PREFERRED_full-color_MAYS-UTH-MDA_h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7520" y="5120640"/>
            <a:ext cx="4620768" cy="117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3812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Blue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" y="0"/>
            <a:ext cx="12191999" cy="45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60" b="0" i="0" dirty="0"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177159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3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</a:p>
          <a:p>
            <a:pPr lvl="0"/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11980242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0800" y="6476360"/>
            <a:ext cx="609600" cy="305440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5"/>
            <a:fld id="{74EEA10D-E951-474C-8CD0-91078E47E9CB}" type="slidenum">
              <a:rPr lang="en-US" smtClean="0">
                <a:solidFill>
                  <a:srgbClr val="323232"/>
                </a:solidFill>
              </a:rPr>
              <a:pPr defTabSz="914355"/>
              <a:t>‹#›</a:t>
            </a:fld>
            <a:endParaRPr lang="en-US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3518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6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5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B1E32BE-D5FC-7548-A3C8-F6F522AF50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87604"/>
            <a:ext cx="11736288" cy="837141"/>
          </a:xfrm>
        </p:spPr>
        <p:txBody>
          <a:bodyPr/>
          <a:lstStyle>
            <a:lvl1pPr>
              <a:defRPr sz="3200" b="1">
                <a:solidFill>
                  <a:srgbClr val="0F376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698825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Green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" y="0"/>
            <a:ext cx="12191999" cy="45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60" b="0" i="0" dirty="0"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177160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3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</a:p>
          <a:p>
            <a:pPr lvl="0"/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4185554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5" y="-2"/>
            <a:ext cx="12191999" cy="45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60" b="0" i="0" dirty="0">
              <a:solidFill>
                <a:schemeClr val="lt1"/>
              </a:solidFill>
              <a:latin typeface="Goudy Oldstyle Std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26592" y="1179576"/>
            <a:ext cx="9729216" cy="2715768"/>
          </a:xfrm>
        </p:spPr>
        <p:txBody>
          <a:bodyPr anchor="b" anchorCtr="0">
            <a:noAutofit/>
          </a:bodyPr>
          <a:lstStyle>
            <a:lvl1pPr>
              <a:defRPr sz="253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1384756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4464460"/>
            <a:ext cx="10515600" cy="1063486"/>
          </a:xfrm>
          <a:solidFill>
            <a:schemeClr val="tx1"/>
          </a:solidFill>
          <a:ln>
            <a:noFill/>
          </a:ln>
        </p:spPr>
        <p:txBody>
          <a:bodyPr lIns="182880" tIns="91440" rIns="274320" bIns="274320" anchor="t" anchorCtr="0">
            <a:normAutofit/>
          </a:bodyPr>
          <a:lstStyle>
            <a:lvl1pPr>
              <a:lnSpc>
                <a:spcPct val="100000"/>
              </a:lnSpc>
              <a:defRPr sz="13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insert photo caption.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838200" y="685835"/>
            <a:ext cx="10515600" cy="3778624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543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Text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597368"/>
            <a:ext cx="10515600" cy="1191092"/>
          </a:xfrm>
        </p:spPr>
        <p:txBody>
          <a:bodyPr>
            <a:normAutofit/>
          </a:bodyPr>
          <a:lstStyle>
            <a:lvl1pPr>
              <a:defRPr sz="2250" baseline="0"/>
            </a:lvl1pPr>
          </a:lstStyle>
          <a:p>
            <a:r>
              <a:rPr lang="en-US" dirty="0"/>
              <a:t>Click to insert Slide Head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9" y="1922930"/>
            <a:ext cx="5157787" cy="4172604"/>
          </a:xfrm>
        </p:spPr>
        <p:txBody>
          <a:bodyPr>
            <a:normAutofit/>
          </a:bodyPr>
          <a:lstStyle>
            <a:lvl1pPr marL="0" indent="0">
              <a:buNone/>
              <a:defRPr sz="1238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6484937" y="1922930"/>
            <a:ext cx="4870451" cy="3671046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960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ubhead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5" y="1044076"/>
            <a:ext cx="3352800" cy="569572"/>
          </a:xfrm>
        </p:spPr>
        <p:txBody>
          <a:bodyPr>
            <a:normAutofit/>
          </a:bodyPr>
          <a:lstStyle>
            <a:lvl1pPr>
              <a:defRPr sz="1519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1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7" y="1775015"/>
            <a:ext cx="3352800" cy="3757657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422"/>
              </a:spcBef>
              <a:buNone/>
              <a:defRPr sz="1013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4384353" y="1775015"/>
            <a:ext cx="3352800" cy="3757657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422"/>
              </a:spcBef>
              <a:buNone/>
              <a:defRPr sz="1013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7928920" y="1775015"/>
            <a:ext cx="3352800" cy="3757656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422"/>
              </a:spcBef>
              <a:buNone/>
              <a:defRPr sz="1013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384351" y="1043609"/>
            <a:ext cx="3352800" cy="56957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519">
                <a:solidFill>
                  <a:schemeClr val="accent1"/>
                </a:solidFill>
              </a:defRPr>
            </a:lvl1pPr>
            <a:lvl2pPr marL="192881" indent="0">
              <a:buNone/>
              <a:defRPr sz="1519">
                <a:solidFill>
                  <a:schemeClr val="accent1"/>
                </a:solidFill>
              </a:defRPr>
            </a:lvl2pPr>
            <a:lvl3pPr marL="385763" indent="0">
              <a:buNone/>
              <a:defRPr sz="1519">
                <a:solidFill>
                  <a:schemeClr val="accent1"/>
                </a:solidFill>
              </a:defRPr>
            </a:lvl3pPr>
            <a:lvl4pPr marL="578644" indent="0">
              <a:buNone/>
              <a:defRPr sz="1519">
                <a:solidFill>
                  <a:schemeClr val="accent1"/>
                </a:solidFill>
              </a:defRPr>
            </a:lvl4pPr>
            <a:lvl5pPr marL="771525" indent="0">
              <a:buNone/>
              <a:defRPr sz="151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Headline 2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7928919" y="1043067"/>
            <a:ext cx="3352800" cy="569837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519">
                <a:solidFill>
                  <a:schemeClr val="accent1"/>
                </a:solidFill>
              </a:defRPr>
            </a:lvl1pPr>
            <a:lvl2pPr marL="192881" indent="0">
              <a:buNone/>
              <a:defRPr sz="1519">
                <a:solidFill>
                  <a:schemeClr val="accent1"/>
                </a:solidFill>
              </a:defRPr>
            </a:lvl2pPr>
            <a:lvl3pPr marL="385763" indent="0">
              <a:buNone/>
              <a:defRPr sz="1519">
                <a:solidFill>
                  <a:schemeClr val="accent1"/>
                </a:solidFill>
              </a:defRPr>
            </a:lvl3pPr>
            <a:lvl4pPr marL="578644" indent="0">
              <a:buNone/>
              <a:defRPr sz="1519">
                <a:solidFill>
                  <a:schemeClr val="accent1"/>
                </a:solidFill>
              </a:defRPr>
            </a:lvl4pPr>
            <a:lvl5pPr marL="771525" indent="0">
              <a:buNone/>
              <a:defRPr sz="151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282950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871008"/>
            <a:ext cx="10515600" cy="699379"/>
          </a:xfrm>
        </p:spPr>
        <p:txBody>
          <a:bodyPr>
            <a:normAutofit/>
          </a:bodyPr>
          <a:lstStyle>
            <a:lvl1pPr>
              <a:defRPr sz="2250" baseline="0"/>
            </a:lvl1pPr>
          </a:lstStyle>
          <a:p>
            <a:r>
              <a:rPr lang="en-US" dirty="0"/>
              <a:t>Click to insert Slide Head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8" y="2268592"/>
            <a:ext cx="5050024" cy="3273927"/>
          </a:xfrm>
        </p:spPr>
        <p:txBody>
          <a:bodyPr>
            <a:normAutofit/>
          </a:bodyPr>
          <a:lstStyle>
            <a:lvl1pPr marL="0" indent="0">
              <a:buNone/>
              <a:defRPr sz="1238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6306672" y="2268592"/>
            <a:ext cx="5048717" cy="3273927"/>
          </a:xfrm>
        </p:spPr>
        <p:txBody>
          <a:bodyPr>
            <a:normAutofit/>
          </a:bodyPr>
          <a:lstStyle>
            <a:lvl1pPr marL="0" indent="0">
              <a:buNone/>
              <a:defRPr sz="1238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39789" y="1632479"/>
            <a:ext cx="5049835" cy="544194"/>
          </a:xfrm>
        </p:spPr>
        <p:txBody>
          <a:bodyPr anchor="ctr" anchorCtr="0">
            <a:normAutofit/>
          </a:bodyPr>
          <a:lstStyle>
            <a:lvl1pPr marL="0" indent="0">
              <a:spcBef>
                <a:spcPts val="0"/>
              </a:spcBef>
              <a:buNone/>
              <a:defRPr sz="1519" baseline="0">
                <a:solidFill>
                  <a:schemeClr val="accent1"/>
                </a:solidFill>
              </a:defRPr>
            </a:lvl1pPr>
            <a:lvl2pPr>
              <a:defRPr sz="1519">
                <a:solidFill>
                  <a:schemeClr val="accent1">
                    <a:lumMod val="40000"/>
                    <a:lumOff val="60000"/>
                  </a:schemeClr>
                </a:solidFill>
              </a:defRPr>
            </a:lvl2pPr>
            <a:lvl3pPr>
              <a:defRPr sz="1519">
                <a:solidFill>
                  <a:schemeClr val="accent1">
                    <a:lumMod val="40000"/>
                    <a:lumOff val="60000"/>
                  </a:schemeClr>
                </a:solidFill>
              </a:defRPr>
            </a:lvl3pPr>
            <a:lvl4pPr>
              <a:defRPr sz="1519">
                <a:solidFill>
                  <a:schemeClr val="accent1">
                    <a:lumMod val="40000"/>
                    <a:lumOff val="60000"/>
                  </a:schemeClr>
                </a:solidFill>
              </a:defRPr>
            </a:lvl4pPr>
            <a:lvl5pPr>
              <a:defRPr sz="1519">
                <a:solidFill>
                  <a:schemeClr val="accent1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306672" y="1632852"/>
            <a:ext cx="5048717" cy="544194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519">
                <a:solidFill>
                  <a:schemeClr val="accent1"/>
                </a:solidFill>
              </a:defRPr>
            </a:lvl1pPr>
            <a:lvl2pPr marL="192881" indent="0">
              <a:buNone/>
              <a:defRPr sz="1519">
                <a:solidFill>
                  <a:schemeClr val="accent1"/>
                </a:solidFill>
              </a:defRPr>
            </a:lvl2pPr>
            <a:lvl3pPr marL="385763" indent="0">
              <a:buNone/>
              <a:defRPr sz="1519">
                <a:solidFill>
                  <a:schemeClr val="accent1"/>
                </a:solidFill>
              </a:defRPr>
            </a:lvl3pPr>
            <a:lvl4pPr marL="578644" indent="0">
              <a:buNone/>
              <a:defRPr sz="1519">
                <a:solidFill>
                  <a:schemeClr val="accent1"/>
                </a:solidFill>
              </a:defRPr>
            </a:lvl4pPr>
            <a:lvl5pPr marL="771525" indent="0">
              <a:buNone/>
              <a:defRPr sz="151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</p:spTree>
    <p:extLst>
      <p:ext uri="{BB962C8B-B14F-4D97-AF65-F5344CB8AC3E}">
        <p14:creationId xmlns:p14="http://schemas.microsoft.com/office/powerpoint/2010/main" val="33071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77818"/>
            <a:ext cx="10515600" cy="696323"/>
          </a:xfrm>
        </p:spPr>
        <p:txBody>
          <a:bodyPr>
            <a:normAutofit/>
          </a:bodyPr>
          <a:lstStyle>
            <a:lvl1pPr>
              <a:defRPr sz="2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0" y="2373025"/>
            <a:ext cx="10515600" cy="3238407"/>
          </a:xfrm>
        </p:spPr>
        <p:txBody>
          <a:bodyPr numCol="3" spcCol="274320">
            <a:normAutofit/>
          </a:bodyPr>
          <a:lstStyle>
            <a:lvl1pPr marL="0" indent="0">
              <a:buNone/>
              <a:defRPr sz="1125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623831"/>
            <a:ext cx="10515600" cy="552839"/>
          </a:xfrm>
        </p:spPr>
        <p:txBody>
          <a:bodyPr anchor="ctr" anchorCtr="0">
            <a:normAutofit/>
          </a:bodyPr>
          <a:lstStyle>
            <a:lvl1pPr marL="0" indent="0">
              <a:spcBef>
                <a:spcPts val="0"/>
              </a:spcBef>
              <a:buNone/>
              <a:defRPr sz="1519" baseline="0">
                <a:solidFill>
                  <a:schemeClr val="accent1"/>
                </a:solidFill>
              </a:defRPr>
            </a:lvl1pPr>
            <a:lvl2pPr>
              <a:defRPr sz="2025">
                <a:solidFill>
                  <a:schemeClr val="accent1">
                    <a:lumMod val="40000"/>
                    <a:lumOff val="60000"/>
                  </a:schemeClr>
                </a:solidFill>
              </a:defRPr>
            </a:lvl2pPr>
            <a:lvl3pPr>
              <a:defRPr sz="2025">
                <a:solidFill>
                  <a:schemeClr val="accent1">
                    <a:lumMod val="40000"/>
                    <a:lumOff val="60000"/>
                  </a:schemeClr>
                </a:solidFill>
              </a:defRPr>
            </a:lvl3pPr>
            <a:lvl4pPr>
              <a:defRPr sz="2025">
                <a:solidFill>
                  <a:schemeClr val="accent1">
                    <a:lumMod val="40000"/>
                    <a:lumOff val="60000"/>
                  </a:schemeClr>
                </a:solidFill>
              </a:defRPr>
            </a:lvl4pPr>
            <a:lvl5pPr>
              <a:defRPr sz="2025">
                <a:solidFill>
                  <a:schemeClr val="accent1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</p:spTree>
    <p:extLst>
      <p:ext uri="{BB962C8B-B14F-4D97-AF65-F5344CB8AC3E}">
        <p14:creationId xmlns:p14="http://schemas.microsoft.com/office/powerpoint/2010/main" val="367938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Text +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99084"/>
            <a:ext cx="10515600" cy="586992"/>
          </a:xfrm>
        </p:spPr>
        <p:txBody>
          <a:bodyPr>
            <a:normAutofit/>
          </a:bodyPr>
          <a:lstStyle>
            <a:lvl1pPr>
              <a:defRPr sz="151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5" y="1788615"/>
            <a:ext cx="10515599" cy="3111381"/>
          </a:xfrm>
        </p:spPr>
        <p:txBody>
          <a:bodyPr numCol="4" spcCol="274320">
            <a:normAutofit/>
          </a:bodyPr>
          <a:lstStyle>
            <a:lvl1pPr marL="0" indent="0">
              <a:lnSpc>
                <a:spcPct val="90000"/>
              </a:lnSpc>
              <a:spcBef>
                <a:spcPts val="563"/>
              </a:spcBef>
              <a:buNone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3" y="5874031"/>
            <a:ext cx="7852087" cy="728397"/>
          </a:xfrm>
        </p:spPr>
        <p:txBody>
          <a:bodyPr anchor="t" anchorCtr="0">
            <a:normAutofit/>
          </a:bodyPr>
          <a:lstStyle>
            <a:lvl1pPr>
              <a:lnSpc>
                <a:spcPct val="110000"/>
              </a:lnSpc>
              <a:defRPr sz="619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defRPr sz="844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844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844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844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insert footer content. </a:t>
            </a:r>
          </a:p>
        </p:txBody>
      </p:sp>
    </p:spTree>
    <p:extLst>
      <p:ext uri="{BB962C8B-B14F-4D97-AF65-F5344CB8AC3E}">
        <p14:creationId xmlns:p14="http://schemas.microsoft.com/office/powerpoint/2010/main" val="10742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04493"/>
            <a:ext cx="10515600" cy="586991"/>
          </a:xfrm>
        </p:spPr>
        <p:txBody>
          <a:bodyPr>
            <a:normAutofit/>
          </a:bodyPr>
          <a:lstStyle>
            <a:lvl1pPr>
              <a:defRPr sz="151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5" y="1788664"/>
            <a:ext cx="10515599" cy="3628167"/>
          </a:xfrm>
        </p:spPr>
        <p:txBody>
          <a:bodyPr numCol="3" spcCol="274320">
            <a:normAutofit/>
          </a:bodyPr>
          <a:lstStyle>
            <a:lvl1pPr marL="0" indent="0">
              <a:lnSpc>
                <a:spcPct val="90000"/>
              </a:lnSpc>
              <a:spcBef>
                <a:spcPts val="563"/>
              </a:spcBef>
              <a:buNone/>
              <a:defRPr sz="101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31633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91" y="3375461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844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3532563" y="3375461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844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6225335" y="3375461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844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2" hasCustomPrompt="1"/>
          </p:nvPr>
        </p:nvSpPr>
        <p:spPr>
          <a:xfrm>
            <a:off x="8918111" y="3375461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844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141043" y="1563452"/>
            <a:ext cx="1062319" cy="6637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713" b="0" i="0" dirty="0">
                <a:solidFill>
                  <a:schemeClr val="bg2"/>
                </a:solidFill>
                <a:latin typeface="Goudy Oldstyle Std Regular" charset="0"/>
                <a:ea typeface="Goudy Oldstyle Std Regular" charset="0"/>
                <a:cs typeface="Goudy Oldstyle Std Regular" charset="0"/>
              </a:rPr>
              <a:t>2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9" y="1415777"/>
            <a:ext cx="2178424" cy="1636776"/>
          </a:xfrm>
          <a:prstGeom prst="ellipse">
            <a:avLst/>
          </a:prstGeom>
          <a:solidFill>
            <a:schemeClr val="accent4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938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3539287" y="1415777"/>
            <a:ext cx="2178424" cy="1636776"/>
          </a:xfrm>
          <a:prstGeom prst="ellipse">
            <a:avLst/>
          </a:prstGeom>
          <a:solidFill>
            <a:schemeClr val="accent2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938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6225335" y="1415777"/>
            <a:ext cx="2178424" cy="1636776"/>
          </a:xfrm>
          <a:prstGeom prst="ellipse">
            <a:avLst/>
          </a:prstGeom>
          <a:solidFill>
            <a:schemeClr val="accent1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938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8911384" y="1415777"/>
            <a:ext cx="2178424" cy="1636776"/>
          </a:xfrm>
          <a:prstGeom prst="ellipse">
            <a:avLst/>
          </a:prstGeom>
          <a:solidFill>
            <a:schemeClr val="accent3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938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98395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6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800000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33019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31852" y="1371513"/>
            <a:ext cx="10597029" cy="3886293"/>
          </a:xfrm>
        </p:spPr>
        <p:txBody>
          <a:bodyPr anchor="ctr" anchorCtr="0">
            <a:normAutofit/>
          </a:bodyPr>
          <a:lstStyle>
            <a:lvl1pPr marL="0" marR="0" indent="0" algn="l" defTabSz="385763" rtl="0" eaLnBrk="1" fontAlgn="auto" latinLnBrk="0" hangingPunct="1">
              <a:lnSpc>
                <a:spcPct val="90000"/>
              </a:lnSpc>
              <a:spcBef>
                <a:spcPts val="42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375" baseline="0">
                <a:solidFill>
                  <a:schemeClr val="bg1"/>
                </a:solidFill>
              </a:defRPr>
            </a:lvl1pPr>
            <a:lvl2pPr marL="192881" indent="0">
              <a:buNone/>
              <a:defRPr sz="2531">
                <a:solidFill>
                  <a:schemeClr val="bg1"/>
                </a:solidFill>
              </a:defRPr>
            </a:lvl2pPr>
            <a:lvl3pPr marL="385763" indent="0">
              <a:buNone/>
              <a:defRPr sz="2531">
                <a:solidFill>
                  <a:schemeClr val="bg1"/>
                </a:solidFill>
              </a:defRPr>
            </a:lvl3pPr>
            <a:lvl4pPr marL="578644" indent="0">
              <a:buNone/>
              <a:defRPr sz="2531">
                <a:solidFill>
                  <a:schemeClr val="bg1"/>
                </a:solidFill>
              </a:defRPr>
            </a:lvl4pPr>
            <a:lvl5pPr marL="771525" indent="0">
              <a:buNone/>
              <a:defRPr sz="2531">
                <a:solidFill>
                  <a:schemeClr val="bg1"/>
                </a:solidFill>
              </a:defRPr>
            </a:lvl5pPr>
          </a:lstStyle>
          <a:p>
            <a:pPr marL="0" marR="0" lvl="0" indent="0" algn="l" defTabSz="385763" rtl="0" eaLnBrk="1" fontAlgn="auto" latinLnBrk="0" hangingPunct="1">
              <a:lnSpc>
                <a:spcPct val="90000"/>
              </a:lnSpc>
              <a:spcBef>
                <a:spcPts val="42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Insert inspiring quote here. Insert inspiring quote here.</a:t>
            </a:r>
          </a:p>
        </p:txBody>
      </p:sp>
      <p:pic>
        <p:nvPicPr>
          <p:cNvPr id="2" name="Picture 1" descr="PREFERRED_full-reverse_MAYS-UTH-MDA-h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3804" y="5852165"/>
            <a:ext cx="2609088" cy="662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364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597368"/>
            <a:ext cx="10515600" cy="806889"/>
          </a:xfrm>
        </p:spPr>
        <p:txBody>
          <a:bodyPr>
            <a:normAutofit/>
          </a:bodyPr>
          <a:lstStyle>
            <a:lvl1pPr>
              <a:defRPr sz="1519" baseline="0"/>
            </a:lvl1pPr>
          </a:lstStyle>
          <a:p>
            <a:r>
              <a:rPr lang="en-US" dirty="0"/>
              <a:t>Click to insert Chart 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839792" y="1567544"/>
            <a:ext cx="10515601" cy="4034038"/>
          </a:xfrm>
        </p:spPr>
        <p:txBody>
          <a:bodyPr anchor="ctr" anchorCtr="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76817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9126076" y="4666135"/>
            <a:ext cx="3065929" cy="21918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60"/>
          </a:p>
        </p:txBody>
      </p:sp>
    </p:spTree>
    <p:extLst>
      <p:ext uri="{BB962C8B-B14F-4D97-AF65-F5344CB8AC3E}">
        <p14:creationId xmlns:p14="http://schemas.microsoft.com/office/powerpoint/2010/main" val="3321799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2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90422-FAC2-1B47-B696-15B7C4FF0E2E}" type="datetime1">
              <a:rPr lang="en-US" smtClean="0"/>
              <a:pPr/>
              <a:t>11/11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ABAB64-726D-C943-9B15-2E81C6025A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490458"/>
            <a:ext cx="10972800" cy="713539"/>
          </a:xfr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368927"/>
            <a:ext cx="10972800" cy="4947903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221652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DA7E4252-9FC0-4914-A2C0-12B2E25756A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9742" y="1565238"/>
            <a:ext cx="10521951" cy="4098969"/>
          </a:xfrm>
          <a:prstGeom prst="rect">
            <a:avLst/>
          </a:prstGeom>
        </p:spPr>
        <p:txBody>
          <a:bodyPr/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>
              <a:buClr>
                <a:srgbClr val="C00000"/>
              </a:buClr>
              <a:buSzPct val="120000"/>
            </a:pPr>
            <a:r>
              <a:rPr lang="en-US" dirty="0"/>
              <a:t>Edit Master text styles</a:t>
            </a:r>
          </a:p>
          <a:p>
            <a:pPr lvl="1">
              <a:buSzPct val="90000"/>
              <a:buFont typeface="Courier New" panose="02070309020205020404" pitchFamily="49" charset="0"/>
              <a:buChar char="o"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A89C7A-4E2A-4A29-8C30-F3AAEF9AC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045" y="320682"/>
            <a:ext cx="10515600" cy="450889"/>
          </a:xfrm>
          <a:prstGeom prst="rect">
            <a:avLst/>
          </a:prstGeom>
        </p:spPr>
        <p:txBody>
          <a:bodyPr anchor="b"/>
          <a:lstStyle/>
          <a:p>
            <a:r>
              <a:rPr lang="en-US" sz="1181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Headline style and text for interior slides single lin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49FABF1-AFAD-4607-84F1-06E305EDBC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3045" y="5664201"/>
            <a:ext cx="5772955" cy="7747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38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743744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s Spe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hapter Title</a:t>
            </a:r>
            <a:endParaRPr lang="de-AT" dirty="0"/>
          </a:p>
        </p:txBody>
      </p:sp>
      <p:sp>
        <p:nvSpPr>
          <p:cNvPr id="23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6385084" y="1628781"/>
            <a:ext cx="4992000" cy="4608513"/>
          </a:xfrm>
        </p:spPr>
        <p:txBody>
          <a:bodyPr/>
          <a:lstStyle>
            <a:lvl1pPr>
              <a:lnSpc>
                <a:spcPts val="1350"/>
              </a:lnSpc>
              <a:defRPr sz="1350">
                <a:solidFill>
                  <a:schemeClr val="accent1">
                    <a:lumMod val="10000"/>
                  </a:schemeClr>
                </a:solidFill>
              </a:defRPr>
            </a:lvl1pPr>
            <a:lvl2pPr marL="0" indent="0">
              <a:buClr>
                <a:schemeClr val="bg1"/>
              </a:buClr>
              <a:buSzPct val="25000"/>
              <a:defRPr>
                <a:solidFill>
                  <a:srgbClr val="7F7F7F"/>
                </a:solidFill>
              </a:defRPr>
            </a:lvl2pPr>
            <a:lvl3pPr marL="0" indent="0"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i="1">
                <a:solidFill>
                  <a:schemeClr val="accent1">
                    <a:lumMod val="10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10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10000"/>
                  </a:schemeClr>
                </a:solidFill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</a:p>
          <a:p>
            <a:pPr lvl="1"/>
            <a:r>
              <a:rPr lang="fr-FR" dirty="0"/>
              <a:t>“</a:t>
            </a:r>
            <a:r>
              <a:rPr lang="fr-FR" dirty="0" err="1"/>
              <a:t>Aenean</a:t>
            </a:r>
            <a:r>
              <a:rPr lang="fr-FR" dirty="0"/>
              <a:t> massa. 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“</a:t>
            </a: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814926" y="6381328"/>
            <a:ext cx="10562167" cy="0"/>
          </a:xfrm>
          <a:prstGeom prst="line">
            <a:avLst/>
          </a:prstGeom>
          <a:ln w="3175">
            <a:solidFill>
              <a:srgbClr val="695E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814916" y="1628781"/>
            <a:ext cx="4992000" cy="4608513"/>
          </a:xfrm>
        </p:spPr>
        <p:txBody>
          <a:bodyPr/>
          <a:lstStyle>
            <a:lvl1pPr marL="192881" indent="-192881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  <a:defRPr>
                <a:solidFill>
                  <a:schemeClr val="accent1">
                    <a:lumMod val="10000"/>
                  </a:schemeClr>
                </a:solidFill>
              </a:defRPr>
            </a:lvl1pPr>
            <a:lvl2pPr marL="305396" indent="-203597">
              <a:lnSpc>
                <a:spcPct val="100000"/>
              </a:lnSpc>
              <a:spcBef>
                <a:spcPts val="0"/>
              </a:spcBef>
              <a:defRPr>
                <a:solidFill>
                  <a:schemeClr val="accent1">
                    <a:lumMod val="10000"/>
                  </a:schemeClr>
                </a:solidFill>
              </a:defRPr>
            </a:lvl2pPr>
            <a:lvl3pPr marL="455414" indent="-251817">
              <a:lnSpc>
                <a:spcPct val="100000"/>
              </a:lnSpc>
              <a:spcBef>
                <a:spcPts val="0"/>
              </a:spcBef>
              <a:defRPr baseline="0">
                <a:solidFill>
                  <a:schemeClr val="accent1">
                    <a:lumMod val="10000"/>
                  </a:schemeClr>
                </a:solidFill>
              </a:defRPr>
            </a:lvl3pPr>
            <a:lvl4pPr marL="557213" indent="-251817">
              <a:lnSpc>
                <a:spcPct val="100000"/>
              </a:lnSpc>
              <a:spcBef>
                <a:spcPts val="0"/>
              </a:spcBef>
              <a:defRPr>
                <a:solidFill>
                  <a:schemeClr val="accent1">
                    <a:lumMod val="10000"/>
                  </a:schemeClr>
                </a:solidFill>
              </a:defRPr>
            </a:lvl4pPr>
            <a:lvl5pPr marL="653654" indent="-251817">
              <a:lnSpc>
                <a:spcPct val="100000"/>
              </a:lnSpc>
              <a:spcBef>
                <a:spcPts val="0"/>
              </a:spcBef>
              <a:defRPr>
                <a:solidFill>
                  <a:schemeClr val="accent1">
                    <a:lumMod val="10000"/>
                  </a:schemeClr>
                </a:solidFill>
              </a:defRPr>
            </a:lvl5pPr>
            <a:lvl6pPr marL="755452" indent="-198239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lvl6pPr>
            <a:lvl7pPr marL="910829" indent="-203597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tabLst/>
              <a:defRPr/>
            </a:lvl7pPr>
            <a:lvl8pPr marL="1060847" indent="-203597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defRPr/>
            </a:lvl8pPr>
            <a:lvl9pPr marL="1210866" indent="-203597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defRPr/>
            </a:lvl9pPr>
          </a:lstStyle>
          <a:p>
            <a:pPr lvl="0"/>
            <a:r>
              <a:rPr lang="de-DE" dirty="0"/>
              <a:t>Level 1</a:t>
            </a:r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  <a:p>
            <a:pPr lvl="5"/>
            <a:r>
              <a:rPr lang="de-DE" dirty="0"/>
              <a:t>Level 6</a:t>
            </a:r>
          </a:p>
          <a:p>
            <a:pPr lvl="6"/>
            <a:r>
              <a:rPr lang="de-DE" dirty="0"/>
              <a:t>Level 7</a:t>
            </a:r>
          </a:p>
          <a:p>
            <a:pPr lvl="7"/>
            <a:r>
              <a:rPr lang="de-DE" dirty="0"/>
              <a:t>Level 8</a:t>
            </a:r>
          </a:p>
          <a:p>
            <a:pPr lvl="8"/>
            <a:r>
              <a:rPr lang="de-DE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334995456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8818" y="414342"/>
            <a:ext cx="10086623" cy="4247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vert="horz" lIns="91376" tIns="45688" rIns="91376" bIns="45688" rtlCol="0" anchor="ctr"/>
          <a:lstStyle>
            <a:lvl1pPr>
              <a:defRPr lang="en-US" smtClean="0"/>
            </a:lvl1pPr>
          </a:lstStyle>
          <a:p>
            <a:pPr algn="r"/>
            <a:fld id="{CC611C88-BB67-448E-AF0C-E7770D6CC1F7}" type="slidenum">
              <a:rPr>
                <a:solidFill>
                  <a:srgbClr val="BABABA">
                    <a:lumMod val="75000"/>
                  </a:srgbClr>
                </a:solidFill>
              </a:rPr>
              <a:pPr algn="r"/>
              <a:t>‹#›</a:t>
            </a:fld>
            <a:endParaRPr>
              <a:solidFill>
                <a:srgbClr val="BABABA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>
              <a:solidFill>
                <a:srgbClr val="BABAB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05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196756"/>
            <a:ext cx="11406717" cy="5132611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01" y="5966155"/>
            <a:ext cx="2950633" cy="774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94204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SH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8883" y="1736725"/>
            <a:ext cx="10869591" cy="112979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650">
                <a:solidFill>
                  <a:srgbClr val="18153A"/>
                </a:solidFill>
              </a:defRPr>
            </a:lvl1pPr>
            <a:lvl2pPr>
              <a:defRPr sz="1500">
                <a:solidFill>
                  <a:srgbClr val="18153A"/>
                </a:solidFill>
              </a:defRPr>
            </a:lvl2pPr>
            <a:lvl3pPr>
              <a:buClr>
                <a:srgbClr val="999999"/>
              </a:buClr>
              <a:defRPr sz="1200">
                <a:solidFill>
                  <a:srgbClr val="18153A"/>
                </a:solidFill>
              </a:defRPr>
            </a:lvl3pPr>
            <a:lvl4pPr>
              <a:buClr>
                <a:srgbClr val="999999"/>
              </a:buClr>
              <a:defRPr sz="1200">
                <a:solidFill>
                  <a:srgbClr val="18153A"/>
                </a:solidFill>
              </a:defRPr>
            </a:lvl4pPr>
            <a:lvl5pPr>
              <a:buClr>
                <a:srgbClr val="999999"/>
              </a:buClr>
              <a:defRPr sz="1200">
                <a:solidFill>
                  <a:srgbClr val="18153A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1"/>
          </p:nvPr>
        </p:nvSpPr>
        <p:spPr>
          <a:xfrm>
            <a:off x="488880" y="6324603"/>
            <a:ext cx="8580664" cy="461835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  <a:lvl2pPr marL="457178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591466A0-0DB3-4DC4-897E-D305E7B9FD5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88879" y="748800"/>
            <a:ext cx="9912420" cy="25705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28086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>
            <a:lvl1pPr algn="ctr">
              <a:defRPr sz="270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2391A01-29F4-4A57-AF78-E94286C49761}"/>
              </a:ext>
            </a:extLst>
          </p:cNvPr>
          <p:cNvSpPr/>
          <p:nvPr userDrawn="1"/>
        </p:nvSpPr>
        <p:spPr>
          <a:xfrm>
            <a:off x="623392" y="903872"/>
            <a:ext cx="480053" cy="1514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sz="135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9D7406-2AB0-4608-979C-53FC7CD488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" y="4"/>
            <a:ext cx="12191992" cy="988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5607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0" i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932722"/>
            <a:ext cx="7315200" cy="379485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72595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6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800000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31909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392" y="1220755"/>
            <a:ext cx="10972800" cy="864096"/>
          </a:xfrm>
        </p:spPr>
        <p:txBody>
          <a:bodyPr/>
          <a:lstStyle>
            <a:lvl1pPr algn="r">
              <a:defRPr sz="2025" b="1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7113901-91F3-47C2-A12B-A5A4AA1412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4"/>
            <a:ext cx="12191992" cy="988141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385F35-22FB-4C8C-2108-36F2EB2449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392" y="2231571"/>
            <a:ext cx="10972800" cy="3973286"/>
          </a:xfrm>
        </p:spPr>
        <p:txBody>
          <a:bodyPr/>
          <a:lstStyle>
            <a:lvl2pPr>
              <a:defRPr sz="1013"/>
            </a:lvl2pPr>
            <a:lvl3pPr marL="304503" indent="-103585">
              <a:tabLst/>
              <a:defRPr sz="900"/>
            </a:lvl3pPr>
            <a:lvl4pPr marL="402729" indent="-103585">
              <a:tabLst/>
              <a:defRPr sz="900"/>
            </a:lvl4pPr>
            <a:lvl5pPr marL="500063" indent="-103585">
              <a:tabLst/>
              <a:defRPr sz="788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D6EC7087-525A-2549-2F5C-36C0F4D9FE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0406" y="6316846"/>
            <a:ext cx="5421135" cy="178960"/>
          </a:xfrm>
        </p:spPr>
        <p:txBody>
          <a:bodyPr wrap="square" lIns="0" anchor="b">
            <a:spAutoFit/>
          </a:bodyPr>
          <a:lstStyle>
            <a:lvl1pPr marL="0" indent="0">
              <a:spcBef>
                <a:spcPts val="0"/>
              </a:spcBef>
              <a:buNone/>
              <a:defRPr sz="56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ource: 1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CAC478EE-FA07-8D23-9F19-E00D8FC815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0464" y="6316846"/>
            <a:ext cx="5417515" cy="178960"/>
          </a:xfrm>
        </p:spPr>
        <p:txBody>
          <a:bodyPr wrap="square" rIns="0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56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132493210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392" y="1220755"/>
            <a:ext cx="10972800" cy="864096"/>
          </a:xfrm>
        </p:spPr>
        <p:txBody>
          <a:bodyPr/>
          <a:lstStyle>
            <a:lvl1pPr algn="r">
              <a:defRPr sz="1575" b="1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7113901-91F3-47C2-A12B-A5A4AA1412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4"/>
            <a:ext cx="12191992" cy="988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35136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372887"/>
            <a:ext cx="5384800" cy="4224471"/>
          </a:xfrm>
        </p:spPr>
        <p:txBody>
          <a:bodyPr/>
          <a:lstStyle>
            <a:lvl1pPr>
              <a:defRPr sz="2100">
                <a:latin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</a:defRPr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372887"/>
            <a:ext cx="5384800" cy="4224471"/>
          </a:xfrm>
        </p:spPr>
        <p:txBody>
          <a:bodyPr/>
          <a:lstStyle>
            <a:lvl1pPr>
              <a:defRPr sz="2100">
                <a:latin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</a:defRPr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270121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384296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36B4C-39CC-7BF1-2A17-A24C438BAA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031" y="1110993"/>
            <a:ext cx="11636828" cy="600164"/>
          </a:xfrm>
        </p:spPr>
        <p:txBody>
          <a:bodyPr tIns="0" anchor="t"/>
          <a:lstStyle>
            <a:lvl1pPr algn="l">
              <a:defRPr sz="2025" b="1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11622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branded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286782"/>
            <a:ext cx="10363200" cy="885121"/>
          </a:xfrm>
        </p:spPr>
        <p:txBody>
          <a:bodyPr>
            <a:normAutofit/>
          </a:bodyPr>
          <a:lstStyle>
            <a:lvl1pPr marL="0" indent="0" algn="ctr">
              <a:buNone/>
              <a:defRPr sz="1125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1"/>
            <a:ext cx="12192000" cy="3882305"/>
          </a:xfrm>
          <a:solidFill>
            <a:srgbClr val="071D49"/>
          </a:solidFill>
        </p:spPr>
        <p:txBody>
          <a:bodyPr anchor="ctr">
            <a:normAutofit/>
          </a:bodyPr>
          <a:lstStyle>
            <a:lvl1pPr algn="ctr">
              <a:defRPr sz="2025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914400" y="5178786"/>
            <a:ext cx="10363200" cy="885118"/>
          </a:xfrm>
        </p:spPr>
        <p:txBody>
          <a:bodyPr>
            <a:normAutofit/>
          </a:bodyPr>
          <a:lstStyle>
            <a:lvl1pPr marL="0" indent="0" algn="ctr">
              <a:buNone/>
              <a:defRPr sz="900" i="1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4E6146F-0B1F-4060-8180-BA7EB7FDB2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3747" y="6551797"/>
            <a:ext cx="935420" cy="162527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3991C7A-5E7C-44F1-8BCE-3D8A59A10F17}"/>
              </a:ext>
            </a:extLst>
          </p:cNvPr>
          <p:cNvCxnSpPr>
            <a:cxnSpLocks/>
          </p:cNvCxnSpPr>
          <p:nvPr userDrawn="1"/>
        </p:nvCxnSpPr>
        <p:spPr>
          <a:xfrm>
            <a:off x="381000" y="6413502"/>
            <a:ext cx="1143362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7174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pos="427" userDrawn="1">
          <p15:clr>
            <a:srgbClr val="FBAE40"/>
          </p15:clr>
        </p15:guide>
        <p15:guide id="3" pos="13231" userDrawn="1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osur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292231"/>
            <a:ext cx="10515600" cy="5884732"/>
          </a:xfrm>
        </p:spPr>
        <p:txBody>
          <a:bodyPr>
            <a:normAutofit/>
          </a:bodyPr>
          <a:lstStyle>
            <a:lvl1pPr marL="0" indent="0" defTabSz="914400">
              <a:spcBef>
                <a:spcPts val="1200"/>
              </a:spcBef>
              <a:buNone/>
              <a:defRPr sz="1125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4655" indent="-94655">
              <a:buClr>
                <a:srgbClr val="2C5596"/>
              </a:buClr>
              <a:defRPr sz="112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89322" indent="-94655">
              <a:buClrTx/>
              <a:buFont typeface="Arial" panose="020B0604020202020204" pitchFamily="34" charset="0"/>
              <a:buChar char="−"/>
              <a:defRPr sz="112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83989" indent="-100013">
              <a:buFont typeface="Arial" panose="020B0604020202020204" pitchFamily="34" charset="0"/>
              <a:buChar char="−"/>
              <a:defRPr sz="1125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43831" indent="-99120">
              <a:buFont typeface="Arial" panose="020B0604020202020204" pitchFamily="34" charset="0"/>
              <a:buChar char="−"/>
              <a:defRPr sz="1125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defTabSz="914400">
              <a:spcBef>
                <a:spcPts val="1200"/>
              </a:spcBef>
            </a:pPr>
            <a:r>
              <a:rPr lang="en-US"/>
              <a:t>Add disclosures (see congress guidelines)</a:t>
            </a:r>
          </a:p>
        </p:txBody>
      </p:sp>
    </p:spTree>
    <p:extLst>
      <p:ext uri="{BB962C8B-B14F-4D97-AF65-F5344CB8AC3E}">
        <p14:creationId xmlns:p14="http://schemas.microsoft.com/office/powerpoint/2010/main" val="343765050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838200" y="292231"/>
            <a:ext cx="10515600" cy="5884732"/>
          </a:xfrm>
        </p:spPr>
        <p:txBody>
          <a:bodyPr>
            <a:normAutofit/>
          </a:bodyPr>
          <a:lstStyle>
            <a:lvl1pPr marL="0" indent="0">
              <a:buNone/>
              <a:defRPr sz="1350" b="1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4655" indent="-94655">
              <a:buClr>
                <a:srgbClr val="071D49"/>
              </a:buClr>
              <a:defRPr sz="112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89322" indent="-94655">
              <a:buClr>
                <a:srgbClr val="081538"/>
              </a:buClr>
              <a:buFont typeface="Arial" panose="020B0604020202020204" pitchFamily="34" charset="0"/>
              <a:buChar char="−"/>
              <a:defRPr sz="112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83989" indent="-100013">
              <a:buClr>
                <a:srgbClr val="081538"/>
              </a:buClr>
              <a:buFont typeface="Arial" panose="020B0604020202020204" pitchFamily="34" charset="0"/>
              <a:buChar char="−"/>
              <a:defRPr sz="1125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43831" indent="-99120">
              <a:buClr>
                <a:srgbClr val="081538"/>
              </a:buClr>
              <a:buFont typeface="Arial" panose="020B0604020202020204" pitchFamily="34" charset="0"/>
              <a:buChar char="−"/>
              <a:defRPr sz="1125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175739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1154B02-468B-4674-B816-EAD71BCC89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92231"/>
            <a:ext cx="10515600" cy="5884732"/>
          </a:xfrm>
        </p:spPr>
        <p:txBody>
          <a:bodyPr>
            <a:normAutofit/>
          </a:bodyPr>
          <a:lstStyle>
            <a:lvl1pPr marL="0" indent="0">
              <a:buNone/>
              <a:defRPr sz="1350" b="1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4655" indent="-94655">
              <a:buClr>
                <a:srgbClr val="071D49"/>
              </a:buClr>
              <a:defRPr sz="112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89322" indent="-94655">
              <a:buClr>
                <a:srgbClr val="081538"/>
              </a:buClr>
              <a:buFont typeface="Arial" panose="020B0604020202020204" pitchFamily="34" charset="0"/>
              <a:buChar char="−"/>
              <a:defRPr sz="112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83989" indent="-100013">
              <a:buClr>
                <a:srgbClr val="081538"/>
              </a:buClr>
              <a:buFont typeface="Arial" panose="020B0604020202020204" pitchFamily="34" charset="0"/>
              <a:buChar char="−"/>
              <a:defRPr sz="1125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643831" indent="-99120">
              <a:buClr>
                <a:srgbClr val="081538"/>
              </a:buClr>
              <a:buFont typeface="Arial" panose="020B0604020202020204" pitchFamily="34" charset="0"/>
              <a:buChar char="−"/>
              <a:defRPr sz="1125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257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 userDrawn="1">
          <p15:clr>
            <a:srgbClr val="FBAE40"/>
          </p15:clr>
        </p15:guide>
        <p15:guide id="2" pos="6827" userDrawn="1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92234"/>
            <a:ext cx="10515600" cy="11395135"/>
          </a:xfrm>
        </p:spPr>
        <p:txBody>
          <a:bodyPr>
            <a:normAutofit/>
          </a:bodyPr>
          <a:lstStyle>
            <a:lvl1pPr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2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013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 rot="16200000">
            <a:off x="-2300443" y="2560471"/>
            <a:ext cx="5457944" cy="600961"/>
          </a:xfrm>
        </p:spPr>
        <p:txBody>
          <a:bodyPr>
            <a:noAutofit/>
          </a:bodyPr>
          <a:lstStyle>
            <a:lvl1pPr algn="r">
              <a:defRPr sz="1575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24069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6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54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47379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" y="-3"/>
            <a:ext cx="12191999" cy="45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60" b="0" i="0" dirty="0">
              <a:solidFill>
                <a:schemeClr val="lt1"/>
              </a:solidFill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255215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3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  <a:p>
            <a:pPr lvl="0"/>
            <a:r>
              <a:rPr lang="en-US" dirty="0"/>
              <a:t>Goes Here</a:t>
            </a:r>
          </a:p>
        </p:txBody>
      </p:sp>
      <p:pic>
        <p:nvPicPr>
          <p:cNvPr id="3" name="Picture 2" descr="PREFERRED_full-color_MAYS-UTH-MDA_h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772" y="5292802"/>
            <a:ext cx="3860713" cy="1068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3830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Blue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" y="0"/>
            <a:ext cx="12191999" cy="45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60" b="0" i="0" dirty="0"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177158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3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</a:p>
          <a:p>
            <a:pPr lvl="0"/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35135726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Green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" y="0"/>
            <a:ext cx="12191999" cy="45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60" b="0" i="0" dirty="0"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177159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3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</a:p>
          <a:p>
            <a:pPr lvl="0"/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11703317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" y="-3"/>
            <a:ext cx="12191999" cy="45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60" b="0" i="0" dirty="0">
              <a:solidFill>
                <a:schemeClr val="lt1"/>
              </a:solidFill>
              <a:latin typeface="Goudy Oldstyle Std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26592" y="1179576"/>
            <a:ext cx="9729216" cy="2715768"/>
          </a:xfrm>
        </p:spPr>
        <p:txBody>
          <a:bodyPr anchor="b" anchorCtr="0">
            <a:noAutofit/>
          </a:bodyPr>
          <a:lstStyle>
            <a:lvl1pPr>
              <a:defRPr sz="253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3023977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4464464"/>
            <a:ext cx="10515600" cy="1063487"/>
          </a:xfrm>
          <a:solidFill>
            <a:schemeClr val="tx1"/>
          </a:solidFill>
          <a:ln>
            <a:noFill/>
          </a:ln>
        </p:spPr>
        <p:txBody>
          <a:bodyPr lIns="182880" tIns="91440" rIns="274320" bIns="274320" anchor="t" anchorCtr="0">
            <a:normAutofit/>
          </a:bodyPr>
          <a:lstStyle>
            <a:lvl1pPr>
              <a:lnSpc>
                <a:spcPct val="100000"/>
              </a:lnSpc>
              <a:defRPr sz="13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insert photo caption.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838200" y="685835"/>
            <a:ext cx="10515600" cy="3778624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616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Text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597369"/>
            <a:ext cx="10515600" cy="1191092"/>
          </a:xfrm>
        </p:spPr>
        <p:txBody>
          <a:bodyPr>
            <a:normAutofit/>
          </a:bodyPr>
          <a:lstStyle>
            <a:lvl1pPr>
              <a:defRPr sz="2250" baseline="0"/>
            </a:lvl1pPr>
          </a:lstStyle>
          <a:p>
            <a:r>
              <a:rPr lang="en-US" dirty="0"/>
              <a:t>Click to insert Slide Head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9" y="1922931"/>
            <a:ext cx="5157787" cy="4172604"/>
          </a:xfrm>
        </p:spPr>
        <p:txBody>
          <a:bodyPr>
            <a:normAutofit/>
          </a:bodyPr>
          <a:lstStyle>
            <a:lvl1pPr marL="0" indent="0">
              <a:buNone/>
              <a:defRPr sz="1238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6484937" y="1922933"/>
            <a:ext cx="4870451" cy="3671047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984219-9B34-46AA-B397-17C6A3D1BD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0317" y="6246287"/>
            <a:ext cx="7874000" cy="440267"/>
          </a:xfrm>
        </p:spPr>
        <p:txBody>
          <a:bodyPr>
            <a:normAutofit/>
          </a:bodyPr>
          <a:lstStyle>
            <a:lvl1pPr>
              <a:defRPr sz="75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4638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ubhead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5" y="1044077"/>
            <a:ext cx="3352800" cy="569572"/>
          </a:xfrm>
        </p:spPr>
        <p:txBody>
          <a:bodyPr>
            <a:normAutofit/>
          </a:bodyPr>
          <a:lstStyle>
            <a:lvl1pPr>
              <a:defRPr sz="1519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1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7" y="1775015"/>
            <a:ext cx="3352800" cy="3757657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422"/>
              </a:spcBef>
              <a:buNone/>
              <a:defRPr sz="1013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4384353" y="1775015"/>
            <a:ext cx="3352800" cy="3757657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422"/>
              </a:spcBef>
              <a:buNone/>
              <a:defRPr sz="1013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7928920" y="1775015"/>
            <a:ext cx="3352800" cy="3757656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422"/>
              </a:spcBef>
              <a:buNone/>
              <a:defRPr sz="1013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384351" y="1043610"/>
            <a:ext cx="3352800" cy="56957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519">
                <a:solidFill>
                  <a:schemeClr val="accent1"/>
                </a:solidFill>
              </a:defRPr>
            </a:lvl1pPr>
            <a:lvl2pPr marL="192881" indent="0">
              <a:buNone/>
              <a:defRPr sz="1519">
                <a:solidFill>
                  <a:schemeClr val="accent1"/>
                </a:solidFill>
              </a:defRPr>
            </a:lvl2pPr>
            <a:lvl3pPr marL="385763" indent="0">
              <a:buNone/>
              <a:defRPr sz="1519">
                <a:solidFill>
                  <a:schemeClr val="accent1"/>
                </a:solidFill>
              </a:defRPr>
            </a:lvl3pPr>
            <a:lvl4pPr marL="578644" indent="0">
              <a:buNone/>
              <a:defRPr sz="1519">
                <a:solidFill>
                  <a:schemeClr val="accent1"/>
                </a:solidFill>
              </a:defRPr>
            </a:lvl4pPr>
            <a:lvl5pPr marL="771525" indent="0">
              <a:buNone/>
              <a:defRPr sz="151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Headline 2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7928919" y="1043066"/>
            <a:ext cx="3352800" cy="569837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519">
                <a:solidFill>
                  <a:schemeClr val="accent1"/>
                </a:solidFill>
              </a:defRPr>
            </a:lvl1pPr>
            <a:lvl2pPr marL="192881" indent="0">
              <a:buNone/>
              <a:defRPr sz="1519">
                <a:solidFill>
                  <a:schemeClr val="accent1"/>
                </a:solidFill>
              </a:defRPr>
            </a:lvl2pPr>
            <a:lvl3pPr marL="385763" indent="0">
              <a:buNone/>
              <a:defRPr sz="1519">
                <a:solidFill>
                  <a:schemeClr val="accent1"/>
                </a:solidFill>
              </a:defRPr>
            </a:lvl3pPr>
            <a:lvl4pPr marL="578644" indent="0">
              <a:buNone/>
              <a:defRPr sz="1519">
                <a:solidFill>
                  <a:schemeClr val="accent1"/>
                </a:solidFill>
              </a:defRPr>
            </a:lvl4pPr>
            <a:lvl5pPr marL="771525" indent="0">
              <a:buNone/>
              <a:defRPr sz="151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Headline 3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49E5491-0548-45FD-9ABD-00DAEB44E8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0317" y="6246287"/>
            <a:ext cx="7874000" cy="440267"/>
          </a:xfrm>
        </p:spPr>
        <p:txBody>
          <a:bodyPr>
            <a:normAutofit/>
          </a:bodyPr>
          <a:lstStyle>
            <a:lvl1pPr>
              <a:defRPr sz="75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358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871007"/>
            <a:ext cx="10515600" cy="699379"/>
          </a:xfrm>
        </p:spPr>
        <p:txBody>
          <a:bodyPr>
            <a:normAutofit/>
          </a:bodyPr>
          <a:lstStyle>
            <a:lvl1pPr>
              <a:defRPr sz="2250" baseline="0"/>
            </a:lvl1pPr>
          </a:lstStyle>
          <a:p>
            <a:r>
              <a:rPr lang="en-US" dirty="0"/>
              <a:t>Click to insert Slide Head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8" y="2268592"/>
            <a:ext cx="5050024" cy="3273927"/>
          </a:xfrm>
        </p:spPr>
        <p:txBody>
          <a:bodyPr>
            <a:normAutofit/>
          </a:bodyPr>
          <a:lstStyle>
            <a:lvl1pPr marL="0" indent="0">
              <a:buNone/>
              <a:defRPr sz="1238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6306672" y="2268592"/>
            <a:ext cx="5048717" cy="3273927"/>
          </a:xfrm>
        </p:spPr>
        <p:txBody>
          <a:bodyPr>
            <a:normAutofit/>
          </a:bodyPr>
          <a:lstStyle>
            <a:lvl1pPr marL="0" indent="0">
              <a:buNone/>
              <a:defRPr sz="1238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39789" y="1632482"/>
            <a:ext cx="5049835" cy="544195"/>
          </a:xfrm>
        </p:spPr>
        <p:txBody>
          <a:bodyPr anchor="ctr" anchorCtr="0">
            <a:normAutofit/>
          </a:bodyPr>
          <a:lstStyle>
            <a:lvl1pPr marL="0" indent="0">
              <a:spcBef>
                <a:spcPts val="0"/>
              </a:spcBef>
              <a:buNone/>
              <a:defRPr sz="1519" baseline="0">
                <a:solidFill>
                  <a:schemeClr val="accent1"/>
                </a:solidFill>
              </a:defRPr>
            </a:lvl1pPr>
            <a:lvl2pPr>
              <a:defRPr sz="1519">
                <a:solidFill>
                  <a:schemeClr val="accent1">
                    <a:lumMod val="40000"/>
                    <a:lumOff val="60000"/>
                  </a:schemeClr>
                </a:solidFill>
              </a:defRPr>
            </a:lvl2pPr>
            <a:lvl3pPr>
              <a:defRPr sz="1519">
                <a:solidFill>
                  <a:schemeClr val="accent1">
                    <a:lumMod val="40000"/>
                    <a:lumOff val="60000"/>
                  </a:schemeClr>
                </a:solidFill>
              </a:defRPr>
            </a:lvl3pPr>
            <a:lvl4pPr>
              <a:defRPr sz="1519">
                <a:solidFill>
                  <a:schemeClr val="accent1">
                    <a:lumMod val="40000"/>
                    <a:lumOff val="60000"/>
                  </a:schemeClr>
                </a:solidFill>
              </a:defRPr>
            </a:lvl4pPr>
            <a:lvl5pPr>
              <a:defRPr sz="1519">
                <a:solidFill>
                  <a:schemeClr val="accent1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306672" y="1632855"/>
            <a:ext cx="5048717" cy="544195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519">
                <a:solidFill>
                  <a:schemeClr val="accent1"/>
                </a:solidFill>
              </a:defRPr>
            </a:lvl1pPr>
            <a:lvl2pPr marL="192881" indent="0">
              <a:buNone/>
              <a:defRPr sz="1519">
                <a:solidFill>
                  <a:schemeClr val="accent1"/>
                </a:solidFill>
              </a:defRPr>
            </a:lvl2pPr>
            <a:lvl3pPr marL="385763" indent="0">
              <a:buNone/>
              <a:defRPr sz="1519">
                <a:solidFill>
                  <a:schemeClr val="accent1"/>
                </a:solidFill>
              </a:defRPr>
            </a:lvl3pPr>
            <a:lvl4pPr marL="578644" indent="0">
              <a:buNone/>
              <a:defRPr sz="1519">
                <a:solidFill>
                  <a:schemeClr val="accent1"/>
                </a:solidFill>
              </a:defRPr>
            </a:lvl4pPr>
            <a:lvl5pPr marL="771525" indent="0">
              <a:buNone/>
              <a:defRPr sz="1519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5141BDA7-4269-4554-A57C-BF02CC614D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0317" y="6246287"/>
            <a:ext cx="7874000" cy="440267"/>
          </a:xfrm>
        </p:spPr>
        <p:txBody>
          <a:bodyPr>
            <a:normAutofit/>
          </a:bodyPr>
          <a:lstStyle>
            <a:lvl1pPr>
              <a:defRPr sz="75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3761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77816"/>
            <a:ext cx="10515600" cy="696323"/>
          </a:xfrm>
        </p:spPr>
        <p:txBody>
          <a:bodyPr>
            <a:normAutofit/>
          </a:bodyPr>
          <a:lstStyle>
            <a:lvl1pPr>
              <a:defRPr sz="22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0" y="2373025"/>
            <a:ext cx="10515600" cy="3238407"/>
          </a:xfrm>
        </p:spPr>
        <p:txBody>
          <a:bodyPr numCol="3" spcCol="274320">
            <a:normAutofit/>
          </a:bodyPr>
          <a:lstStyle>
            <a:lvl1pPr marL="0" indent="0">
              <a:buNone/>
              <a:defRPr sz="1125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623836"/>
            <a:ext cx="10515600" cy="552839"/>
          </a:xfrm>
        </p:spPr>
        <p:txBody>
          <a:bodyPr anchor="ctr" anchorCtr="0">
            <a:normAutofit/>
          </a:bodyPr>
          <a:lstStyle>
            <a:lvl1pPr marL="0" indent="0">
              <a:spcBef>
                <a:spcPts val="0"/>
              </a:spcBef>
              <a:buNone/>
              <a:defRPr sz="1519" baseline="0">
                <a:solidFill>
                  <a:schemeClr val="accent1"/>
                </a:solidFill>
              </a:defRPr>
            </a:lvl1pPr>
            <a:lvl2pPr>
              <a:defRPr sz="2025">
                <a:solidFill>
                  <a:schemeClr val="accent1">
                    <a:lumMod val="40000"/>
                    <a:lumOff val="60000"/>
                  </a:schemeClr>
                </a:solidFill>
              </a:defRPr>
            </a:lvl2pPr>
            <a:lvl3pPr>
              <a:defRPr sz="2025">
                <a:solidFill>
                  <a:schemeClr val="accent1">
                    <a:lumMod val="40000"/>
                    <a:lumOff val="60000"/>
                  </a:schemeClr>
                </a:solidFill>
              </a:defRPr>
            </a:lvl3pPr>
            <a:lvl4pPr>
              <a:defRPr sz="2025">
                <a:solidFill>
                  <a:schemeClr val="accent1">
                    <a:lumMod val="40000"/>
                    <a:lumOff val="60000"/>
                  </a:schemeClr>
                </a:solidFill>
              </a:defRPr>
            </a:lvl4pPr>
            <a:lvl5pPr>
              <a:defRPr sz="2025">
                <a:solidFill>
                  <a:schemeClr val="accent1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CB40B22-31FF-4545-8ADB-DCFC7B996D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0317" y="6246287"/>
            <a:ext cx="7874000" cy="440267"/>
          </a:xfrm>
        </p:spPr>
        <p:txBody>
          <a:bodyPr>
            <a:normAutofit/>
          </a:bodyPr>
          <a:lstStyle>
            <a:lvl1pPr>
              <a:defRPr sz="75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5855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Text +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99084"/>
            <a:ext cx="10515600" cy="586992"/>
          </a:xfrm>
        </p:spPr>
        <p:txBody>
          <a:bodyPr>
            <a:normAutofit/>
          </a:bodyPr>
          <a:lstStyle>
            <a:lvl1pPr>
              <a:defRPr sz="151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6" y="1788614"/>
            <a:ext cx="10515599" cy="3111381"/>
          </a:xfrm>
        </p:spPr>
        <p:txBody>
          <a:bodyPr numCol="4" spcCol="274320">
            <a:normAutofit/>
          </a:bodyPr>
          <a:lstStyle>
            <a:lvl1pPr marL="0" indent="0">
              <a:lnSpc>
                <a:spcPct val="90000"/>
              </a:lnSpc>
              <a:spcBef>
                <a:spcPts val="563"/>
              </a:spcBef>
              <a:buNone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5DC19A-9A55-4FFB-A8BB-22EDF20DF0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0317" y="6246287"/>
            <a:ext cx="7874000" cy="440267"/>
          </a:xfrm>
        </p:spPr>
        <p:txBody>
          <a:bodyPr>
            <a:normAutofit/>
          </a:bodyPr>
          <a:lstStyle>
            <a:lvl1pPr>
              <a:defRPr sz="75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817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FFCC3-D0B3-4BCB-A316-6742FD026D2F}" type="datetimeFigureOut">
              <a:rPr lang="en-US" smtClean="0"/>
              <a:t>11/11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19022-F6F3-41E9-B6EF-01A6E9E2A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424516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04493"/>
            <a:ext cx="10515600" cy="586991"/>
          </a:xfrm>
        </p:spPr>
        <p:txBody>
          <a:bodyPr>
            <a:normAutofit/>
          </a:bodyPr>
          <a:lstStyle>
            <a:lvl1pPr>
              <a:defRPr sz="151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6" y="1788664"/>
            <a:ext cx="10515599" cy="3628167"/>
          </a:xfrm>
        </p:spPr>
        <p:txBody>
          <a:bodyPr numCol="3" spcCol="274320">
            <a:normAutofit/>
          </a:bodyPr>
          <a:lstStyle>
            <a:lvl1pPr marL="0" indent="0">
              <a:lnSpc>
                <a:spcPct val="90000"/>
              </a:lnSpc>
              <a:spcBef>
                <a:spcPts val="563"/>
              </a:spcBef>
              <a:buNone/>
              <a:defRPr sz="1013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019625-F048-401B-9634-F0E2407960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0317" y="6246287"/>
            <a:ext cx="7874000" cy="440267"/>
          </a:xfrm>
        </p:spPr>
        <p:txBody>
          <a:bodyPr>
            <a:normAutofit/>
          </a:bodyPr>
          <a:lstStyle>
            <a:lvl1pPr>
              <a:defRPr sz="75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8050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91" y="3375459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844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3532567" y="3375459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844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6225339" y="3375459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844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2" hasCustomPrompt="1"/>
          </p:nvPr>
        </p:nvSpPr>
        <p:spPr>
          <a:xfrm>
            <a:off x="8918111" y="3375459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844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141042" y="1563452"/>
            <a:ext cx="1062319" cy="6637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713" b="0" i="0" dirty="0">
                <a:solidFill>
                  <a:schemeClr val="bg2"/>
                </a:solidFill>
                <a:latin typeface="Goudy Oldstyle Std Regular" charset="0"/>
                <a:ea typeface="Goudy Oldstyle Std Regular" charset="0"/>
                <a:cs typeface="Goudy Oldstyle Std Regular" charset="0"/>
              </a:rPr>
              <a:t>2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9" y="1415777"/>
            <a:ext cx="2178424" cy="1636776"/>
          </a:xfrm>
          <a:prstGeom prst="ellipse">
            <a:avLst/>
          </a:prstGeom>
          <a:solidFill>
            <a:schemeClr val="accent4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938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3539287" y="1415777"/>
            <a:ext cx="2178424" cy="1636776"/>
          </a:xfrm>
          <a:prstGeom prst="ellipse">
            <a:avLst/>
          </a:prstGeom>
          <a:solidFill>
            <a:schemeClr val="accent2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938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6225335" y="1415777"/>
            <a:ext cx="2178424" cy="1636776"/>
          </a:xfrm>
          <a:prstGeom prst="ellipse">
            <a:avLst/>
          </a:prstGeom>
          <a:solidFill>
            <a:schemeClr val="accent1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938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8911384" y="1415777"/>
            <a:ext cx="2178424" cy="1636776"/>
          </a:xfrm>
          <a:prstGeom prst="ellipse">
            <a:avLst/>
          </a:prstGeom>
          <a:solidFill>
            <a:schemeClr val="accent3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938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7647157-99BB-48C2-9750-44A8497A36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0317" y="6246287"/>
            <a:ext cx="7874000" cy="440267"/>
          </a:xfrm>
        </p:spPr>
        <p:txBody>
          <a:bodyPr>
            <a:normAutofit/>
          </a:bodyPr>
          <a:lstStyle>
            <a:lvl1pPr>
              <a:defRPr sz="75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129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31852" y="1371511"/>
            <a:ext cx="10597029" cy="3886293"/>
          </a:xfrm>
        </p:spPr>
        <p:txBody>
          <a:bodyPr anchor="ctr" anchorCtr="0">
            <a:normAutofit/>
          </a:bodyPr>
          <a:lstStyle>
            <a:lvl1pPr marL="0" marR="0" indent="0" algn="l" defTabSz="385763" rtl="0" eaLnBrk="1" fontAlgn="auto" latinLnBrk="0" hangingPunct="1">
              <a:lnSpc>
                <a:spcPct val="90000"/>
              </a:lnSpc>
              <a:spcBef>
                <a:spcPts val="42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375" baseline="0">
                <a:solidFill>
                  <a:schemeClr val="bg1"/>
                </a:solidFill>
              </a:defRPr>
            </a:lvl1pPr>
            <a:lvl2pPr marL="192881" indent="0">
              <a:buNone/>
              <a:defRPr sz="2531">
                <a:solidFill>
                  <a:schemeClr val="bg1"/>
                </a:solidFill>
              </a:defRPr>
            </a:lvl2pPr>
            <a:lvl3pPr marL="385763" indent="0">
              <a:buNone/>
              <a:defRPr sz="2531">
                <a:solidFill>
                  <a:schemeClr val="bg1"/>
                </a:solidFill>
              </a:defRPr>
            </a:lvl3pPr>
            <a:lvl4pPr marL="578644" indent="0">
              <a:buNone/>
              <a:defRPr sz="2531">
                <a:solidFill>
                  <a:schemeClr val="bg1"/>
                </a:solidFill>
              </a:defRPr>
            </a:lvl4pPr>
            <a:lvl5pPr marL="771525" indent="0">
              <a:buNone/>
              <a:defRPr sz="2531">
                <a:solidFill>
                  <a:schemeClr val="bg1"/>
                </a:solidFill>
              </a:defRPr>
            </a:lvl5pPr>
          </a:lstStyle>
          <a:p>
            <a:pPr marL="0" marR="0" lvl="0" indent="0" algn="l" defTabSz="385763" rtl="0" eaLnBrk="1" fontAlgn="auto" latinLnBrk="0" hangingPunct="1">
              <a:lnSpc>
                <a:spcPct val="90000"/>
              </a:lnSpc>
              <a:spcBef>
                <a:spcPts val="42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Insert inspiring quote here. Insert inspiring quote here.</a:t>
            </a:r>
          </a:p>
        </p:txBody>
      </p:sp>
      <p:pic>
        <p:nvPicPr>
          <p:cNvPr id="2" name="Picture 1" descr="PREFERRED_full-reverse_MAYS-UTH-MDA-h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3804" y="5852163"/>
            <a:ext cx="2609088" cy="662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250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597372"/>
            <a:ext cx="10515600" cy="806889"/>
          </a:xfrm>
        </p:spPr>
        <p:txBody>
          <a:bodyPr>
            <a:normAutofit/>
          </a:bodyPr>
          <a:lstStyle>
            <a:lvl1pPr>
              <a:defRPr sz="1519" baseline="0"/>
            </a:lvl1pPr>
          </a:lstStyle>
          <a:p>
            <a:r>
              <a:rPr lang="en-US" dirty="0"/>
              <a:t>Click to insert Chart 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839793" y="1567545"/>
            <a:ext cx="10515601" cy="4034039"/>
          </a:xfrm>
        </p:spPr>
        <p:txBody>
          <a:bodyPr anchor="ctr" anchorCtr="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B08B9B4-63F3-4546-98C9-6045D95E65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0317" y="6246287"/>
            <a:ext cx="7874000" cy="440267"/>
          </a:xfrm>
        </p:spPr>
        <p:txBody>
          <a:bodyPr>
            <a:normAutofit/>
          </a:bodyPr>
          <a:lstStyle>
            <a:lvl1pPr>
              <a:defRPr sz="75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1855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9126077" y="4666134"/>
            <a:ext cx="3065929" cy="21918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6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C4E8146-08BF-43CC-BB33-8CC67EB249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0317" y="6246287"/>
            <a:ext cx="7874000" cy="440267"/>
          </a:xfrm>
        </p:spPr>
        <p:txBody>
          <a:bodyPr>
            <a:normAutofit/>
          </a:bodyPr>
          <a:lstStyle>
            <a:lvl1pPr>
              <a:defRPr sz="75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823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46DDF9D-B882-42D8-B64F-17E770D1AA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0317" y="6246287"/>
            <a:ext cx="7874000" cy="440267"/>
          </a:xfrm>
        </p:spPr>
        <p:txBody>
          <a:bodyPr>
            <a:normAutofit/>
          </a:bodyPr>
          <a:lstStyle>
            <a:lvl1pPr>
              <a:defRPr sz="75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641380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914400" y="6497641"/>
            <a:ext cx="9144000" cy="17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3857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06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914400" y="6503990"/>
            <a:ext cx="9144000" cy="17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3857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06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67640"/>
            <a:ext cx="10566400" cy="787400"/>
          </a:xfrm>
          <a:noFill/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76400"/>
            <a:ext cx="10363200" cy="4419600"/>
          </a:xfrm>
        </p:spPr>
        <p:txBody>
          <a:bodyPr/>
          <a:lstStyle>
            <a:lvl1pPr>
              <a:spcBef>
                <a:spcPts val="38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914400" y="6248400"/>
            <a:ext cx="10392227" cy="4572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506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506" b="0" baseline="0"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 defTabSz="385763">
              <a:defRPr/>
            </a:pPr>
            <a:fld id="{2BE16F37-D63B-443C-96C0-C234F1098F79}" type="slidenum">
              <a:rPr lang="en-US" smtClean="0">
                <a:latin typeface="Arial"/>
              </a:rPr>
              <a:pPr defTabSz="385763">
                <a:defRPr/>
              </a:pPr>
              <a:t>‹#›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3429235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2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490456"/>
            <a:ext cx="10972800" cy="713539"/>
          </a:xfr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368926"/>
            <a:ext cx="10972800" cy="4947903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845080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DA7E4252-9FC0-4914-A2C0-12B2E25756A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9743" y="1565237"/>
            <a:ext cx="10521951" cy="4098969"/>
          </a:xfrm>
          <a:prstGeom prst="rect">
            <a:avLst/>
          </a:prstGeom>
        </p:spPr>
        <p:txBody>
          <a:bodyPr/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>
              <a:buClr>
                <a:srgbClr val="C00000"/>
              </a:buClr>
              <a:buSzPct val="120000"/>
            </a:pPr>
            <a:r>
              <a:rPr lang="en-US" dirty="0"/>
              <a:t>Edit Master text styles</a:t>
            </a:r>
          </a:p>
          <a:p>
            <a:pPr lvl="1">
              <a:buSzPct val="90000"/>
              <a:buFont typeface="Courier New" panose="02070309020205020404" pitchFamily="49" charset="0"/>
              <a:buChar char="o"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A89C7A-4E2A-4A29-8C30-F3AAEF9AC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045" y="320681"/>
            <a:ext cx="10515600" cy="450889"/>
          </a:xfrm>
          <a:prstGeom prst="rect">
            <a:avLst/>
          </a:prstGeom>
        </p:spPr>
        <p:txBody>
          <a:bodyPr anchor="b"/>
          <a:lstStyle/>
          <a:p>
            <a:r>
              <a:rPr lang="en-US" sz="1181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Headline style and text for interior slides single lin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49FABF1-AFAD-4607-84F1-06E305EDBC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3045" y="5664202"/>
            <a:ext cx="5772955" cy="7747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38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619295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s Spe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hapter Title</a:t>
            </a:r>
            <a:endParaRPr lang="de-AT" dirty="0"/>
          </a:p>
        </p:txBody>
      </p:sp>
      <p:sp>
        <p:nvSpPr>
          <p:cNvPr id="23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6385084" y="1628781"/>
            <a:ext cx="4992000" cy="4608513"/>
          </a:xfrm>
        </p:spPr>
        <p:txBody>
          <a:bodyPr/>
          <a:lstStyle>
            <a:lvl1pPr>
              <a:lnSpc>
                <a:spcPts val="1350"/>
              </a:lnSpc>
              <a:defRPr sz="1350">
                <a:solidFill>
                  <a:schemeClr val="accent1">
                    <a:lumMod val="10000"/>
                  </a:schemeClr>
                </a:solidFill>
              </a:defRPr>
            </a:lvl1pPr>
            <a:lvl2pPr marL="0" indent="0">
              <a:buClr>
                <a:schemeClr val="bg1"/>
              </a:buClr>
              <a:buSzPct val="25000"/>
              <a:defRPr>
                <a:solidFill>
                  <a:srgbClr val="7F7F7F"/>
                </a:solidFill>
              </a:defRPr>
            </a:lvl2pPr>
            <a:lvl3pPr marL="0" indent="0"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i="1">
                <a:solidFill>
                  <a:schemeClr val="accent1">
                    <a:lumMod val="10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10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10000"/>
                  </a:schemeClr>
                </a:solidFill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</a:p>
          <a:p>
            <a:pPr lvl="1"/>
            <a:r>
              <a:rPr lang="fr-FR" dirty="0"/>
              <a:t>“</a:t>
            </a:r>
            <a:r>
              <a:rPr lang="fr-FR" dirty="0" err="1"/>
              <a:t>Aenean</a:t>
            </a:r>
            <a:r>
              <a:rPr lang="fr-FR" dirty="0"/>
              <a:t> massa. 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“</a:t>
            </a: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814927" y="6381328"/>
            <a:ext cx="10562167" cy="0"/>
          </a:xfrm>
          <a:prstGeom prst="line">
            <a:avLst/>
          </a:prstGeom>
          <a:ln w="3175">
            <a:solidFill>
              <a:srgbClr val="695E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814916" y="1628781"/>
            <a:ext cx="4992000" cy="4608513"/>
          </a:xfrm>
        </p:spPr>
        <p:txBody>
          <a:bodyPr/>
          <a:lstStyle>
            <a:lvl1pPr marL="192881" indent="-192881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  <a:defRPr>
                <a:solidFill>
                  <a:schemeClr val="accent1">
                    <a:lumMod val="10000"/>
                  </a:schemeClr>
                </a:solidFill>
              </a:defRPr>
            </a:lvl1pPr>
            <a:lvl2pPr marL="305396" indent="-203597">
              <a:lnSpc>
                <a:spcPct val="100000"/>
              </a:lnSpc>
              <a:spcBef>
                <a:spcPts val="0"/>
              </a:spcBef>
              <a:defRPr>
                <a:solidFill>
                  <a:schemeClr val="accent1">
                    <a:lumMod val="10000"/>
                  </a:schemeClr>
                </a:solidFill>
              </a:defRPr>
            </a:lvl2pPr>
            <a:lvl3pPr marL="455414" indent="-251817">
              <a:lnSpc>
                <a:spcPct val="100000"/>
              </a:lnSpc>
              <a:spcBef>
                <a:spcPts val="0"/>
              </a:spcBef>
              <a:defRPr baseline="0">
                <a:solidFill>
                  <a:schemeClr val="accent1">
                    <a:lumMod val="10000"/>
                  </a:schemeClr>
                </a:solidFill>
              </a:defRPr>
            </a:lvl3pPr>
            <a:lvl4pPr marL="557213" indent="-251817">
              <a:lnSpc>
                <a:spcPct val="100000"/>
              </a:lnSpc>
              <a:spcBef>
                <a:spcPts val="0"/>
              </a:spcBef>
              <a:defRPr>
                <a:solidFill>
                  <a:schemeClr val="accent1">
                    <a:lumMod val="10000"/>
                  </a:schemeClr>
                </a:solidFill>
              </a:defRPr>
            </a:lvl4pPr>
            <a:lvl5pPr marL="653654" indent="-251817">
              <a:lnSpc>
                <a:spcPct val="100000"/>
              </a:lnSpc>
              <a:spcBef>
                <a:spcPts val="0"/>
              </a:spcBef>
              <a:defRPr>
                <a:solidFill>
                  <a:schemeClr val="accent1">
                    <a:lumMod val="10000"/>
                  </a:schemeClr>
                </a:solidFill>
              </a:defRPr>
            </a:lvl5pPr>
            <a:lvl6pPr marL="755452" indent="-198239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lvl6pPr>
            <a:lvl7pPr marL="910829" indent="-203597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tabLst/>
              <a:defRPr/>
            </a:lvl7pPr>
            <a:lvl8pPr marL="1060847" indent="-203597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defRPr/>
            </a:lvl8pPr>
            <a:lvl9pPr marL="1210866" indent="-203597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defRPr/>
            </a:lvl9pPr>
          </a:lstStyle>
          <a:p>
            <a:pPr lvl="0"/>
            <a:r>
              <a:rPr lang="de-DE" dirty="0"/>
              <a:t>Level 1</a:t>
            </a:r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  <a:p>
            <a:pPr lvl="5"/>
            <a:r>
              <a:rPr lang="de-DE" dirty="0"/>
              <a:t>Level 6</a:t>
            </a:r>
          </a:p>
          <a:p>
            <a:pPr lvl="6"/>
            <a:r>
              <a:rPr lang="de-DE" dirty="0"/>
              <a:t>Level 7</a:t>
            </a:r>
          </a:p>
          <a:p>
            <a:pPr lvl="7"/>
            <a:r>
              <a:rPr lang="de-DE" dirty="0"/>
              <a:t>Level 8</a:t>
            </a:r>
          </a:p>
          <a:p>
            <a:pPr lvl="8"/>
            <a:r>
              <a:rPr lang="de-DE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7112348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90422-FAC2-1B47-B696-15B7C4FF0E2E}" type="datetime1">
              <a:rPr lang="en-US" smtClean="0"/>
              <a:pPr/>
              <a:t>11/11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ABAB64-726D-C943-9B15-2E81C6025A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490454"/>
            <a:ext cx="10972800" cy="713539"/>
          </a:xfr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368924"/>
            <a:ext cx="10972800" cy="4947903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640917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588569"/>
            <a:ext cx="5384800" cy="3537599"/>
          </a:xfr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588569"/>
            <a:ext cx="5384800" cy="3537599"/>
          </a:xfrm>
        </p:spPr>
        <p:txBody>
          <a:bodyPr/>
          <a:lstStyle>
            <a:lvl1pPr>
              <a:defRPr sz="1575"/>
            </a:lvl1pPr>
            <a:lvl2pPr>
              <a:defRPr sz="1350"/>
            </a:lvl2pPr>
            <a:lvl3pPr>
              <a:defRPr sz="1125"/>
            </a:lvl3pPr>
            <a:lvl4pPr>
              <a:defRPr sz="1013"/>
            </a:lvl4pPr>
            <a:lvl5pPr>
              <a:defRPr sz="1013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112AE92-20AD-8D4C-BE5B-92E66A82D5FE}" type="datetime1">
              <a:rPr lang="en-US"/>
              <a:pPr/>
              <a:t>11/11/22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90444B3-43E0-CD49-8543-3A769AE78B9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10535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8819" y="414343"/>
            <a:ext cx="10086623" cy="4247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vert="horz" lIns="91376" tIns="45688" rIns="91376" bIns="45688" rtlCol="0" anchor="ctr"/>
          <a:lstStyle>
            <a:lvl1pPr>
              <a:defRPr lang="en-US" smtClean="0"/>
            </a:lvl1pPr>
          </a:lstStyle>
          <a:p>
            <a:pPr algn="r"/>
            <a:fld id="{CC611C88-BB67-448E-AF0C-E7770D6CC1F7}" type="slidenum">
              <a:rPr>
                <a:solidFill>
                  <a:srgbClr val="BABABA">
                    <a:lumMod val="75000"/>
                  </a:srgbClr>
                </a:solidFill>
              </a:rPr>
              <a:pPr algn="r"/>
              <a:t>‹#›</a:t>
            </a:fld>
            <a:endParaRPr>
              <a:solidFill>
                <a:srgbClr val="BABABA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>
              <a:solidFill>
                <a:srgbClr val="BABAB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36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196756"/>
            <a:ext cx="11406717" cy="5132611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02" y="5966155"/>
            <a:ext cx="2950633" cy="774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11405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flipV="1">
            <a:off x="0" y="5715000"/>
            <a:ext cx="12192000" cy="1143000"/>
          </a:xfrm>
          <a:prstGeom prst="rect">
            <a:avLst/>
          </a:prstGeom>
          <a:solidFill>
            <a:srgbClr val="AB351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baseline="-25000" dirty="0">
              <a:solidFill>
                <a:srgbClr val="AB351D"/>
              </a:solidFill>
            </a:endParaRPr>
          </a:p>
        </p:txBody>
      </p:sp>
      <p:pic>
        <p:nvPicPr>
          <p:cNvPr id="7" name="Picture 6" descr="CC_H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7072" y="5775068"/>
            <a:ext cx="2657856" cy="127870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1800" kern="1200" cap="all">
                <a:solidFill>
                  <a:schemeClr val="tx1">
                    <a:lumMod val="85000"/>
                    <a:lumOff val="15000"/>
                  </a:schemeClr>
                </a:solidFill>
                <a:latin typeface="Avenir Heavy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SzPct val="75000"/>
              <a:buFont typeface="Wingdings" charset="2"/>
              <a:buNone/>
              <a:defRPr b="0" i="0" baseline="0">
                <a:solidFill>
                  <a:schemeClr val="tx1">
                    <a:lumMod val="85000"/>
                    <a:lumOff val="15000"/>
                  </a:schemeClr>
                </a:solidFill>
                <a:latin typeface="Goudy Old Style"/>
              </a:defRPr>
            </a:lvl1pPr>
            <a:lvl2pPr marL="417910" indent="-160735">
              <a:buSzPct val="75000"/>
              <a:buFont typeface="Wingdings" charset="2"/>
              <a:buChar char="§"/>
              <a:defRPr b="0" i="0" baseline="0">
                <a:solidFill>
                  <a:schemeClr val="tx1">
                    <a:lumMod val="85000"/>
                    <a:lumOff val="15000"/>
                  </a:schemeClr>
                </a:solidFill>
                <a:latin typeface="Goudy Old Style"/>
              </a:defRPr>
            </a:lvl2pPr>
            <a:lvl3pPr marL="642938" indent="-128588">
              <a:buSzPct val="75000"/>
              <a:buFont typeface="Wingdings" charset="2"/>
              <a:buChar char="§"/>
              <a:defRPr b="0" i="0" baseline="0">
                <a:solidFill>
                  <a:schemeClr val="tx1">
                    <a:lumMod val="85000"/>
                    <a:lumOff val="15000"/>
                  </a:schemeClr>
                </a:solidFill>
                <a:latin typeface="Goudy Old Style"/>
              </a:defRPr>
            </a:lvl3pPr>
            <a:lvl4pPr marL="900113" indent="-128588">
              <a:buSzPct val="75000"/>
              <a:buFont typeface="Wingdings" charset="2"/>
              <a:buChar char="§"/>
              <a:defRPr b="0" i="0" baseline="0">
                <a:solidFill>
                  <a:schemeClr val="tx1">
                    <a:lumMod val="85000"/>
                    <a:lumOff val="15000"/>
                  </a:schemeClr>
                </a:solidFill>
                <a:latin typeface="Goudy Old Style"/>
              </a:defRPr>
            </a:lvl4pPr>
            <a:lvl5pPr marL="1157288" indent="-128588">
              <a:buSzPct val="75000"/>
              <a:buFont typeface="Wingdings" charset="2"/>
              <a:buChar char="§"/>
              <a:defRPr b="0" i="0" baseline="0">
                <a:solidFill>
                  <a:schemeClr val="tx1">
                    <a:lumMod val="85000"/>
                    <a:lumOff val="15000"/>
                  </a:schemeClr>
                </a:solidFill>
                <a:latin typeface="Goudy Old Style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36787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A7173C3-DCDD-F248-9341-A47270E33206}"/>
              </a:ext>
            </a:extLst>
          </p:cNvPr>
          <p:cNvSpPr/>
          <p:nvPr/>
        </p:nvSpPr>
        <p:spPr>
          <a:xfrm>
            <a:off x="10864861" y="268295"/>
            <a:ext cx="958849" cy="566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sz="1013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85B98FB7-5D99-FD4C-92E4-B63790E967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A75A5C3-D5A4-EE42-AE5B-6ECFE281404B}" type="datetime1">
              <a:rPr lang="fr-FR" altLang="fr-FR"/>
              <a:pPr/>
              <a:t>11/11/2022</a:t>
            </a:fld>
            <a:endParaRPr lang="fr-FR" altLang="fr-FR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CD3D9D47-270A-BD4C-B4B1-EC8A717036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950F262-AF1D-CF47-A500-A34821B2D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8B53EC-F0CE-BA47-8FC0-C9D7A7CBB8C9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5317260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94B6E-940C-444A-87B7-6CAA7894DFE0}" type="datetime1">
              <a:rPr lang="en-US" smtClean="0"/>
              <a:t>11/1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is presentation is the intellectual property of the author/presenter. Contact them at mesar@uthscsa.edu for permission to reprint and/or distribut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AB156-197D-A64A-BD06-C109EC4A5A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230522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9126077" y="4666136"/>
            <a:ext cx="3065929" cy="21918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60"/>
          </a:p>
        </p:txBody>
      </p:sp>
    </p:spTree>
    <p:extLst>
      <p:ext uri="{BB962C8B-B14F-4D97-AF65-F5344CB8AC3E}">
        <p14:creationId xmlns:p14="http://schemas.microsoft.com/office/powerpoint/2010/main" val="2994591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1FE18561-8873-41E0-BF58-25E808C071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045" y="320681"/>
            <a:ext cx="10515600" cy="450889"/>
          </a:xfrm>
          <a:prstGeom prst="rect">
            <a:avLst/>
          </a:prstGeom>
        </p:spPr>
        <p:txBody>
          <a:bodyPr anchor="b"/>
          <a:lstStyle/>
          <a:p>
            <a:r>
              <a:rPr lang="en-US" sz="1181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Headline style and text for interior slides single 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8BAE3D-C8F1-4D08-A6B3-EAFCA46DA5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045" y="5664202"/>
            <a:ext cx="5772955" cy="7747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38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4909346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branded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286780"/>
            <a:ext cx="10363200" cy="885121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1"/>
            <a:ext cx="12192000" cy="3882305"/>
          </a:xfrm>
          <a:solidFill>
            <a:srgbClr val="071D49"/>
          </a:solidFill>
        </p:spPr>
        <p:txBody>
          <a:bodyPr anchor="ctr">
            <a:normAutofit/>
          </a:bodyPr>
          <a:lstStyle>
            <a:lvl1pPr algn="ctr"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914400" y="5178786"/>
            <a:ext cx="10363200" cy="885118"/>
          </a:xfrm>
        </p:spPr>
        <p:txBody>
          <a:bodyPr>
            <a:normAutofit/>
          </a:bodyPr>
          <a:lstStyle>
            <a:lvl1pPr marL="0" indent="0" algn="ctr">
              <a:buNone/>
              <a:defRPr sz="1200" i="1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4E6146F-0B1F-4060-8180-BA7EB7FDB2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3747" y="6551795"/>
            <a:ext cx="935420" cy="162527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3991C7A-5E7C-44F1-8BCE-3D8A59A10F17}"/>
              </a:ext>
            </a:extLst>
          </p:cNvPr>
          <p:cNvCxnSpPr>
            <a:cxnSpLocks/>
          </p:cNvCxnSpPr>
          <p:nvPr userDrawn="1"/>
        </p:nvCxnSpPr>
        <p:spPr>
          <a:xfrm>
            <a:off x="381000" y="6413502"/>
            <a:ext cx="1143362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7346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pos="320" userDrawn="1">
          <p15:clr>
            <a:srgbClr val="FBAE40"/>
          </p15:clr>
        </p15:guide>
        <p15:guide id="3" pos="9923" userDrawn="1">
          <p15:clr>
            <a:srgbClr val="FBAE40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osur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292231"/>
            <a:ext cx="10515600" cy="5884732"/>
          </a:xfrm>
        </p:spPr>
        <p:txBody>
          <a:bodyPr>
            <a:normAutofit/>
          </a:bodyPr>
          <a:lstStyle>
            <a:lvl1pPr marL="0" indent="0" defTabSz="914400"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6206" indent="-126206">
              <a:buClr>
                <a:srgbClr val="2C5596"/>
              </a:buCl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85763" indent="-126206">
              <a:buClrTx/>
              <a:buFont typeface="Arial" panose="020B0604020202020204" pitchFamily="34" charset="0"/>
              <a:buChar char="−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45319" indent="-133350">
              <a:buFont typeface="Arial" panose="020B0604020202020204" pitchFamily="34" charset="0"/>
              <a:buChar char="−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58441" indent="-132160">
              <a:buFont typeface="Arial" panose="020B0604020202020204" pitchFamily="34" charset="0"/>
              <a:buChar char="−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defTabSz="914400">
              <a:spcBef>
                <a:spcPts val="1200"/>
              </a:spcBef>
            </a:pPr>
            <a:r>
              <a:rPr lang="en-US"/>
              <a:t>Add disclosures (see congress guidelines)</a:t>
            </a:r>
          </a:p>
        </p:txBody>
      </p:sp>
    </p:spTree>
    <p:extLst>
      <p:ext uri="{BB962C8B-B14F-4D97-AF65-F5344CB8AC3E}">
        <p14:creationId xmlns:p14="http://schemas.microsoft.com/office/powerpoint/2010/main" val="28753527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 2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032" y="182880"/>
            <a:ext cx="11676888" cy="1097280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56032" y="1691640"/>
            <a:ext cx="5376672" cy="4379976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6199632" y="1691640"/>
            <a:ext cx="5376672" cy="4379976"/>
          </a:xfrm>
          <a:prstGeom prst="rect">
            <a:avLst/>
          </a:prstGeom>
        </p:spPr>
        <p:txBody>
          <a:bodyPr lIns="68580" tIns="34290" rIns="68580" bIns="3429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56032" y="6163056"/>
            <a:ext cx="11420856" cy="475488"/>
          </a:xfrm>
          <a:prstGeom prst="rect">
            <a:avLst/>
          </a:prstGeom>
        </p:spPr>
        <p:txBody>
          <a:bodyPr lIns="68580" tIns="34290" rIns="68580" bIns="34290" anchor="b"/>
          <a:lstStyle>
            <a:lvl1pPr>
              <a:spcBef>
                <a:spcPts val="0"/>
              </a:spcBef>
              <a:defRPr sz="1100" b="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8288" y="6345936"/>
            <a:ext cx="667512" cy="274320"/>
          </a:xfrm>
          <a:prstGeom prst="rect">
            <a:avLst/>
          </a:prstGeom>
        </p:spPr>
        <p:txBody>
          <a:bodyPr vert="horz" lIns="68580" tIns="34290" rIns="68580" bIns="34290" rtlCol="0" anchor="t"/>
          <a:lstStyle>
            <a:lvl1pPr algn="ctr">
              <a:defRPr sz="900" b="1">
                <a:solidFill>
                  <a:schemeClr val="tx1"/>
                </a:solidFill>
                <a:latin typeface="Franklin Gothic Medium Cond" panose="020B0606030402020204" pitchFamily="34" charset="0"/>
              </a:defRPr>
            </a:lvl1pPr>
          </a:lstStyle>
          <a:p>
            <a:fld id="{BFA19188-CCD0-4FFB-8DFB-60D3E72DC0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Box 39"/>
          <p:cNvSpPr txBox="1"/>
          <p:nvPr userDrawn="1"/>
        </p:nvSpPr>
        <p:spPr>
          <a:xfrm>
            <a:off x="664365" y="6642558"/>
            <a:ext cx="10863276" cy="2077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900" dirty="0"/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126487648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838200" y="292231"/>
            <a:ext cx="10515600" cy="5884732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6206" indent="-126206">
              <a:buClr>
                <a:srgbClr val="071D49"/>
              </a:buCl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85763" indent="-126206">
              <a:buClr>
                <a:srgbClr val="081538"/>
              </a:buClr>
              <a:buFont typeface="Arial" panose="020B0604020202020204" pitchFamily="34" charset="0"/>
              <a:buChar char="−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45319" indent="-133350">
              <a:buClr>
                <a:srgbClr val="081538"/>
              </a:buClr>
              <a:buFont typeface="Arial" panose="020B0604020202020204" pitchFamily="34" charset="0"/>
              <a:buChar char="−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58441" indent="-132160">
              <a:buClr>
                <a:srgbClr val="081538"/>
              </a:buClr>
              <a:buFont typeface="Arial" panose="020B0604020202020204" pitchFamily="34" charset="0"/>
              <a:buChar char="−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264321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1154B02-468B-4674-B816-EAD71BCC89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92231"/>
            <a:ext cx="10515600" cy="5884732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26206" indent="-126206">
              <a:buClr>
                <a:srgbClr val="071D49"/>
              </a:buCl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85763" indent="-126206">
              <a:buClr>
                <a:srgbClr val="081538"/>
              </a:buClr>
              <a:buFont typeface="Arial" panose="020B0604020202020204" pitchFamily="34" charset="0"/>
              <a:buChar char="−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45319" indent="-133350">
              <a:buClr>
                <a:srgbClr val="081538"/>
              </a:buClr>
              <a:buFont typeface="Arial" panose="020B0604020202020204" pitchFamily="34" charset="0"/>
              <a:buChar char="−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58441" indent="-132160">
              <a:buClr>
                <a:srgbClr val="081538"/>
              </a:buClr>
              <a:buFont typeface="Arial" panose="020B0604020202020204" pitchFamily="34" charset="0"/>
              <a:buChar char="−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9194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 userDrawn="1">
          <p15:clr>
            <a:srgbClr val="FBAE40"/>
          </p15:clr>
        </p15:guide>
        <p15:guide id="2" pos="5120" userDrawn="1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92232"/>
            <a:ext cx="10515600" cy="11395135"/>
          </a:xfrm>
        </p:spPr>
        <p:txBody>
          <a:bodyPr>
            <a:normAutofit/>
          </a:bodyPr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 rot="16200000">
            <a:off x="-2300443" y="2560469"/>
            <a:ext cx="5457944" cy="600961"/>
          </a:xfrm>
        </p:spPr>
        <p:txBody>
          <a:bodyPr>
            <a:noAutofit/>
          </a:bodyPr>
          <a:lstStyle>
            <a:lvl1pPr algn="r">
              <a:defRPr sz="21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516089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536449" y="1331386"/>
            <a:ext cx="10988803" cy="4654549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914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50936" y="762000"/>
            <a:ext cx="10481733" cy="254000"/>
          </a:xfrm>
        </p:spPr>
        <p:txBody>
          <a:bodyPr lIns="0" rIns="0" anchor="ctr"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9407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209211" cy="6867144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2" y="2645779"/>
            <a:ext cx="12225468" cy="1583037"/>
            <a:chOff x="0" y="459365"/>
            <a:chExt cx="9144000" cy="1583037"/>
          </a:xfrm>
        </p:grpSpPr>
        <p:sp>
          <p:nvSpPr>
            <p:cNvPr id="9" name="Rectangle 8"/>
            <p:cNvSpPr/>
            <p:nvPr userDrawn="1"/>
          </p:nvSpPr>
          <p:spPr>
            <a:xfrm>
              <a:off x="0" y="473081"/>
              <a:ext cx="9144000" cy="15693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67" dirty="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0" y="459365"/>
              <a:ext cx="9144000" cy="27432"/>
            </a:xfrm>
            <a:prstGeom prst="rect">
              <a:avLst/>
            </a:prstGeom>
            <a:solidFill>
              <a:srgbClr val="66C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en-US" sz="1867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0" y="2014078"/>
              <a:ext cx="9144000" cy="27432"/>
            </a:xfrm>
            <a:prstGeom prst="rect">
              <a:avLst/>
            </a:prstGeom>
            <a:solidFill>
              <a:srgbClr val="66C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en-US" sz="1867" dirty="0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536449" y="2962656"/>
            <a:ext cx="10988803" cy="73152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558820" y="3611880"/>
            <a:ext cx="10988803" cy="301752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150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552453" y="4425696"/>
            <a:ext cx="10972801" cy="960120"/>
          </a:xfrm>
        </p:spPr>
        <p:txBody>
          <a:bodyPr lIns="0" anchor="ctr">
            <a:normAutofit/>
          </a:bodyPr>
          <a:lstStyle>
            <a:lvl1pPr marL="0" indent="0">
              <a:buNone/>
              <a:defRPr sz="1400">
                <a:solidFill>
                  <a:srgbClr val="5D686B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3911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209211" cy="686714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1" y="2682357"/>
            <a:ext cx="12226144" cy="1546461"/>
          </a:xfrm>
          <a:prstGeom prst="rect">
            <a:avLst/>
          </a:prstGeom>
          <a:solidFill>
            <a:srgbClr val="005BA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536449" y="2962656"/>
            <a:ext cx="10988803" cy="731520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558820" y="3611880"/>
            <a:ext cx="10988803" cy="301752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552451" y="4425696"/>
            <a:ext cx="10972800" cy="960120"/>
          </a:xfrm>
        </p:spPr>
        <p:txBody>
          <a:bodyPr lIns="0" rIns="0" anchor="ctr">
            <a:normAutofit/>
          </a:bodyPr>
          <a:lstStyle>
            <a:lvl1pPr marL="0" indent="0">
              <a:buNone/>
              <a:defRPr sz="1400">
                <a:solidFill>
                  <a:srgbClr val="5D686B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7562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209211" cy="686714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2" y="2551331"/>
            <a:ext cx="12225468" cy="431498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536449" y="2962656"/>
            <a:ext cx="10988803" cy="73152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558820" y="3611880"/>
            <a:ext cx="10988803" cy="301752"/>
          </a:xfrm>
        </p:spPr>
        <p:txBody>
          <a:bodyPr lIns="0" rIns="0">
            <a:noAutofit/>
          </a:bodyPr>
          <a:lstStyle>
            <a:lvl1pPr marL="0" indent="0" algn="l">
              <a:buNone/>
              <a:defRPr sz="150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0"/>
          </p:nvPr>
        </p:nvSpPr>
        <p:spPr>
          <a:xfrm>
            <a:off x="536448" y="5986467"/>
            <a:ext cx="9623552" cy="60422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Rectangle 17"/>
          <p:cNvSpPr/>
          <p:nvPr userDrawn="1"/>
        </p:nvSpPr>
        <p:spPr>
          <a:xfrm rot="10800000" flipH="1" flipV="1">
            <a:off x="1" y="2543015"/>
            <a:ext cx="11959928" cy="27432"/>
          </a:xfrm>
          <a:prstGeom prst="rect">
            <a:avLst/>
          </a:prstGeom>
          <a:gradFill flip="none" rotWithShape="1">
            <a:gsLst>
              <a:gs pos="0">
                <a:srgbClr val="66CC00">
                  <a:alpha val="50000"/>
                </a:srgbClr>
              </a:gs>
              <a:gs pos="10000">
                <a:srgbClr val="66CC00"/>
              </a:gs>
              <a:gs pos="20000">
                <a:srgbClr val="66CC00"/>
              </a:gs>
              <a:gs pos="100000">
                <a:srgbClr val="66CC00">
                  <a:alpha val="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lvl="0" algn="ctr"/>
            <a:endParaRPr lang="en-US" sz="1867" dirty="0"/>
          </a:p>
        </p:txBody>
      </p:sp>
    </p:spTree>
    <p:extLst>
      <p:ext uri="{BB962C8B-B14F-4D97-AF65-F5344CB8AC3E}">
        <p14:creationId xmlns:p14="http://schemas.microsoft.com/office/powerpoint/2010/main" val="3903271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8000" y="0"/>
            <a:ext cx="12209211" cy="6867144"/>
          </a:xfrm>
          <a:prstGeom prst="rect">
            <a:avLst/>
          </a:prstGeom>
        </p:spPr>
      </p:pic>
      <p:sp>
        <p:nvSpPr>
          <p:cNvPr id="14" name="Footer Placeholder 1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2" name="Group 31"/>
          <p:cNvGrpSpPr>
            <a:grpSpLocks noChangeAspect="1"/>
          </p:cNvGrpSpPr>
          <p:nvPr userDrawn="1"/>
        </p:nvGrpSpPr>
        <p:grpSpPr>
          <a:xfrm>
            <a:off x="-936844" y="300836"/>
            <a:ext cx="9490923" cy="6335039"/>
            <a:chOff x="-501673" y="568485"/>
            <a:chExt cx="6238347" cy="4163997"/>
          </a:xfrm>
        </p:grpSpPr>
        <p:sp>
          <p:nvSpPr>
            <p:cNvPr id="33" name="Freeform 32"/>
            <p:cNvSpPr>
              <a:spLocks/>
            </p:cNvSpPr>
            <p:nvPr userDrawn="1"/>
          </p:nvSpPr>
          <p:spPr bwMode="auto">
            <a:xfrm flipH="1" flipV="1">
              <a:off x="1619387" y="568485"/>
              <a:ext cx="4117287" cy="4163997"/>
            </a:xfrm>
            <a:custGeom>
              <a:avLst/>
              <a:gdLst>
                <a:gd name="T0" fmla="*/ 777 w 782"/>
                <a:gd name="T1" fmla="*/ 478 h 789"/>
                <a:gd name="T2" fmla="*/ 584 w 782"/>
                <a:gd name="T3" fmla="*/ 735 h 789"/>
                <a:gd name="T4" fmla="*/ 422 w 782"/>
                <a:gd name="T5" fmla="*/ 782 h 789"/>
                <a:gd name="T6" fmla="*/ 142 w 782"/>
                <a:gd name="T7" fmla="*/ 689 h 789"/>
                <a:gd name="T8" fmla="*/ 11 w 782"/>
                <a:gd name="T9" fmla="*/ 449 h 789"/>
                <a:gd name="T10" fmla="*/ 36 w 782"/>
                <a:gd name="T11" fmla="*/ 246 h 789"/>
                <a:gd name="T12" fmla="*/ 90 w 782"/>
                <a:gd name="T13" fmla="*/ 153 h 789"/>
                <a:gd name="T14" fmla="*/ 141 w 782"/>
                <a:gd name="T15" fmla="*/ 99 h 789"/>
                <a:gd name="T16" fmla="*/ 342 w 782"/>
                <a:gd name="T17" fmla="*/ 7 h 789"/>
                <a:gd name="T18" fmla="*/ 488 w 782"/>
                <a:gd name="T19" fmla="*/ 14 h 789"/>
                <a:gd name="T20" fmla="*/ 496 w 782"/>
                <a:gd name="T21" fmla="*/ 18 h 789"/>
                <a:gd name="T22" fmla="*/ 487 w 782"/>
                <a:gd name="T23" fmla="*/ 18 h 789"/>
                <a:gd name="T24" fmla="*/ 397 w 782"/>
                <a:gd name="T25" fmla="*/ 10 h 789"/>
                <a:gd name="T26" fmla="*/ 216 w 782"/>
                <a:gd name="T27" fmla="*/ 64 h 789"/>
                <a:gd name="T28" fmla="*/ 125 w 782"/>
                <a:gd name="T29" fmla="*/ 144 h 789"/>
                <a:gd name="T30" fmla="*/ 43 w 782"/>
                <a:gd name="T31" fmla="*/ 336 h 789"/>
                <a:gd name="T32" fmla="*/ 133 w 782"/>
                <a:gd name="T33" fmla="*/ 623 h 789"/>
                <a:gd name="T34" fmla="*/ 362 w 782"/>
                <a:gd name="T35" fmla="*/ 745 h 789"/>
                <a:gd name="T36" fmla="*/ 580 w 782"/>
                <a:gd name="T37" fmla="*/ 707 h 789"/>
                <a:gd name="T38" fmla="*/ 775 w 782"/>
                <a:gd name="T39" fmla="*/ 432 h 789"/>
                <a:gd name="T40" fmla="*/ 777 w 782"/>
                <a:gd name="T41" fmla="*/ 478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2" h="789">
                  <a:moveTo>
                    <a:pt x="777" y="478"/>
                  </a:moveTo>
                  <a:cubicBezTo>
                    <a:pt x="750" y="592"/>
                    <a:pt x="686" y="678"/>
                    <a:pt x="584" y="735"/>
                  </a:cubicBezTo>
                  <a:cubicBezTo>
                    <a:pt x="534" y="764"/>
                    <a:pt x="479" y="779"/>
                    <a:pt x="422" y="782"/>
                  </a:cubicBezTo>
                  <a:cubicBezTo>
                    <a:pt x="316" y="789"/>
                    <a:pt x="222" y="757"/>
                    <a:pt x="142" y="689"/>
                  </a:cubicBezTo>
                  <a:cubicBezTo>
                    <a:pt x="68" y="626"/>
                    <a:pt x="25" y="545"/>
                    <a:pt x="11" y="449"/>
                  </a:cubicBezTo>
                  <a:cubicBezTo>
                    <a:pt x="0" y="379"/>
                    <a:pt x="9" y="311"/>
                    <a:pt x="36" y="246"/>
                  </a:cubicBezTo>
                  <a:cubicBezTo>
                    <a:pt x="49" y="212"/>
                    <a:pt x="68" y="181"/>
                    <a:pt x="90" y="153"/>
                  </a:cubicBezTo>
                  <a:cubicBezTo>
                    <a:pt x="106" y="133"/>
                    <a:pt x="122" y="115"/>
                    <a:pt x="141" y="99"/>
                  </a:cubicBezTo>
                  <a:cubicBezTo>
                    <a:pt x="199" y="50"/>
                    <a:pt x="266" y="18"/>
                    <a:pt x="342" y="7"/>
                  </a:cubicBezTo>
                  <a:cubicBezTo>
                    <a:pt x="391" y="0"/>
                    <a:pt x="440" y="2"/>
                    <a:pt x="488" y="14"/>
                  </a:cubicBezTo>
                  <a:cubicBezTo>
                    <a:pt x="491" y="15"/>
                    <a:pt x="497" y="14"/>
                    <a:pt x="496" y="18"/>
                  </a:cubicBezTo>
                  <a:cubicBezTo>
                    <a:pt x="495" y="21"/>
                    <a:pt x="490" y="18"/>
                    <a:pt x="487" y="18"/>
                  </a:cubicBezTo>
                  <a:cubicBezTo>
                    <a:pt x="457" y="12"/>
                    <a:pt x="427" y="8"/>
                    <a:pt x="397" y="10"/>
                  </a:cubicBezTo>
                  <a:cubicBezTo>
                    <a:pt x="332" y="13"/>
                    <a:pt x="272" y="30"/>
                    <a:pt x="216" y="64"/>
                  </a:cubicBezTo>
                  <a:cubicBezTo>
                    <a:pt x="181" y="85"/>
                    <a:pt x="151" y="112"/>
                    <a:pt x="125" y="144"/>
                  </a:cubicBezTo>
                  <a:cubicBezTo>
                    <a:pt x="78" y="200"/>
                    <a:pt x="51" y="264"/>
                    <a:pt x="43" y="336"/>
                  </a:cubicBezTo>
                  <a:cubicBezTo>
                    <a:pt x="32" y="445"/>
                    <a:pt x="61" y="541"/>
                    <a:pt x="133" y="623"/>
                  </a:cubicBezTo>
                  <a:cubicBezTo>
                    <a:pt x="193" y="692"/>
                    <a:pt x="270" y="733"/>
                    <a:pt x="362" y="745"/>
                  </a:cubicBezTo>
                  <a:cubicBezTo>
                    <a:pt x="438" y="755"/>
                    <a:pt x="512" y="743"/>
                    <a:pt x="580" y="707"/>
                  </a:cubicBezTo>
                  <a:cubicBezTo>
                    <a:pt x="690" y="648"/>
                    <a:pt x="755" y="556"/>
                    <a:pt x="775" y="432"/>
                  </a:cubicBezTo>
                  <a:cubicBezTo>
                    <a:pt x="782" y="388"/>
                    <a:pt x="780" y="468"/>
                    <a:pt x="777" y="478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shade val="51000"/>
                    <a:satMod val="130000"/>
                    <a:lumMod val="67000"/>
                    <a:lumOff val="33000"/>
                    <a:alpha val="4000"/>
                  </a:schemeClr>
                </a:gs>
                <a:gs pos="80000">
                  <a:schemeClr val="accent1">
                    <a:shade val="93000"/>
                    <a:satMod val="130000"/>
                    <a:lumMod val="67000"/>
                    <a:lumOff val="33000"/>
                    <a:alpha val="20000"/>
                  </a:schemeClr>
                </a:gs>
                <a:gs pos="100000">
                  <a:schemeClr val="accent1">
                    <a:shade val="94000"/>
                    <a:satMod val="135000"/>
                    <a:lumMod val="67000"/>
                    <a:lumOff val="33000"/>
                    <a:alpha val="22000"/>
                  </a:schemeClr>
                </a:gs>
              </a:gsLst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67" dirty="0">
                <a:gradFill>
                  <a:gsLst>
                    <a:gs pos="45000">
                      <a:schemeClr val="bg2">
                        <a:alpha val="41000"/>
                      </a:schemeClr>
                    </a:gs>
                    <a:gs pos="24000">
                      <a:schemeClr val="bg2">
                        <a:lumMod val="90000"/>
                        <a:alpha val="20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48000"/>
                      </a:srgbClr>
                    </a:gs>
                    <a:gs pos="88000">
                      <a:schemeClr val="bg2">
                        <a:alpha val="46000"/>
                      </a:schemeClr>
                    </a:gs>
                    <a:gs pos="77000">
                      <a:schemeClr val="bg2">
                        <a:alpha val="55000"/>
                      </a:schemeClr>
                    </a:gs>
                  </a:gsLst>
                  <a:lin ang="5400000" scaled="1"/>
                </a:gradFill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-501673" y="568485"/>
              <a:ext cx="4117287" cy="4163997"/>
            </a:xfrm>
            <a:custGeom>
              <a:avLst/>
              <a:gdLst>
                <a:gd name="T0" fmla="*/ 777 w 782"/>
                <a:gd name="T1" fmla="*/ 478 h 789"/>
                <a:gd name="T2" fmla="*/ 584 w 782"/>
                <a:gd name="T3" fmla="*/ 735 h 789"/>
                <a:gd name="T4" fmla="*/ 422 w 782"/>
                <a:gd name="T5" fmla="*/ 782 h 789"/>
                <a:gd name="T6" fmla="*/ 142 w 782"/>
                <a:gd name="T7" fmla="*/ 689 h 789"/>
                <a:gd name="T8" fmla="*/ 11 w 782"/>
                <a:gd name="T9" fmla="*/ 449 h 789"/>
                <a:gd name="T10" fmla="*/ 36 w 782"/>
                <a:gd name="T11" fmla="*/ 246 h 789"/>
                <a:gd name="T12" fmla="*/ 90 w 782"/>
                <a:gd name="T13" fmla="*/ 153 h 789"/>
                <a:gd name="T14" fmla="*/ 141 w 782"/>
                <a:gd name="T15" fmla="*/ 99 h 789"/>
                <a:gd name="T16" fmla="*/ 342 w 782"/>
                <a:gd name="T17" fmla="*/ 7 h 789"/>
                <a:gd name="T18" fmla="*/ 488 w 782"/>
                <a:gd name="T19" fmla="*/ 14 h 789"/>
                <a:gd name="T20" fmla="*/ 496 w 782"/>
                <a:gd name="T21" fmla="*/ 18 h 789"/>
                <a:gd name="T22" fmla="*/ 487 w 782"/>
                <a:gd name="T23" fmla="*/ 18 h 789"/>
                <a:gd name="T24" fmla="*/ 397 w 782"/>
                <a:gd name="T25" fmla="*/ 10 h 789"/>
                <a:gd name="T26" fmla="*/ 216 w 782"/>
                <a:gd name="T27" fmla="*/ 64 h 789"/>
                <a:gd name="T28" fmla="*/ 125 w 782"/>
                <a:gd name="T29" fmla="*/ 144 h 789"/>
                <a:gd name="T30" fmla="*/ 43 w 782"/>
                <a:gd name="T31" fmla="*/ 336 h 789"/>
                <a:gd name="T32" fmla="*/ 133 w 782"/>
                <a:gd name="T33" fmla="*/ 623 h 789"/>
                <a:gd name="T34" fmla="*/ 362 w 782"/>
                <a:gd name="T35" fmla="*/ 745 h 789"/>
                <a:gd name="T36" fmla="*/ 580 w 782"/>
                <a:gd name="T37" fmla="*/ 707 h 789"/>
                <a:gd name="T38" fmla="*/ 775 w 782"/>
                <a:gd name="T39" fmla="*/ 432 h 789"/>
                <a:gd name="T40" fmla="*/ 777 w 782"/>
                <a:gd name="T41" fmla="*/ 478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2" h="789">
                  <a:moveTo>
                    <a:pt x="777" y="478"/>
                  </a:moveTo>
                  <a:cubicBezTo>
                    <a:pt x="750" y="592"/>
                    <a:pt x="686" y="678"/>
                    <a:pt x="584" y="735"/>
                  </a:cubicBezTo>
                  <a:cubicBezTo>
                    <a:pt x="534" y="764"/>
                    <a:pt x="479" y="779"/>
                    <a:pt x="422" y="782"/>
                  </a:cubicBezTo>
                  <a:cubicBezTo>
                    <a:pt x="316" y="789"/>
                    <a:pt x="222" y="757"/>
                    <a:pt x="142" y="689"/>
                  </a:cubicBezTo>
                  <a:cubicBezTo>
                    <a:pt x="68" y="626"/>
                    <a:pt x="25" y="545"/>
                    <a:pt x="11" y="449"/>
                  </a:cubicBezTo>
                  <a:cubicBezTo>
                    <a:pt x="0" y="379"/>
                    <a:pt x="9" y="311"/>
                    <a:pt x="36" y="246"/>
                  </a:cubicBezTo>
                  <a:cubicBezTo>
                    <a:pt x="49" y="212"/>
                    <a:pt x="68" y="181"/>
                    <a:pt x="90" y="153"/>
                  </a:cubicBezTo>
                  <a:cubicBezTo>
                    <a:pt x="106" y="133"/>
                    <a:pt x="122" y="115"/>
                    <a:pt x="141" y="99"/>
                  </a:cubicBezTo>
                  <a:cubicBezTo>
                    <a:pt x="199" y="50"/>
                    <a:pt x="266" y="18"/>
                    <a:pt x="342" y="7"/>
                  </a:cubicBezTo>
                  <a:cubicBezTo>
                    <a:pt x="391" y="0"/>
                    <a:pt x="440" y="2"/>
                    <a:pt x="488" y="14"/>
                  </a:cubicBezTo>
                  <a:cubicBezTo>
                    <a:pt x="491" y="15"/>
                    <a:pt x="497" y="14"/>
                    <a:pt x="496" y="18"/>
                  </a:cubicBezTo>
                  <a:cubicBezTo>
                    <a:pt x="495" y="21"/>
                    <a:pt x="490" y="18"/>
                    <a:pt x="487" y="18"/>
                  </a:cubicBezTo>
                  <a:cubicBezTo>
                    <a:pt x="457" y="12"/>
                    <a:pt x="427" y="8"/>
                    <a:pt x="397" y="10"/>
                  </a:cubicBezTo>
                  <a:cubicBezTo>
                    <a:pt x="332" y="13"/>
                    <a:pt x="272" y="30"/>
                    <a:pt x="216" y="64"/>
                  </a:cubicBezTo>
                  <a:cubicBezTo>
                    <a:pt x="181" y="85"/>
                    <a:pt x="151" y="112"/>
                    <a:pt x="125" y="144"/>
                  </a:cubicBezTo>
                  <a:cubicBezTo>
                    <a:pt x="78" y="200"/>
                    <a:pt x="51" y="264"/>
                    <a:pt x="43" y="336"/>
                  </a:cubicBezTo>
                  <a:cubicBezTo>
                    <a:pt x="32" y="445"/>
                    <a:pt x="61" y="541"/>
                    <a:pt x="133" y="623"/>
                  </a:cubicBezTo>
                  <a:cubicBezTo>
                    <a:pt x="193" y="692"/>
                    <a:pt x="270" y="733"/>
                    <a:pt x="362" y="745"/>
                  </a:cubicBezTo>
                  <a:cubicBezTo>
                    <a:pt x="438" y="755"/>
                    <a:pt x="512" y="743"/>
                    <a:pt x="580" y="707"/>
                  </a:cubicBezTo>
                  <a:cubicBezTo>
                    <a:pt x="690" y="648"/>
                    <a:pt x="755" y="556"/>
                    <a:pt x="775" y="432"/>
                  </a:cubicBezTo>
                  <a:cubicBezTo>
                    <a:pt x="782" y="388"/>
                    <a:pt x="780" y="468"/>
                    <a:pt x="777" y="478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shade val="51000"/>
                    <a:satMod val="130000"/>
                    <a:lumMod val="67000"/>
                    <a:lumOff val="33000"/>
                    <a:alpha val="8000"/>
                  </a:schemeClr>
                </a:gs>
                <a:gs pos="70000">
                  <a:schemeClr val="accent1">
                    <a:shade val="93000"/>
                    <a:satMod val="130000"/>
                    <a:lumMod val="67000"/>
                    <a:lumOff val="33000"/>
                    <a:alpha val="7000"/>
                  </a:schemeClr>
                </a:gs>
                <a:gs pos="100000">
                  <a:schemeClr val="accent1">
                    <a:shade val="94000"/>
                    <a:satMod val="135000"/>
                    <a:lumMod val="67000"/>
                    <a:lumOff val="33000"/>
                    <a:alpha val="33000"/>
                  </a:schemeClr>
                </a:gs>
              </a:gsLst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67" dirty="0">
                <a:gradFill>
                  <a:gsLst>
                    <a:gs pos="45000">
                      <a:schemeClr val="bg2">
                        <a:alpha val="41000"/>
                      </a:schemeClr>
                    </a:gs>
                    <a:gs pos="24000">
                      <a:schemeClr val="bg2">
                        <a:lumMod val="90000"/>
                        <a:alpha val="20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48000"/>
                      </a:srgbClr>
                    </a:gs>
                    <a:gs pos="88000">
                      <a:schemeClr val="bg2">
                        <a:alpha val="46000"/>
                      </a:schemeClr>
                    </a:gs>
                    <a:gs pos="77000">
                      <a:schemeClr val="bg2">
                        <a:alpha val="55000"/>
                      </a:schemeClr>
                    </a:gs>
                  </a:gsLst>
                  <a:lin ang="5400000" scaled="1"/>
                </a:gra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1085089" y="2706624"/>
            <a:ext cx="10440163" cy="73152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1107460" y="3364992"/>
            <a:ext cx="10440163" cy="301752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1100">
                <a:solidFill>
                  <a:srgbClr val="5D686B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Text Placeholder 16"/>
          <p:cNvSpPr>
            <a:spLocks noGrp="1"/>
          </p:cNvSpPr>
          <p:nvPr userDrawn="1">
            <p:ph type="body" sz="quarter" idx="12"/>
          </p:nvPr>
        </p:nvSpPr>
        <p:spPr>
          <a:xfrm>
            <a:off x="1107460" y="3758184"/>
            <a:ext cx="10440163" cy="960120"/>
          </a:xfrm>
        </p:spPr>
        <p:txBody>
          <a:bodyPr lIns="0" rIns="0" anchor="ctr">
            <a:normAutofit/>
          </a:bodyPr>
          <a:lstStyle>
            <a:lvl1pPr marL="0" indent="0">
              <a:buNone/>
              <a:defRPr sz="1200">
                <a:solidFill>
                  <a:srgbClr val="5D686B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87" name="Group 86"/>
          <p:cNvGrpSpPr/>
          <p:nvPr userDrawn="1"/>
        </p:nvGrpSpPr>
        <p:grpSpPr>
          <a:xfrm>
            <a:off x="638745" y="1475232"/>
            <a:ext cx="75331" cy="3779520"/>
            <a:chOff x="445110" y="973181"/>
            <a:chExt cx="56498" cy="4660717"/>
          </a:xfrm>
        </p:grpSpPr>
        <p:sp>
          <p:nvSpPr>
            <p:cNvPr id="88" name="Rectangle 87"/>
            <p:cNvSpPr/>
            <p:nvPr userDrawn="1"/>
          </p:nvSpPr>
          <p:spPr>
            <a:xfrm rot="5400000" flipV="1">
              <a:off x="-1798108" y="3245465"/>
              <a:ext cx="4572000" cy="27432"/>
            </a:xfrm>
            <a:prstGeom prst="rect">
              <a:avLst/>
            </a:prstGeom>
            <a:gradFill flip="none" rotWithShape="1">
              <a:gsLst>
                <a:gs pos="0">
                  <a:srgbClr val="66CC00">
                    <a:alpha val="0"/>
                  </a:srgbClr>
                </a:gs>
                <a:gs pos="36000">
                  <a:srgbClr val="66CC00"/>
                </a:gs>
                <a:gs pos="62000">
                  <a:srgbClr val="66CC00"/>
                </a:gs>
                <a:gs pos="100000">
                  <a:srgbClr val="66CC00">
                    <a:alpha val="0"/>
                  </a:srgb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en-US" sz="1867" dirty="0"/>
            </a:p>
          </p:txBody>
        </p:sp>
        <p:sp>
          <p:nvSpPr>
            <p:cNvPr id="89" name="Rectangle 88"/>
            <p:cNvSpPr/>
            <p:nvPr userDrawn="1"/>
          </p:nvSpPr>
          <p:spPr>
            <a:xfrm rot="5400000" flipV="1">
              <a:off x="-1827174" y="3334182"/>
              <a:ext cx="4572000" cy="27432"/>
            </a:xfrm>
            <a:prstGeom prst="rect">
              <a:avLst/>
            </a:prstGeom>
            <a:gradFill flip="none" rotWithShape="1">
              <a:gsLst>
                <a:gs pos="0">
                  <a:srgbClr val="005BAB">
                    <a:alpha val="0"/>
                  </a:srgbClr>
                </a:gs>
                <a:gs pos="36000">
                  <a:srgbClr val="005BAB"/>
                </a:gs>
                <a:gs pos="62000">
                  <a:srgbClr val="005BAB"/>
                </a:gs>
                <a:gs pos="100000">
                  <a:srgbClr val="005BAB">
                    <a:alpha val="0"/>
                  </a:srgb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en-US" sz="1867" dirty="0"/>
            </a:p>
          </p:txBody>
        </p:sp>
      </p:grpSp>
      <p:sp>
        <p:nvSpPr>
          <p:cNvPr id="9" name="Rectangle 8"/>
          <p:cNvSpPr/>
          <p:nvPr userDrawn="1"/>
        </p:nvSpPr>
        <p:spPr>
          <a:xfrm>
            <a:off x="-936842" y="0"/>
            <a:ext cx="888844" cy="6867144"/>
          </a:xfrm>
          <a:prstGeom prst="rect">
            <a:avLst/>
          </a:prstGeom>
          <a:solidFill>
            <a:srgbClr val="DA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 dirty="0"/>
          </a:p>
        </p:txBody>
      </p:sp>
    </p:spTree>
    <p:extLst>
      <p:ext uri="{BB962C8B-B14F-4D97-AF65-F5344CB8AC3E}">
        <p14:creationId xmlns:p14="http://schemas.microsoft.com/office/powerpoint/2010/main" val="62654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209211" cy="6867144"/>
          </a:xfrm>
          <a:prstGeom prst="rect">
            <a:avLst/>
          </a:prstGeom>
        </p:spPr>
      </p:pic>
      <p:grpSp>
        <p:nvGrpSpPr>
          <p:cNvPr id="4" name="Group 3"/>
          <p:cNvGrpSpPr/>
          <p:nvPr userDrawn="1"/>
        </p:nvGrpSpPr>
        <p:grpSpPr>
          <a:xfrm>
            <a:off x="2500717" y="922866"/>
            <a:ext cx="7536595" cy="5030556"/>
            <a:chOff x="-501673" y="568485"/>
            <a:chExt cx="6238347" cy="4163997"/>
          </a:xfrm>
          <a:gradFill>
            <a:gsLst>
              <a:gs pos="45000">
                <a:schemeClr val="bg2">
                  <a:alpha val="41000"/>
                </a:schemeClr>
              </a:gs>
              <a:gs pos="24000">
                <a:schemeClr val="bg2">
                  <a:lumMod val="90000"/>
                  <a:alpha val="11000"/>
                </a:schemeClr>
              </a:gs>
              <a:gs pos="0">
                <a:srgbClr val="F5F9FA"/>
              </a:gs>
              <a:gs pos="100000">
                <a:srgbClr val="F5F9FA">
                  <a:alpha val="48000"/>
                </a:srgbClr>
              </a:gs>
              <a:gs pos="88000">
                <a:schemeClr val="bg2">
                  <a:alpha val="46000"/>
                </a:schemeClr>
              </a:gs>
              <a:gs pos="77000">
                <a:schemeClr val="bg2">
                  <a:alpha val="55000"/>
                </a:schemeClr>
              </a:gs>
            </a:gsLst>
            <a:lin ang="5400000" scaled="1"/>
          </a:gradFill>
          <a:scene3d>
            <a:camera prst="orthographicFront"/>
            <a:lightRig rig="flat" dir="t"/>
          </a:scene3d>
        </p:grpSpPr>
        <p:sp>
          <p:nvSpPr>
            <p:cNvPr id="28" name="Freeform 27"/>
            <p:cNvSpPr>
              <a:spLocks/>
            </p:cNvSpPr>
            <p:nvPr userDrawn="1"/>
          </p:nvSpPr>
          <p:spPr bwMode="auto">
            <a:xfrm flipH="1" flipV="1">
              <a:off x="1619387" y="568485"/>
              <a:ext cx="4117287" cy="4163997"/>
            </a:xfrm>
            <a:custGeom>
              <a:avLst/>
              <a:gdLst>
                <a:gd name="T0" fmla="*/ 777 w 782"/>
                <a:gd name="T1" fmla="*/ 478 h 789"/>
                <a:gd name="T2" fmla="*/ 584 w 782"/>
                <a:gd name="T3" fmla="*/ 735 h 789"/>
                <a:gd name="T4" fmla="*/ 422 w 782"/>
                <a:gd name="T5" fmla="*/ 782 h 789"/>
                <a:gd name="T6" fmla="*/ 142 w 782"/>
                <a:gd name="T7" fmla="*/ 689 h 789"/>
                <a:gd name="T8" fmla="*/ 11 w 782"/>
                <a:gd name="T9" fmla="*/ 449 h 789"/>
                <a:gd name="T10" fmla="*/ 36 w 782"/>
                <a:gd name="T11" fmla="*/ 246 h 789"/>
                <a:gd name="T12" fmla="*/ 90 w 782"/>
                <a:gd name="T13" fmla="*/ 153 h 789"/>
                <a:gd name="T14" fmla="*/ 141 w 782"/>
                <a:gd name="T15" fmla="*/ 99 h 789"/>
                <a:gd name="T16" fmla="*/ 342 w 782"/>
                <a:gd name="T17" fmla="*/ 7 h 789"/>
                <a:gd name="T18" fmla="*/ 488 w 782"/>
                <a:gd name="T19" fmla="*/ 14 h 789"/>
                <a:gd name="T20" fmla="*/ 496 w 782"/>
                <a:gd name="T21" fmla="*/ 18 h 789"/>
                <a:gd name="T22" fmla="*/ 487 w 782"/>
                <a:gd name="T23" fmla="*/ 18 h 789"/>
                <a:gd name="T24" fmla="*/ 397 w 782"/>
                <a:gd name="T25" fmla="*/ 10 h 789"/>
                <a:gd name="T26" fmla="*/ 216 w 782"/>
                <a:gd name="T27" fmla="*/ 64 h 789"/>
                <a:gd name="T28" fmla="*/ 125 w 782"/>
                <a:gd name="T29" fmla="*/ 144 h 789"/>
                <a:gd name="T30" fmla="*/ 43 w 782"/>
                <a:gd name="T31" fmla="*/ 336 h 789"/>
                <a:gd name="T32" fmla="*/ 133 w 782"/>
                <a:gd name="T33" fmla="*/ 623 h 789"/>
                <a:gd name="T34" fmla="*/ 362 w 782"/>
                <a:gd name="T35" fmla="*/ 745 h 789"/>
                <a:gd name="T36" fmla="*/ 580 w 782"/>
                <a:gd name="T37" fmla="*/ 707 h 789"/>
                <a:gd name="T38" fmla="*/ 775 w 782"/>
                <a:gd name="T39" fmla="*/ 432 h 789"/>
                <a:gd name="T40" fmla="*/ 777 w 782"/>
                <a:gd name="T41" fmla="*/ 478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2" h="789">
                  <a:moveTo>
                    <a:pt x="777" y="478"/>
                  </a:moveTo>
                  <a:cubicBezTo>
                    <a:pt x="750" y="592"/>
                    <a:pt x="686" y="678"/>
                    <a:pt x="584" y="735"/>
                  </a:cubicBezTo>
                  <a:cubicBezTo>
                    <a:pt x="534" y="764"/>
                    <a:pt x="479" y="779"/>
                    <a:pt x="422" y="782"/>
                  </a:cubicBezTo>
                  <a:cubicBezTo>
                    <a:pt x="316" y="789"/>
                    <a:pt x="222" y="757"/>
                    <a:pt x="142" y="689"/>
                  </a:cubicBezTo>
                  <a:cubicBezTo>
                    <a:pt x="68" y="626"/>
                    <a:pt x="25" y="545"/>
                    <a:pt x="11" y="449"/>
                  </a:cubicBezTo>
                  <a:cubicBezTo>
                    <a:pt x="0" y="379"/>
                    <a:pt x="9" y="311"/>
                    <a:pt x="36" y="246"/>
                  </a:cubicBezTo>
                  <a:cubicBezTo>
                    <a:pt x="49" y="212"/>
                    <a:pt x="68" y="181"/>
                    <a:pt x="90" y="153"/>
                  </a:cubicBezTo>
                  <a:cubicBezTo>
                    <a:pt x="106" y="133"/>
                    <a:pt x="122" y="115"/>
                    <a:pt x="141" y="99"/>
                  </a:cubicBezTo>
                  <a:cubicBezTo>
                    <a:pt x="199" y="50"/>
                    <a:pt x="266" y="18"/>
                    <a:pt x="342" y="7"/>
                  </a:cubicBezTo>
                  <a:cubicBezTo>
                    <a:pt x="391" y="0"/>
                    <a:pt x="440" y="2"/>
                    <a:pt x="488" y="14"/>
                  </a:cubicBezTo>
                  <a:cubicBezTo>
                    <a:pt x="491" y="15"/>
                    <a:pt x="497" y="14"/>
                    <a:pt x="496" y="18"/>
                  </a:cubicBezTo>
                  <a:cubicBezTo>
                    <a:pt x="495" y="21"/>
                    <a:pt x="490" y="18"/>
                    <a:pt x="487" y="18"/>
                  </a:cubicBezTo>
                  <a:cubicBezTo>
                    <a:pt x="457" y="12"/>
                    <a:pt x="427" y="8"/>
                    <a:pt x="397" y="10"/>
                  </a:cubicBezTo>
                  <a:cubicBezTo>
                    <a:pt x="332" y="13"/>
                    <a:pt x="272" y="30"/>
                    <a:pt x="216" y="64"/>
                  </a:cubicBezTo>
                  <a:cubicBezTo>
                    <a:pt x="181" y="85"/>
                    <a:pt x="151" y="112"/>
                    <a:pt x="125" y="144"/>
                  </a:cubicBezTo>
                  <a:cubicBezTo>
                    <a:pt x="78" y="200"/>
                    <a:pt x="51" y="264"/>
                    <a:pt x="43" y="336"/>
                  </a:cubicBezTo>
                  <a:cubicBezTo>
                    <a:pt x="32" y="445"/>
                    <a:pt x="61" y="541"/>
                    <a:pt x="133" y="623"/>
                  </a:cubicBezTo>
                  <a:cubicBezTo>
                    <a:pt x="193" y="692"/>
                    <a:pt x="270" y="733"/>
                    <a:pt x="362" y="745"/>
                  </a:cubicBezTo>
                  <a:cubicBezTo>
                    <a:pt x="438" y="755"/>
                    <a:pt x="512" y="743"/>
                    <a:pt x="580" y="707"/>
                  </a:cubicBezTo>
                  <a:cubicBezTo>
                    <a:pt x="690" y="648"/>
                    <a:pt x="755" y="556"/>
                    <a:pt x="775" y="432"/>
                  </a:cubicBezTo>
                  <a:cubicBezTo>
                    <a:pt x="782" y="388"/>
                    <a:pt x="780" y="468"/>
                    <a:pt x="777" y="478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shade val="51000"/>
                    <a:satMod val="130000"/>
                    <a:lumMod val="67000"/>
                    <a:lumOff val="33000"/>
                    <a:alpha val="8000"/>
                  </a:schemeClr>
                </a:gs>
                <a:gs pos="70000">
                  <a:schemeClr val="accent1">
                    <a:shade val="93000"/>
                    <a:satMod val="130000"/>
                    <a:lumMod val="67000"/>
                    <a:lumOff val="33000"/>
                    <a:alpha val="7000"/>
                  </a:schemeClr>
                </a:gs>
                <a:gs pos="100000">
                  <a:schemeClr val="accent1">
                    <a:shade val="94000"/>
                    <a:satMod val="135000"/>
                    <a:lumMod val="67000"/>
                    <a:lumOff val="33000"/>
                    <a:alpha val="33000"/>
                  </a:schemeClr>
                </a:gs>
              </a:gsLst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67" dirty="0">
                <a:gradFill>
                  <a:gsLst>
                    <a:gs pos="45000">
                      <a:schemeClr val="bg2">
                        <a:alpha val="41000"/>
                      </a:schemeClr>
                    </a:gs>
                    <a:gs pos="24000">
                      <a:schemeClr val="bg2">
                        <a:lumMod val="90000"/>
                        <a:alpha val="20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48000"/>
                      </a:srgbClr>
                    </a:gs>
                    <a:gs pos="88000">
                      <a:schemeClr val="bg2">
                        <a:alpha val="46000"/>
                      </a:schemeClr>
                    </a:gs>
                    <a:gs pos="77000">
                      <a:schemeClr val="bg2">
                        <a:alpha val="55000"/>
                      </a:schemeClr>
                    </a:gs>
                  </a:gsLst>
                  <a:lin ang="5400000" scaled="1"/>
                </a:gradFill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-501673" y="568485"/>
              <a:ext cx="4117287" cy="4163997"/>
            </a:xfrm>
            <a:custGeom>
              <a:avLst/>
              <a:gdLst>
                <a:gd name="T0" fmla="*/ 777 w 782"/>
                <a:gd name="T1" fmla="*/ 478 h 789"/>
                <a:gd name="T2" fmla="*/ 584 w 782"/>
                <a:gd name="T3" fmla="*/ 735 h 789"/>
                <a:gd name="T4" fmla="*/ 422 w 782"/>
                <a:gd name="T5" fmla="*/ 782 h 789"/>
                <a:gd name="T6" fmla="*/ 142 w 782"/>
                <a:gd name="T7" fmla="*/ 689 h 789"/>
                <a:gd name="T8" fmla="*/ 11 w 782"/>
                <a:gd name="T9" fmla="*/ 449 h 789"/>
                <a:gd name="T10" fmla="*/ 36 w 782"/>
                <a:gd name="T11" fmla="*/ 246 h 789"/>
                <a:gd name="T12" fmla="*/ 90 w 782"/>
                <a:gd name="T13" fmla="*/ 153 h 789"/>
                <a:gd name="T14" fmla="*/ 141 w 782"/>
                <a:gd name="T15" fmla="*/ 99 h 789"/>
                <a:gd name="T16" fmla="*/ 342 w 782"/>
                <a:gd name="T17" fmla="*/ 7 h 789"/>
                <a:gd name="T18" fmla="*/ 488 w 782"/>
                <a:gd name="T19" fmla="*/ 14 h 789"/>
                <a:gd name="T20" fmla="*/ 496 w 782"/>
                <a:gd name="T21" fmla="*/ 18 h 789"/>
                <a:gd name="T22" fmla="*/ 487 w 782"/>
                <a:gd name="T23" fmla="*/ 18 h 789"/>
                <a:gd name="T24" fmla="*/ 397 w 782"/>
                <a:gd name="T25" fmla="*/ 10 h 789"/>
                <a:gd name="T26" fmla="*/ 216 w 782"/>
                <a:gd name="T27" fmla="*/ 64 h 789"/>
                <a:gd name="T28" fmla="*/ 125 w 782"/>
                <a:gd name="T29" fmla="*/ 144 h 789"/>
                <a:gd name="T30" fmla="*/ 43 w 782"/>
                <a:gd name="T31" fmla="*/ 336 h 789"/>
                <a:gd name="T32" fmla="*/ 133 w 782"/>
                <a:gd name="T33" fmla="*/ 623 h 789"/>
                <a:gd name="T34" fmla="*/ 362 w 782"/>
                <a:gd name="T35" fmla="*/ 745 h 789"/>
                <a:gd name="T36" fmla="*/ 580 w 782"/>
                <a:gd name="T37" fmla="*/ 707 h 789"/>
                <a:gd name="T38" fmla="*/ 775 w 782"/>
                <a:gd name="T39" fmla="*/ 432 h 789"/>
                <a:gd name="T40" fmla="*/ 777 w 782"/>
                <a:gd name="T41" fmla="*/ 478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2" h="789">
                  <a:moveTo>
                    <a:pt x="777" y="478"/>
                  </a:moveTo>
                  <a:cubicBezTo>
                    <a:pt x="750" y="592"/>
                    <a:pt x="686" y="678"/>
                    <a:pt x="584" y="735"/>
                  </a:cubicBezTo>
                  <a:cubicBezTo>
                    <a:pt x="534" y="764"/>
                    <a:pt x="479" y="779"/>
                    <a:pt x="422" y="782"/>
                  </a:cubicBezTo>
                  <a:cubicBezTo>
                    <a:pt x="316" y="789"/>
                    <a:pt x="222" y="757"/>
                    <a:pt x="142" y="689"/>
                  </a:cubicBezTo>
                  <a:cubicBezTo>
                    <a:pt x="68" y="626"/>
                    <a:pt x="25" y="545"/>
                    <a:pt x="11" y="449"/>
                  </a:cubicBezTo>
                  <a:cubicBezTo>
                    <a:pt x="0" y="379"/>
                    <a:pt x="9" y="311"/>
                    <a:pt x="36" y="246"/>
                  </a:cubicBezTo>
                  <a:cubicBezTo>
                    <a:pt x="49" y="212"/>
                    <a:pt x="68" y="181"/>
                    <a:pt x="90" y="153"/>
                  </a:cubicBezTo>
                  <a:cubicBezTo>
                    <a:pt x="106" y="133"/>
                    <a:pt x="122" y="115"/>
                    <a:pt x="141" y="99"/>
                  </a:cubicBezTo>
                  <a:cubicBezTo>
                    <a:pt x="199" y="50"/>
                    <a:pt x="266" y="18"/>
                    <a:pt x="342" y="7"/>
                  </a:cubicBezTo>
                  <a:cubicBezTo>
                    <a:pt x="391" y="0"/>
                    <a:pt x="440" y="2"/>
                    <a:pt x="488" y="14"/>
                  </a:cubicBezTo>
                  <a:cubicBezTo>
                    <a:pt x="491" y="15"/>
                    <a:pt x="497" y="14"/>
                    <a:pt x="496" y="18"/>
                  </a:cubicBezTo>
                  <a:cubicBezTo>
                    <a:pt x="495" y="21"/>
                    <a:pt x="490" y="18"/>
                    <a:pt x="487" y="18"/>
                  </a:cubicBezTo>
                  <a:cubicBezTo>
                    <a:pt x="457" y="12"/>
                    <a:pt x="427" y="8"/>
                    <a:pt x="397" y="10"/>
                  </a:cubicBezTo>
                  <a:cubicBezTo>
                    <a:pt x="332" y="13"/>
                    <a:pt x="272" y="30"/>
                    <a:pt x="216" y="64"/>
                  </a:cubicBezTo>
                  <a:cubicBezTo>
                    <a:pt x="181" y="85"/>
                    <a:pt x="151" y="112"/>
                    <a:pt x="125" y="144"/>
                  </a:cubicBezTo>
                  <a:cubicBezTo>
                    <a:pt x="78" y="200"/>
                    <a:pt x="51" y="264"/>
                    <a:pt x="43" y="336"/>
                  </a:cubicBezTo>
                  <a:cubicBezTo>
                    <a:pt x="32" y="445"/>
                    <a:pt x="61" y="541"/>
                    <a:pt x="133" y="623"/>
                  </a:cubicBezTo>
                  <a:cubicBezTo>
                    <a:pt x="193" y="692"/>
                    <a:pt x="270" y="733"/>
                    <a:pt x="362" y="745"/>
                  </a:cubicBezTo>
                  <a:cubicBezTo>
                    <a:pt x="438" y="755"/>
                    <a:pt x="512" y="743"/>
                    <a:pt x="580" y="707"/>
                  </a:cubicBezTo>
                  <a:cubicBezTo>
                    <a:pt x="690" y="648"/>
                    <a:pt x="755" y="556"/>
                    <a:pt x="775" y="432"/>
                  </a:cubicBezTo>
                  <a:cubicBezTo>
                    <a:pt x="782" y="388"/>
                    <a:pt x="780" y="468"/>
                    <a:pt x="777" y="478"/>
                  </a:cubicBezTo>
                  <a:close/>
                </a:path>
              </a:pathLst>
            </a:custGeom>
            <a:gradFill>
              <a:gsLst>
                <a:gs pos="0">
                  <a:schemeClr val="accent1">
                    <a:shade val="51000"/>
                    <a:satMod val="130000"/>
                    <a:lumMod val="67000"/>
                    <a:lumOff val="33000"/>
                    <a:alpha val="8000"/>
                  </a:schemeClr>
                </a:gs>
                <a:gs pos="70000">
                  <a:schemeClr val="accent1">
                    <a:shade val="93000"/>
                    <a:satMod val="130000"/>
                    <a:lumMod val="67000"/>
                    <a:lumOff val="33000"/>
                    <a:alpha val="7000"/>
                  </a:schemeClr>
                </a:gs>
                <a:gs pos="100000">
                  <a:schemeClr val="accent1">
                    <a:shade val="94000"/>
                    <a:satMod val="135000"/>
                    <a:lumMod val="67000"/>
                    <a:lumOff val="33000"/>
                    <a:alpha val="33000"/>
                  </a:schemeClr>
                </a:gs>
              </a:gsLst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67" dirty="0">
                <a:gradFill>
                  <a:gsLst>
                    <a:gs pos="45000">
                      <a:schemeClr val="bg2">
                        <a:alpha val="41000"/>
                      </a:schemeClr>
                    </a:gs>
                    <a:gs pos="24000">
                      <a:schemeClr val="bg2">
                        <a:lumMod val="90000"/>
                        <a:alpha val="20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48000"/>
                      </a:srgbClr>
                    </a:gs>
                    <a:gs pos="88000">
                      <a:schemeClr val="bg2">
                        <a:alpha val="46000"/>
                      </a:schemeClr>
                    </a:gs>
                    <a:gs pos="77000">
                      <a:schemeClr val="bg2">
                        <a:alpha val="55000"/>
                      </a:schemeClr>
                    </a:gs>
                  </a:gsLst>
                  <a:lin ang="5400000" scaled="1"/>
                </a:gradFill>
              </a:endParaRPr>
            </a:p>
          </p:txBody>
        </p:sp>
      </p:grpSp>
      <p:sp>
        <p:nvSpPr>
          <p:cNvPr id="14" name="Footer Placeholder 1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6566" y="973184"/>
            <a:ext cx="2651908" cy="18927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1085089" y="2706624"/>
            <a:ext cx="10440163" cy="73152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1107460" y="3364992"/>
            <a:ext cx="10440163" cy="301752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1100">
                <a:solidFill>
                  <a:srgbClr val="5D686B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Text Placeholder 16"/>
          <p:cNvSpPr>
            <a:spLocks noGrp="1"/>
          </p:cNvSpPr>
          <p:nvPr userDrawn="1">
            <p:ph type="body" sz="quarter" idx="12"/>
          </p:nvPr>
        </p:nvSpPr>
        <p:spPr>
          <a:xfrm>
            <a:off x="1107460" y="3758184"/>
            <a:ext cx="10440163" cy="960120"/>
          </a:xfrm>
        </p:spPr>
        <p:txBody>
          <a:bodyPr lIns="0" rIns="0" anchor="ctr">
            <a:normAutofit/>
          </a:bodyPr>
          <a:lstStyle>
            <a:lvl1pPr marL="0" indent="0">
              <a:buNone/>
              <a:defRPr sz="1200">
                <a:solidFill>
                  <a:srgbClr val="5D686B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8" name="Group 77"/>
          <p:cNvGrpSpPr/>
          <p:nvPr userDrawn="1"/>
        </p:nvGrpSpPr>
        <p:grpSpPr>
          <a:xfrm>
            <a:off x="638745" y="1475232"/>
            <a:ext cx="75331" cy="3779520"/>
            <a:chOff x="445110" y="973181"/>
            <a:chExt cx="56498" cy="4660717"/>
          </a:xfrm>
        </p:grpSpPr>
        <p:sp>
          <p:nvSpPr>
            <p:cNvPr id="79" name="Rectangle 78"/>
            <p:cNvSpPr/>
            <p:nvPr userDrawn="1"/>
          </p:nvSpPr>
          <p:spPr>
            <a:xfrm rot="5400000" flipV="1">
              <a:off x="-1798108" y="3245465"/>
              <a:ext cx="4572000" cy="27432"/>
            </a:xfrm>
            <a:prstGeom prst="rect">
              <a:avLst/>
            </a:prstGeom>
            <a:gradFill flip="none" rotWithShape="1">
              <a:gsLst>
                <a:gs pos="0">
                  <a:srgbClr val="66CC00">
                    <a:alpha val="0"/>
                  </a:srgbClr>
                </a:gs>
                <a:gs pos="36000">
                  <a:srgbClr val="66CC00"/>
                </a:gs>
                <a:gs pos="62000">
                  <a:srgbClr val="66CC00"/>
                </a:gs>
                <a:gs pos="100000">
                  <a:srgbClr val="66CC00">
                    <a:alpha val="0"/>
                  </a:srgb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en-US" sz="1867" dirty="0"/>
            </a:p>
          </p:txBody>
        </p:sp>
        <p:sp>
          <p:nvSpPr>
            <p:cNvPr id="80" name="Rectangle 79"/>
            <p:cNvSpPr/>
            <p:nvPr userDrawn="1"/>
          </p:nvSpPr>
          <p:spPr>
            <a:xfrm rot="5400000" flipV="1">
              <a:off x="-1827174" y="3334182"/>
              <a:ext cx="4572000" cy="27432"/>
            </a:xfrm>
            <a:prstGeom prst="rect">
              <a:avLst/>
            </a:prstGeom>
            <a:gradFill flip="none" rotWithShape="1">
              <a:gsLst>
                <a:gs pos="0">
                  <a:srgbClr val="005BAB">
                    <a:alpha val="0"/>
                  </a:srgbClr>
                </a:gs>
                <a:gs pos="36000">
                  <a:srgbClr val="005BAB"/>
                </a:gs>
                <a:gs pos="62000">
                  <a:srgbClr val="005BAB"/>
                </a:gs>
                <a:gs pos="100000">
                  <a:srgbClr val="005BAB">
                    <a:alpha val="0"/>
                  </a:srgb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en-US" sz="1867" dirty="0"/>
            </a:p>
          </p:txBody>
        </p:sp>
      </p:grpSp>
    </p:spTree>
    <p:extLst>
      <p:ext uri="{BB962C8B-B14F-4D97-AF65-F5344CB8AC3E}">
        <p14:creationId xmlns:p14="http://schemas.microsoft.com/office/powerpoint/2010/main" val="4143403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424704"/>
            <a:ext cx="10972800" cy="481605"/>
          </a:xfrm>
        </p:spPr>
        <p:txBody>
          <a:bodyPr lIns="0" rIns="0"/>
          <a:lstStyle/>
          <a:p>
            <a:r>
              <a:rPr lang="en-US" dirty="0"/>
              <a:t>Click to edit Master title style (Arial Black 24p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499724"/>
            <a:ext cx="10972800" cy="4376269"/>
          </a:xfrm>
        </p:spPr>
        <p:txBody>
          <a:bodyPr lIns="0" rIns="0"/>
          <a:lstStyle>
            <a:lvl1pPr>
              <a:buClr>
                <a:srgbClr val="003863"/>
              </a:buClr>
              <a:defRPr sz="2000"/>
            </a:lvl1pPr>
            <a:lvl2pPr>
              <a:buClr>
                <a:srgbClr val="003863"/>
              </a:buClr>
              <a:defRPr/>
            </a:lvl2pPr>
            <a:lvl3pPr>
              <a:buClr>
                <a:srgbClr val="003863"/>
              </a:buClr>
              <a:defRPr sz="1600"/>
            </a:lvl3pPr>
            <a:lvl4pPr>
              <a:buClr>
                <a:srgbClr val="003863"/>
              </a:buClr>
              <a:defRPr sz="1600"/>
            </a:lvl4pPr>
            <a:lvl5pPr>
              <a:buClr>
                <a:srgbClr val="003863"/>
              </a:buClr>
              <a:defRPr sz="1600"/>
            </a:lvl5pPr>
          </a:lstStyle>
          <a:p>
            <a:pPr lvl="0"/>
            <a:r>
              <a:rPr lang="en-US" dirty="0"/>
              <a:t>Edit Master text styles (Arial 18pt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90C964D-7F58-FF4A-BD6C-3CC2543745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920842"/>
            <a:ext cx="10972800" cy="328193"/>
          </a:xfrm>
        </p:spPr>
        <p:txBody>
          <a:bodyPr lIns="0" rIns="0">
            <a:no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subtitle (Arial Bold 16pt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936B7E0-1622-004C-AFF1-94D2DF28CC77}"/>
              </a:ext>
            </a:extLst>
          </p:cNvPr>
          <p:cNvSpPr txBox="1"/>
          <p:nvPr userDrawn="1"/>
        </p:nvSpPr>
        <p:spPr>
          <a:xfrm>
            <a:off x="446320" y="6345274"/>
            <a:ext cx="33744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524DDD7-8339-AC43-A8B0-39D623B78E69}" type="slidenum">
              <a:rPr lang="en-US" sz="800" b="1" smtClean="0">
                <a:solidFill>
                  <a:schemeClr val="accent3"/>
                </a:solidFill>
              </a:rPr>
              <a:pPr algn="r"/>
              <a:t>‹#›</a:t>
            </a:fld>
            <a:endParaRPr lang="en-US" sz="1000" b="1" dirty="0">
              <a:solidFill>
                <a:schemeClr val="accent3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9AF2ACA-8630-6642-B334-2FECBACCCD36}"/>
              </a:ext>
            </a:extLst>
          </p:cNvPr>
          <p:cNvCxnSpPr>
            <a:cxnSpLocks/>
          </p:cNvCxnSpPr>
          <p:nvPr userDrawn="1"/>
        </p:nvCxnSpPr>
        <p:spPr>
          <a:xfrm>
            <a:off x="10761576" y="6071756"/>
            <a:ext cx="0" cy="47236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phic 8">
            <a:extLst>
              <a:ext uri="{FF2B5EF4-FFF2-40B4-BE49-F238E27FC236}">
                <a16:creationId xmlns:a16="http://schemas.microsoft.com/office/drawing/2014/main" id="{677FF8ED-F59E-AF46-B594-2473B9D993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1612" y="6148039"/>
            <a:ext cx="1605781" cy="312236"/>
          </a:xfrm>
          <a:prstGeom prst="rect">
            <a:avLst/>
          </a:prstGeom>
        </p:spPr>
      </p:pic>
      <p:pic>
        <p:nvPicPr>
          <p:cNvPr id="21" name="Graphic 7">
            <a:extLst>
              <a:ext uri="{FF2B5EF4-FFF2-40B4-BE49-F238E27FC236}">
                <a16:creationId xmlns:a16="http://schemas.microsoft.com/office/drawing/2014/main" id="{0DFCAC19-CC8C-9E42-A065-B31954DC59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9593" y="6103435"/>
            <a:ext cx="674151" cy="40144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5745B5F-5B95-E447-A20B-8E92A630425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12051"/>
            <a:ext cx="12192000" cy="15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869201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209211" cy="6867144"/>
          </a:xfrm>
          <a:prstGeom prst="rect">
            <a:avLst/>
          </a:prstGeom>
        </p:spPr>
      </p:pic>
      <p:sp>
        <p:nvSpPr>
          <p:cNvPr id="14" name="Footer Placeholder 1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-948883" y="72127"/>
            <a:ext cx="13674264" cy="6655057"/>
            <a:chOff x="-711662" y="54093"/>
            <a:chExt cx="10255698" cy="4991293"/>
          </a:xfrm>
        </p:grpSpPr>
        <p:grpSp>
          <p:nvGrpSpPr>
            <p:cNvPr id="6" name="Group 5"/>
            <p:cNvGrpSpPr/>
            <p:nvPr userDrawn="1"/>
          </p:nvGrpSpPr>
          <p:grpSpPr>
            <a:xfrm>
              <a:off x="32967" y="54093"/>
              <a:ext cx="9087941" cy="712228"/>
              <a:chOff x="32967" y="54093"/>
              <a:chExt cx="9087941" cy="712228"/>
            </a:xfrm>
          </p:grpSpPr>
          <p:grpSp>
            <p:nvGrpSpPr>
              <p:cNvPr id="29" name="Group 28"/>
              <p:cNvGrpSpPr/>
              <p:nvPr userDrawn="1"/>
            </p:nvGrpSpPr>
            <p:grpSpPr>
              <a:xfrm>
                <a:off x="8042626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30" name="Freeform 29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31" name="Freeform 30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78" name="Group 77"/>
              <p:cNvGrpSpPr/>
              <p:nvPr userDrawn="1"/>
            </p:nvGrpSpPr>
            <p:grpSpPr>
              <a:xfrm>
                <a:off x="6898389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79" name="Freeform 78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80" name="Freeform 79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83" name="Group 82"/>
              <p:cNvGrpSpPr/>
              <p:nvPr userDrawn="1"/>
            </p:nvGrpSpPr>
            <p:grpSpPr>
              <a:xfrm>
                <a:off x="5754152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87" name="Freeform 86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88" name="Freeform 87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84" name="Group 83"/>
              <p:cNvGrpSpPr/>
              <p:nvPr userDrawn="1"/>
            </p:nvGrpSpPr>
            <p:grpSpPr>
              <a:xfrm>
                <a:off x="4609915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85" name="Freeform 84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86" name="Freeform 85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90" name="Group 89"/>
              <p:cNvGrpSpPr/>
              <p:nvPr userDrawn="1"/>
            </p:nvGrpSpPr>
            <p:grpSpPr>
              <a:xfrm>
                <a:off x="3465678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94" name="Freeform 93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95" name="Freeform 94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91" name="Group 90"/>
              <p:cNvGrpSpPr/>
              <p:nvPr userDrawn="1"/>
            </p:nvGrpSpPr>
            <p:grpSpPr>
              <a:xfrm>
                <a:off x="2321441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92" name="Freeform 91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93" name="Freeform 92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97" name="Group 96"/>
              <p:cNvGrpSpPr/>
              <p:nvPr userDrawn="1"/>
            </p:nvGrpSpPr>
            <p:grpSpPr>
              <a:xfrm>
                <a:off x="1177204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01" name="Freeform 100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02" name="Freeform 101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98" name="Group 97"/>
              <p:cNvGrpSpPr/>
              <p:nvPr userDrawn="1"/>
            </p:nvGrpSpPr>
            <p:grpSpPr>
              <a:xfrm>
                <a:off x="32967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99" name="Freeform 98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00" name="Freeform 99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</p:grpSp>
        <p:grpSp>
          <p:nvGrpSpPr>
            <p:cNvPr id="103" name="Group 102"/>
            <p:cNvGrpSpPr/>
            <p:nvPr userDrawn="1"/>
          </p:nvGrpSpPr>
          <p:grpSpPr>
            <a:xfrm>
              <a:off x="-711662" y="909906"/>
              <a:ext cx="10255698" cy="712228"/>
              <a:chOff x="-1134790" y="54093"/>
              <a:chExt cx="10255698" cy="712228"/>
            </a:xfrm>
          </p:grpSpPr>
          <p:grpSp>
            <p:nvGrpSpPr>
              <p:cNvPr id="104" name="Group 103"/>
              <p:cNvGrpSpPr/>
              <p:nvPr userDrawn="1"/>
            </p:nvGrpSpPr>
            <p:grpSpPr>
              <a:xfrm>
                <a:off x="8042626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26" name="Freeform 125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27" name="Freeform 126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05" name="Group 104"/>
              <p:cNvGrpSpPr/>
              <p:nvPr userDrawn="1"/>
            </p:nvGrpSpPr>
            <p:grpSpPr>
              <a:xfrm>
                <a:off x="6898389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24" name="Freeform 123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25" name="Freeform 124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06" name="Group 105"/>
              <p:cNvGrpSpPr/>
              <p:nvPr userDrawn="1"/>
            </p:nvGrpSpPr>
            <p:grpSpPr>
              <a:xfrm>
                <a:off x="5754152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22" name="Freeform 121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23" name="Freeform 122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07" name="Group 106"/>
              <p:cNvGrpSpPr/>
              <p:nvPr userDrawn="1"/>
            </p:nvGrpSpPr>
            <p:grpSpPr>
              <a:xfrm>
                <a:off x="4609915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20" name="Freeform 119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21" name="Freeform 120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08" name="Group 107"/>
              <p:cNvGrpSpPr/>
              <p:nvPr userDrawn="1"/>
            </p:nvGrpSpPr>
            <p:grpSpPr>
              <a:xfrm>
                <a:off x="3465678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18" name="Freeform 117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19" name="Freeform 118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09" name="Group 108"/>
              <p:cNvGrpSpPr/>
              <p:nvPr userDrawn="1"/>
            </p:nvGrpSpPr>
            <p:grpSpPr>
              <a:xfrm>
                <a:off x="2321441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16" name="Freeform 115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17" name="Freeform 116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10" name="Group 109"/>
              <p:cNvGrpSpPr/>
              <p:nvPr userDrawn="1"/>
            </p:nvGrpSpPr>
            <p:grpSpPr>
              <a:xfrm>
                <a:off x="1177204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14" name="Freeform 113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15" name="Freeform 114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11" name="Group 110"/>
              <p:cNvGrpSpPr/>
              <p:nvPr userDrawn="1"/>
            </p:nvGrpSpPr>
            <p:grpSpPr>
              <a:xfrm>
                <a:off x="-1134790" y="54093"/>
                <a:ext cx="2246039" cy="712228"/>
                <a:chOff x="-7257673" y="568485"/>
                <a:chExt cx="12994347" cy="4163997"/>
              </a:xfrm>
            </p:grpSpPr>
            <p:sp>
              <p:nvSpPr>
                <p:cNvPr id="112" name="Freeform 111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13" name="Freeform 112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28" name="Freeform 127"/>
                <p:cNvSpPr>
                  <a:spLocks/>
                </p:cNvSpPr>
                <p:nvPr userDrawn="1"/>
              </p:nvSpPr>
              <p:spPr bwMode="auto">
                <a:xfrm flipH="1" flipV="1">
                  <a:off x="-5136611" y="568485"/>
                  <a:ext cx="4117285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29" name="Freeform 128"/>
                <p:cNvSpPr>
                  <a:spLocks/>
                </p:cNvSpPr>
                <p:nvPr userDrawn="1"/>
              </p:nvSpPr>
              <p:spPr bwMode="auto">
                <a:xfrm>
                  <a:off x="-7257673" y="568485"/>
                  <a:ext cx="4117285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</p:grpSp>
        <p:grpSp>
          <p:nvGrpSpPr>
            <p:cNvPr id="130" name="Group 129"/>
            <p:cNvGrpSpPr/>
            <p:nvPr userDrawn="1"/>
          </p:nvGrpSpPr>
          <p:grpSpPr>
            <a:xfrm>
              <a:off x="32967" y="1765719"/>
              <a:ext cx="9087941" cy="712228"/>
              <a:chOff x="32967" y="54093"/>
              <a:chExt cx="9087941" cy="712228"/>
            </a:xfrm>
          </p:grpSpPr>
          <p:grpSp>
            <p:nvGrpSpPr>
              <p:cNvPr id="131" name="Group 130"/>
              <p:cNvGrpSpPr/>
              <p:nvPr userDrawn="1"/>
            </p:nvGrpSpPr>
            <p:grpSpPr>
              <a:xfrm>
                <a:off x="8042626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53" name="Freeform 152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54" name="Freeform 153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32" name="Group 131"/>
              <p:cNvGrpSpPr/>
              <p:nvPr userDrawn="1"/>
            </p:nvGrpSpPr>
            <p:grpSpPr>
              <a:xfrm>
                <a:off x="6898389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51" name="Freeform 150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52" name="Freeform 151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33" name="Group 132"/>
              <p:cNvGrpSpPr/>
              <p:nvPr userDrawn="1"/>
            </p:nvGrpSpPr>
            <p:grpSpPr>
              <a:xfrm>
                <a:off x="5754152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49" name="Freeform 148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50" name="Freeform 149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34" name="Group 133"/>
              <p:cNvGrpSpPr/>
              <p:nvPr userDrawn="1"/>
            </p:nvGrpSpPr>
            <p:grpSpPr>
              <a:xfrm>
                <a:off x="4609915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47" name="Freeform 146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48" name="Freeform 147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35" name="Group 134"/>
              <p:cNvGrpSpPr/>
              <p:nvPr userDrawn="1"/>
            </p:nvGrpSpPr>
            <p:grpSpPr>
              <a:xfrm>
                <a:off x="3465678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45" name="Freeform 144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46" name="Freeform 145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36" name="Group 135"/>
              <p:cNvGrpSpPr/>
              <p:nvPr userDrawn="1"/>
            </p:nvGrpSpPr>
            <p:grpSpPr>
              <a:xfrm>
                <a:off x="2321441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43" name="Freeform 142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44" name="Freeform 143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37" name="Group 136"/>
              <p:cNvGrpSpPr/>
              <p:nvPr userDrawn="1"/>
            </p:nvGrpSpPr>
            <p:grpSpPr>
              <a:xfrm>
                <a:off x="1177204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41" name="Freeform 140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42" name="Freeform 141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38" name="Group 137"/>
              <p:cNvGrpSpPr/>
              <p:nvPr userDrawn="1"/>
            </p:nvGrpSpPr>
            <p:grpSpPr>
              <a:xfrm>
                <a:off x="32967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39" name="Freeform 138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40" name="Freeform 139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</p:grpSp>
        <p:grpSp>
          <p:nvGrpSpPr>
            <p:cNvPr id="155" name="Group 154"/>
            <p:cNvGrpSpPr/>
            <p:nvPr userDrawn="1"/>
          </p:nvGrpSpPr>
          <p:grpSpPr>
            <a:xfrm>
              <a:off x="-711662" y="2621532"/>
              <a:ext cx="10255698" cy="712228"/>
              <a:chOff x="-1134790" y="54093"/>
              <a:chExt cx="10255698" cy="712228"/>
            </a:xfrm>
          </p:grpSpPr>
          <p:grpSp>
            <p:nvGrpSpPr>
              <p:cNvPr id="156" name="Group 155"/>
              <p:cNvGrpSpPr/>
              <p:nvPr userDrawn="1"/>
            </p:nvGrpSpPr>
            <p:grpSpPr>
              <a:xfrm>
                <a:off x="8042626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80" name="Freeform 179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81" name="Freeform 180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57" name="Group 156"/>
              <p:cNvGrpSpPr/>
              <p:nvPr userDrawn="1"/>
            </p:nvGrpSpPr>
            <p:grpSpPr>
              <a:xfrm>
                <a:off x="6898389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78" name="Freeform 177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79" name="Freeform 178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58" name="Group 157"/>
              <p:cNvGrpSpPr/>
              <p:nvPr userDrawn="1"/>
            </p:nvGrpSpPr>
            <p:grpSpPr>
              <a:xfrm>
                <a:off x="5754152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76" name="Freeform 175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77" name="Freeform 176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59" name="Group 158"/>
              <p:cNvGrpSpPr/>
              <p:nvPr userDrawn="1"/>
            </p:nvGrpSpPr>
            <p:grpSpPr>
              <a:xfrm>
                <a:off x="4609915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74" name="Freeform 173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75" name="Freeform 174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60" name="Group 159"/>
              <p:cNvGrpSpPr/>
              <p:nvPr userDrawn="1"/>
            </p:nvGrpSpPr>
            <p:grpSpPr>
              <a:xfrm>
                <a:off x="3465678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72" name="Freeform 171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73" name="Freeform 172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61" name="Group 160"/>
              <p:cNvGrpSpPr/>
              <p:nvPr userDrawn="1"/>
            </p:nvGrpSpPr>
            <p:grpSpPr>
              <a:xfrm>
                <a:off x="2321441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70" name="Freeform 169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71" name="Freeform 170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62" name="Group 161"/>
              <p:cNvGrpSpPr/>
              <p:nvPr userDrawn="1"/>
            </p:nvGrpSpPr>
            <p:grpSpPr>
              <a:xfrm>
                <a:off x="1177204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68" name="Freeform 167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69" name="Freeform 168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63" name="Group 162"/>
              <p:cNvGrpSpPr/>
              <p:nvPr userDrawn="1"/>
            </p:nvGrpSpPr>
            <p:grpSpPr>
              <a:xfrm>
                <a:off x="-1134790" y="54093"/>
                <a:ext cx="2246039" cy="712228"/>
                <a:chOff x="-7257673" y="568485"/>
                <a:chExt cx="12994347" cy="4163997"/>
              </a:xfrm>
            </p:grpSpPr>
            <p:sp>
              <p:nvSpPr>
                <p:cNvPr id="164" name="Freeform 163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65" name="Freeform 164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66" name="Freeform 165"/>
                <p:cNvSpPr>
                  <a:spLocks/>
                </p:cNvSpPr>
                <p:nvPr userDrawn="1"/>
              </p:nvSpPr>
              <p:spPr bwMode="auto">
                <a:xfrm flipH="1" flipV="1">
                  <a:off x="-5136611" y="568485"/>
                  <a:ext cx="4117285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67" name="Freeform 166"/>
                <p:cNvSpPr>
                  <a:spLocks/>
                </p:cNvSpPr>
                <p:nvPr userDrawn="1"/>
              </p:nvSpPr>
              <p:spPr bwMode="auto">
                <a:xfrm>
                  <a:off x="-7257673" y="568485"/>
                  <a:ext cx="4117285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</p:grpSp>
        <p:grpSp>
          <p:nvGrpSpPr>
            <p:cNvPr id="182" name="Group 181"/>
            <p:cNvGrpSpPr/>
            <p:nvPr userDrawn="1"/>
          </p:nvGrpSpPr>
          <p:grpSpPr>
            <a:xfrm>
              <a:off x="32967" y="3477345"/>
              <a:ext cx="9087941" cy="712228"/>
              <a:chOff x="32967" y="54093"/>
              <a:chExt cx="9087941" cy="712228"/>
            </a:xfrm>
          </p:grpSpPr>
          <p:grpSp>
            <p:nvGrpSpPr>
              <p:cNvPr id="183" name="Group 182"/>
              <p:cNvGrpSpPr/>
              <p:nvPr userDrawn="1"/>
            </p:nvGrpSpPr>
            <p:grpSpPr>
              <a:xfrm>
                <a:off x="8042626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205" name="Freeform 204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206" name="Freeform 205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84" name="Group 183"/>
              <p:cNvGrpSpPr/>
              <p:nvPr userDrawn="1"/>
            </p:nvGrpSpPr>
            <p:grpSpPr>
              <a:xfrm>
                <a:off x="6898389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203" name="Freeform 202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204" name="Freeform 203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85" name="Group 184"/>
              <p:cNvGrpSpPr/>
              <p:nvPr userDrawn="1"/>
            </p:nvGrpSpPr>
            <p:grpSpPr>
              <a:xfrm>
                <a:off x="5754152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201" name="Freeform 200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202" name="Freeform 201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86" name="Group 185"/>
              <p:cNvGrpSpPr/>
              <p:nvPr userDrawn="1"/>
            </p:nvGrpSpPr>
            <p:grpSpPr>
              <a:xfrm>
                <a:off x="4609915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99" name="Freeform 198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200" name="Freeform 199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87" name="Group 186"/>
              <p:cNvGrpSpPr/>
              <p:nvPr userDrawn="1"/>
            </p:nvGrpSpPr>
            <p:grpSpPr>
              <a:xfrm>
                <a:off x="3465678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97" name="Freeform 196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98" name="Freeform 197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88" name="Group 187"/>
              <p:cNvGrpSpPr/>
              <p:nvPr userDrawn="1"/>
            </p:nvGrpSpPr>
            <p:grpSpPr>
              <a:xfrm>
                <a:off x="2321441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95" name="Freeform 194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96" name="Freeform 195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89" name="Group 188"/>
              <p:cNvGrpSpPr/>
              <p:nvPr userDrawn="1"/>
            </p:nvGrpSpPr>
            <p:grpSpPr>
              <a:xfrm>
                <a:off x="1177204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93" name="Freeform 192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94" name="Freeform 193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190" name="Group 189"/>
              <p:cNvGrpSpPr/>
              <p:nvPr userDrawn="1"/>
            </p:nvGrpSpPr>
            <p:grpSpPr>
              <a:xfrm>
                <a:off x="32967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191" name="Freeform 190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192" name="Freeform 191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</p:grpSp>
        <p:grpSp>
          <p:nvGrpSpPr>
            <p:cNvPr id="207" name="Group 206"/>
            <p:cNvGrpSpPr/>
            <p:nvPr userDrawn="1"/>
          </p:nvGrpSpPr>
          <p:grpSpPr>
            <a:xfrm>
              <a:off x="-711662" y="4333158"/>
              <a:ext cx="10255698" cy="712228"/>
              <a:chOff x="-1134790" y="54093"/>
              <a:chExt cx="10255698" cy="712228"/>
            </a:xfrm>
          </p:grpSpPr>
          <p:grpSp>
            <p:nvGrpSpPr>
              <p:cNvPr id="208" name="Group 207"/>
              <p:cNvGrpSpPr/>
              <p:nvPr userDrawn="1"/>
            </p:nvGrpSpPr>
            <p:grpSpPr>
              <a:xfrm>
                <a:off x="8042626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232" name="Freeform 231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233" name="Freeform 232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209" name="Group 208"/>
              <p:cNvGrpSpPr/>
              <p:nvPr userDrawn="1"/>
            </p:nvGrpSpPr>
            <p:grpSpPr>
              <a:xfrm>
                <a:off x="6898389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230" name="Freeform 229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231" name="Freeform 230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210" name="Group 209"/>
              <p:cNvGrpSpPr/>
              <p:nvPr userDrawn="1"/>
            </p:nvGrpSpPr>
            <p:grpSpPr>
              <a:xfrm>
                <a:off x="5754152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228" name="Freeform 227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229" name="Freeform 228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211" name="Group 210"/>
              <p:cNvGrpSpPr/>
              <p:nvPr userDrawn="1"/>
            </p:nvGrpSpPr>
            <p:grpSpPr>
              <a:xfrm>
                <a:off x="4609915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226" name="Freeform 225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227" name="Freeform 226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212" name="Group 211"/>
              <p:cNvGrpSpPr/>
              <p:nvPr userDrawn="1"/>
            </p:nvGrpSpPr>
            <p:grpSpPr>
              <a:xfrm>
                <a:off x="3465678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224" name="Freeform 223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225" name="Freeform 224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213" name="Group 212"/>
              <p:cNvGrpSpPr/>
              <p:nvPr userDrawn="1"/>
            </p:nvGrpSpPr>
            <p:grpSpPr>
              <a:xfrm>
                <a:off x="2321441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222" name="Freeform 221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223" name="Freeform 222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214" name="Group 213"/>
              <p:cNvGrpSpPr/>
              <p:nvPr userDrawn="1"/>
            </p:nvGrpSpPr>
            <p:grpSpPr>
              <a:xfrm>
                <a:off x="1177204" y="54093"/>
                <a:ext cx="1078282" cy="712228"/>
                <a:chOff x="-501673" y="568485"/>
                <a:chExt cx="6238347" cy="4163997"/>
              </a:xfrm>
            </p:grpSpPr>
            <p:sp>
              <p:nvSpPr>
                <p:cNvPr id="220" name="Freeform 219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221" name="Freeform 220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  <p:grpSp>
            <p:nvGrpSpPr>
              <p:cNvPr id="215" name="Group 214"/>
              <p:cNvGrpSpPr/>
              <p:nvPr userDrawn="1"/>
            </p:nvGrpSpPr>
            <p:grpSpPr>
              <a:xfrm>
                <a:off x="-1134790" y="54093"/>
                <a:ext cx="2246039" cy="712228"/>
                <a:chOff x="-7257673" y="568485"/>
                <a:chExt cx="12994347" cy="4163997"/>
              </a:xfrm>
            </p:grpSpPr>
            <p:sp>
              <p:nvSpPr>
                <p:cNvPr id="216" name="Freeform 215"/>
                <p:cNvSpPr>
                  <a:spLocks/>
                </p:cNvSpPr>
                <p:nvPr userDrawn="1"/>
              </p:nvSpPr>
              <p:spPr bwMode="auto">
                <a:xfrm flipH="1" flipV="1">
                  <a:off x="1619387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217" name="Freeform 216"/>
                <p:cNvSpPr>
                  <a:spLocks/>
                </p:cNvSpPr>
                <p:nvPr/>
              </p:nvSpPr>
              <p:spPr bwMode="auto">
                <a:xfrm>
                  <a:off x="-501673" y="568485"/>
                  <a:ext cx="4117287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218" name="Freeform 217"/>
                <p:cNvSpPr>
                  <a:spLocks/>
                </p:cNvSpPr>
                <p:nvPr userDrawn="1"/>
              </p:nvSpPr>
              <p:spPr bwMode="auto">
                <a:xfrm flipH="1" flipV="1">
                  <a:off x="-5136611" y="568485"/>
                  <a:ext cx="4117285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  <p:sp>
              <p:nvSpPr>
                <p:cNvPr id="219" name="Freeform 218"/>
                <p:cNvSpPr>
                  <a:spLocks/>
                </p:cNvSpPr>
                <p:nvPr userDrawn="1"/>
              </p:nvSpPr>
              <p:spPr bwMode="auto">
                <a:xfrm>
                  <a:off x="-7257673" y="568485"/>
                  <a:ext cx="4117285" cy="4163997"/>
                </a:xfrm>
                <a:custGeom>
                  <a:avLst/>
                  <a:gdLst>
                    <a:gd name="T0" fmla="*/ 777 w 782"/>
                    <a:gd name="T1" fmla="*/ 478 h 789"/>
                    <a:gd name="T2" fmla="*/ 584 w 782"/>
                    <a:gd name="T3" fmla="*/ 735 h 789"/>
                    <a:gd name="T4" fmla="*/ 422 w 782"/>
                    <a:gd name="T5" fmla="*/ 782 h 789"/>
                    <a:gd name="T6" fmla="*/ 142 w 782"/>
                    <a:gd name="T7" fmla="*/ 689 h 789"/>
                    <a:gd name="T8" fmla="*/ 11 w 782"/>
                    <a:gd name="T9" fmla="*/ 449 h 789"/>
                    <a:gd name="T10" fmla="*/ 36 w 782"/>
                    <a:gd name="T11" fmla="*/ 246 h 789"/>
                    <a:gd name="T12" fmla="*/ 90 w 782"/>
                    <a:gd name="T13" fmla="*/ 153 h 789"/>
                    <a:gd name="T14" fmla="*/ 141 w 782"/>
                    <a:gd name="T15" fmla="*/ 99 h 789"/>
                    <a:gd name="T16" fmla="*/ 342 w 782"/>
                    <a:gd name="T17" fmla="*/ 7 h 789"/>
                    <a:gd name="T18" fmla="*/ 488 w 782"/>
                    <a:gd name="T19" fmla="*/ 14 h 789"/>
                    <a:gd name="T20" fmla="*/ 496 w 782"/>
                    <a:gd name="T21" fmla="*/ 18 h 789"/>
                    <a:gd name="T22" fmla="*/ 487 w 782"/>
                    <a:gd name="T23" fmla="*/ 18 h 789"/>
                    <a:gd name="T24" fmla="*/ 397 w 782"/>
                    <a:gd name="T25" fmla="*/ 10 h 789"/>
                    <a:gd name="T26" fmla="*/ 216 w 782"/>
                    <a:gd name="T27" fmla="*/ 64 h 789"/>
                    <a:gd name="T28" fmla="*/ 125 w 782"/>
                    <a:gd name="T29" fmla="*/ 144 h 789"/>
                    <a:gd name="T30" fmla="*/ 43 w 782"/>
                    <a:gd name="T31" fmla="*/ 336 h 789"/>
                    <a:gd name="T32" fmla="*/ 133 w 782"/>
                    <a:gd name="T33" fmla="*/ 623 h 789"/>
                    <a:gd name="T34" fmla="*/ 362 w 782"/>
                    <a:gd name="T35" fmla="*/ 745 h 789"/>
                    <a:gd name="T36" fmla="*/ 580 w 782"/>
                    <a:gd name="T37" fmla="*/ 707 h 789"/>
                    <a:gd name="T38" fmla="*/ 775 w 782"/>
                    <a:gd name="T39" fmla="*/ 432 h 789"/>
                    <a:gd name="T40" fmla="*/ 777 w 782"/>
                    <a:gd name="T41" fmla="*/ 478 h 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2" h="789">
                      <a:moveTo>
                        <a:pt x="777" y="478"/>
                      </a:moveTo>
                      <a:cubicBezTo>
                        <a:pt x="750" y="592"/>
                        <a:pt x="686" y="678"/>
                        <a:pt x="584" y="735"/>
                      </a:cubicBezTo>
                      <a:cubicBezTo>
                        <a:pt x="534" y="764"/>
                        <a:pt x="479" y="779"/>
                        <a:pt x="422" y="782"/>
                      </a:cubicBezTo>
                      <a:cubicBezTo>
                        <a:pt x="316" y="789"/>
                        <a:pt x="222" y="757"/>
                        <a:pt x="142" y="689"/>
                      </a:cubicBezTo>
                      <a:cubicBezTo>
                        <a:pt x="68" y="626"/>
                        <a:pt x="25" y="545"/>
                        <a:pt x="11" y="449"/>
                      </a:cubicBezTo>
                      <a:cubicBezTo>
                        <a:pt x="0" y="379"/>
                        <a:pt x="9" y="311"/>
                        <a:pt x="36" y="246"/>
                      </a:cubicBezTo>
                      <a:cubicBezTo>
                        <a:pt x="49" y="212"/>
                        <a:pt x="68" y="181"/>
                        <a:pt x="90" y="153"/>
                      </a:cubicBezTo>
                      <a:cubicBezTo>
                        <a:pt x="106" y="133"/>
                        <a:pt x="122" y="115"/>
                        <a:pt x="141" y="99"/>
                      </a:cubicBezTo>
                      <a:cubicBezTo>
                        <a:pt x="199" y="50"/>
                        <a:pt x="266" y="18"/>
                        <a:pt x="342" y="7"/>
                      </a:cubicBezTo>
                      <a:cubicBezTo>
                        <a:pt x="391" y="0"/>
                        <a:pt x="440" y="2"/>
                        <a:pt x="488" y="14"/>
                      </a:cubicBezTo>
                      <a:cubicBezTo>
                        <a:pt x="491" y="15"/>
                        <a:pt x="497" y="14"/>
                        <a:pt x="496" y="18"/>
                      </a:cubicBezTo>
                      <a:cubicBezTo>
                        <a:pt x="495" y="21"/>
                        <a:pt x="490" y="18"/>
                        <a:pt x="487" y="18"/>
                      </a:cubicBezTo>
                      <a:cubicBezTo>
                        <a:pt x="457" y="12"/>
                        <a:pt x="427" y="8"/>
                        <a:pt x="397" y="10"/>
                      </a:cubicBezTo>
                      <a:cubicBezTo>
                        <a:pt x="332" y="13"/>
                        <a:pt x="272" y="30"/>
                        <a:pt x="216" y="64"/>
                      </a:cubicBezTo>
                      <a:cubicBezTo>
                        <a:pt x="181" y="85"/>
                        <a:pt x="151" y="112"/>
                        <a:pt x="125" y="144"/>
                      </a:cubicBezTo>
                      <a:cubicBezTo>
                        <a:pt x="78" y="200"/>
                        <a:pt x="51" y="264"/>
                        <a:pt x="43" y="336"/>
                      </a:cubicBezTo>
                      <a:cubicBezTo>
                        <a:pt x="32" y="445"/>
                        <a:pt x="61" y="541"/>
                        <a:pt x="133" y="623"/>
                      </a:cubicBezTo>
                      <a:cubicBezTo>
                        <a:pt x="193" y="692"/>
                        <a:pt x="270" y="733"/>
                        <a:pt x="362" y="745"/>
                      </a:cubicBezTo>
                      <a:cubicBezTo>
                        <a:pt x="438" y="755"/>
                        <a:pt x="512" y="743"/>
                        <a:pt x="580" y="707"/>
                      </a:cubicBezTo>
                      <a:cubicBezTo>
                        <a:pt x="690" y="648"/>
                        <a:pt x="755" y="556"/>
                        <a:pt x="775" y="432"/>
                      </a:cubicBezTo>
                      <a:cubicBezTo>
                        <a:pt x="782" y="388"/>
                        <a:pt x="780" y="468"/>
                        <a:pt x="777" y="478"/>
                      </a:cubicBezTo>
                      <a:close/>
                    </a:path>
                  </a:pathLst>
                </a:custGeom>
                <a:gradFill>
                  <a:gsLst>
                    <a:gs pos="19000">
                      <a:schemeClr val="bg2">
                        <a:alpha val="16000"/>
                      </a:schemeClr>
                    </a:gs>
                    <a:gs pos="9000">
                      <a:schemeClr val="bg2">
                        <a:lumMod val="90000"/>
                        <a:alpha val="11000"/>
                      </a:schemeClr>
                    </a:gs>
                    <a:gs pos="0">
                      <a:srgbClr val="F5F9FA"/>
                    </a:gs>
                    <a:gs pos="100000">
                      <a:srgbClr val="F5F9FA">
                        <a:alpha val="39000"/>
                      </a:srgbClr>
                    </a:gs>
                    <a:gs pos="88000">
                      <a:schemeClr val="bg2">
                        <a:alpha val="26000"/>
                      </a:schemeClr>
                    </a:gs>
                    <a:gs pos="48000">
                      <a:schemeClr val="bg2">
                        <a:lumMod val="75000"/>
                        <a:alpha val="19000"/>
                      </a:schemeClr>
                    </a:gs>
                    <a:gs pos="77000">
                      <a:schemeClr val="bg2">
                        <a:alpha val="32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867" dirty="0">
                    <a:gradFill>
                      <a:gsLst>
                        <a:gs pos="45000">
                          <a:schemeClr val="bg2">
                            <a:alpha val="41000"/>
                          </a:schemeClr>
                        </a:gs>
                        <a:gs pos="24000">
                          <a:schemeClr val="bg2">
                            <a:lumMod val="90000"/>
                            <a:alpha val="20000"/>
                          </a:schemeClr>
                        </a:gs>
                        <a:gs pos="0">
                          <a:srgbClr val="F5F9FA"/>
                        </a:gs>
                        <a:gs pos="100000">
                          <a:srgbClr val="F5F9FA">
                            <a:alpha val="48000"/>
                          </a:srgbClr>
                        </a:gs>
                        <a:gs pos="88000">
                          <a:schemeClr val="bg2">
                            <a:alpha val="46000"/>
                          </a:schemeClr>
                        </a:gs>
                        <a:gs pos="77000">
                          <a:schemeClr val="bg2">
                            <a:alpha val="55000"/>
                          </a:schemeClr>
                        </a:gs>
                      </a:gsLst>
                      <a:lin ang="5400000" scaled="1"/>
                    </a:gradFill>
                  </a:endParaRPr>
                </a:p>
              </p:txBody>
            </p:sp>
          </p:grpSp>
        </p:grpSp>
      </p:grpSp>
      <p:grpSp>
        <p:nvGrpSpPr>
          <p:cNvPr id="234" name="Group 233"/>
          <p:cNvGrpSpPr/>
          <p:nvPr userDrawn="1"/>
        </p:nvGrpSpPr>
        <p:grpSpPr>
          <a:xfrm>
            <a:off x="638745" y="1752325"/>
            <a:ext cx="75331" cy="3779520"/>
            <a:chOff x="445110" y="973181"/>
            <a:chExt cx="56498" cy="4660717"/>
          </a:xfrm>
        </p:grpSpPr>
        <p:sp>
          <p:nvSpPr>
            <p:cNvPr id="235" name="Rectangle 234"/>
            <p:cNvSpPr/>
            <p:nvPr userDrawn="1"/>
          </p:nvSpPr>
          <p:spPr>
            <a:xfrm rot="5400000" flipV="1">
              <a:off x="-1798108" y="3245465"/>
              <a:ext cx="4572000" cy="27432"/>
            </a:xfrm>
            <a:prstGeom prst="rect">
              <a:avLst/>
            </a:prstGeom>
            <a:gradFill flip="none" rotWithShape="1">
              <a:gsLst>
                <a:gs pos="0">
                  <a:srgbClr val="66CC00">
                    <a:alpha val="0"/>
                  </a:srgbClr>
                </a:gs>
                <a:gs pos="36000">
                  <a:srgbClr val="66CC00"/>
                </a:gs>
                <a:gs pos="62000">
                  <a:srgbClr val="66CC00"/>
                </a:gs>
                <a:gs pos="100000">
                  <a:srgbClr val="66CC00">
                    <a:alpha val="0"/>
                  </a:srgb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en-US" sz="1867" dirty="0"/>
            </a:p>
          </p:txBody>
        </p:sp>
        <p:sp>
          <p:nvSpPr>
            <p:cNvPr id="236" name="Rectangle 235"/>
            <p:cNvSpPr/>
            <p:nvPr userDrawn="1"/>
          </p:nvSpPr>
          <p:spPr>
            <a:xfrm rot="5400000" flipV="1">
              <a:off x="-1827174" y="3334182"/>
              <a:ext cx="4572000" cy="27432"/>
            </a:xfrm>
            <a:prstGeom prst="rect">
              <a:avLst/>
            </a:prstGeom>
            <a:gradFill flip="none" rotWithShape="1">
              <a:gsLst>
                <a:gs pos="0">
                  <a:srgbClr val="005BAB">
                    <a:alpha val="0"/>
                  </a:srgbClr>
                </a:gs>
                <a:gs pos="36000">
                  <a:srgbClr val="005BAB"/>
                </a:gs>
                <a:gs pos="62000">
                  <a:srgbClr val="005BAB"/>
                </a:gs>
                <a:gs pos="100000">
                  <a:srgbClr val="005BAB">
                    <a:alpha val="0"/>
                  </a:srgb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en-US" sz="1867" dirty="0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1085089" y="2706624"/>
            <a:ext cx="10440163" cy="73152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1107460" y="3364992"/>
            <a:ext cx="10440163" cy="301752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1100">
                <a:solidFill>
                  <a:srgbClr val="5D686B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Text Placeholder 16"/>
          <p:cNvSpPr>
            <a:spLocks noGrp="1"/>
          </p:cNvSpPr>
          <p:nvPr userDrawn="1">
            <p:ph type="body" sz="quarter" idx="12"/>
          </p:nvPr>
        </p:nvSpPr>
        <p:spPr>
          <a:xfrm>
            <a:off x="1107460" y="3758184"/>
            <a:ext cx="10440163" cy="960120"/>
          </a:xfrm>
        </p:spPr>
        <p:txBody>
          <a:bodyPr lIns="0" rIns="0" anchor="ctr">
            <a:normAutofit/>
          </a:bodyPr>
          <a:lstStyle>
            <a:lvl1pPr marL="0" indent="0">
              <a:buNone/>
              <a:defRPr sz="1200">
                <a:solidFill>
                  <a:srgbClr val="5D686B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819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209211" cy="6867144"/>
          </a:xfrm>
          <a:prstGeom prst="rect">
            <a:avLst/>
          </a:prstGeom>
        </p:spPr>
      </p:pic>
      <p:sp>
        <p:nvSpPr>
          <p:cNvPr id="14" name="Footer Placeholder 1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757381" y="2481739"/>
            <a:ext cx="10878707" cy="73152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757381" y="3377851"/>
            <a:ext cx="10878707" cy="301752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1100">
                <a:solidFill>
                  <a:srgbClr val="5D686B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Text Placeholder 16"/>
          <p:cNvSpPr>
            <a:spLocks noGrp="1"/>
          </p:cNvSpPr>
          <p:nvPr userDrawn="1">
            <p:ph type="body" sz="quarter" idx="12"/>
          </p:nvPr>
        </p:nvSpPr>
        <p:spPr>
          <a:xfrm>
            <a:off x="757381" y="3771043"/>
            <a:ext cx="10878707" cy="960120"/>
          </a:xfrm>
        </p:spPr>
        <p:txBody>
          <a:bodyPr lIns="0" rIns="0" anchor="ctr">
            <a:normAutofit/>
          </a:bodyPr>
          <a:lstStyle>
            <a:lvl1pPr marL="0" indent="0">
              <a:buNone/>
              <a:defRPr sz="1200">
                <a:solidFill>
                  <a:srgbClr val="5D686B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34" name="Group 233"/>
          <p:cNvGrpSpPr/>
          <p:nvPr userDrawn="1"/>
        </p:nvGrpSpPr>
        <p:grpSpPr>
          <a:xfrm>
            <a:off x="190233" y="325973"/>
            <a:ext cx="75331" cy="6217920"/>
            <a:chOff x="445110" y="973181"/>
            <a:chExt cx="56498" cy="4660717"/>
          </a:xfrm>
        </p:grpSpPr>
        <p:sp>
          <p:nvSpPr>
            <p:cNvPr id="235" name="Rectangle 234"/>
            <p:cNvSpPr/>
            <p:nvPr userDrawn="1"/>
          </p:nvSpPr>
          <p:spPr>
            <a:xfrm rot="5400000" flipV="1">
              <a:off x="-1798108" y="3245465"/>
              <a:ext cx="4572000" cy="27432"/>
            </a:xfrm>
            <a:prstGeom prst="rect">
              <a:avLst/>
            </a:prstGeom>
            <a:gradFill flip="none" rotWithShape="1">
              <a:gsLst>
                <a:gs pos="0">
                  <a:srgbClr val="66CC00">
                    <a:alpha val="0"/>
                  </a:srgbClr>
                </a:gs>
                <a:gs pos="36000">
                  <a:srgbClr val="66CC00"/>
                </a:gs>
                <a:gs pos="62000">
                  <a:srgbClr val="66CC00"/>
                </a:gs>
                <a:gs pos="100000">
                  <a:srgbClr val="66CC00">
                    <a:alpha val="0"/>
                  </a:srgb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en-US" sz="1867" dirty="0"/>
            </a:p>
          </p:txBody>
        </p:sp>
        <p:sp>
          <p:nvSpPr>
            <p:cNvPr id="236" name="Rectangle 235"/>
            <p:cNvSpPr/>
            <p:nvPr userDrawn="1"/>
          </p:nvSpPr>
          <p:spPr>
            <a:xfrm rot="5400000" flipV="1">
              <a:off x="-1827174" y="3334182"/>
              <a:ext cx="4572000" cy="27432"/>
            </a:xfrm>
            <a:prstGeom prst="rect">
              <a:avLst/>
            </a:prstGeom>
            <a:gradFill flip="none" rotWithShape="1">
              <a:gsLst>
                <a:gs pos="0">
                  <a:srgbClr val="005BAB">
                    <a:alpha val="0"/>
                  </a:srgbClr>
                </a:gs>
                <a:gs pos="36000">
                  <a:srgbClr val="005BAB"/>
                </a:gs>
                <a:gs pos="62000">
                  <a:srgbClr val="005BAB"/>
                </a:gs>
                <a:gs pos="100000">
                  <a:srgbClr val="005BAB">
                    <a:alpha val="0"/>
                  </a:srgbClr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en-US" sz="1867" dirty="0"/>
            </a:p>
          </p:txBody>
        </p:sp>
      </p:grpSp>
    </p:spTree>
    <p:extLst>
      <p:ext uri="{BB962C8B-B14F-4D97-AF65-F5344CB8AC3E}">
        <p14:creationId xmlns:p14="http://schemas.microsoft.com/office/powerpoint/2010/main" val="3903646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209211" cy="6867144"/>
          </a:xfrm>
          <a:prstGeom prst="rect">
            <a:avLst/>
          </a:prstGeom>
        </p:spPr>
      </p:pic>
      <p:sp>
        <p:nvSpPr>
          <p:cNvPr id="14" name="Footer Placeholder 1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757381" y="2481739"/>
            <a:ext cx="10878707" cy="73152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757381" y="3377851"/>
            <a:ext cx="10878707" cy="301752"/>
          </a:xfrm>
        </p:spPr>
        <p:txBody>
          <a:bodyPr lIns="0" rIns="0">
            <a:normAutofit/>
          </a:bodyPr>
          <a:lstStyle>
            <a:lvl1pPr marL="0" indent="0" algn="l">
              <a:buNone/>
              <a:defRPr sz="1100">
                <a:solidFill>
                  <a:srgbClr val="5D686B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Text Placeholder 16"/>
          <p:cNvSpPr>
            <a:spLocks noGrp="1"/>
          </p:cNvSpPr>
          <p:nvPr userDrawn="1">
            <p:ph type="body" sz="quarter" idx="12"/>
          </p:nvPr>
        </p:nvSpPr>
        <p:spPr>
          <a:xfrm>
            <a:off x="757381" y="3771043"/>
            <a:ext cx="10878707" cy="960120"/>
          </a:xfrm>
        </p:spPr>
        <p:txBody>
          <a:bodyPr lIns="0" rIns="0" anchor="ctr">
            <a:normAutofit/>
          </a:bodyPr>
          <a:lstStyle>
            <a:lvl1pPr marL="0" indent="0">
              <a:buNone/>
              <a:defRPr sz="1200">
                <a:solidFill>
                  <a:srgbClr val="5D686B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8102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2747966"/>
            <a:ext cx="10363200" cy="1362075"/>
          </a:xfrm>
        </p:spPr>
        <p:txBody>
          <a:bodyPr anchor="t"/>
          <a:lstStyle>
            <a:lvl1pPr algn="ctr">
              <a:defRPr sz="4000" b="0" cap="all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050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2451" y="1331912"/>
            <a:ext cx="5384800" cy="4654551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0" y="1331912"/>
            <a:ext cx="5388864" cy="4654551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100"/>
            </a:lvl4pPr>
            <a:lvl5pPr>
              <a:spcBef>
                <a:spcPts val="300"/>
              </a:spcBef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8126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448" y="1331915"/>
            <a:ext cx="5386917" cy="639763"/>
          </a:xfrm>
        </p:spPr>
        <p:txBody>
          <a:bodyPr lIns="0" rIns="0" anchor="b"/>
          <a:lstStyle>
            <a:lvl1pPr marL="0" indent="0">
              <a:buNone/>
              <a:defRPr sz="16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448" y="1971675"/>
            <a:ext cx="5386917" cy="39512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6000" y="1331915"/>
            <a:ext cx="5388864" cy="639763"/>
          </a:xfrm>
        </p:spPr>
        <p:txBody>
          <a:bodyPr lIns="0" rIns="0" anchor="b"/>
          <a:lstStyle>
            <a:lvl1pPr marL="0" indent="0">
              <a:buNone/>
              <a:defRPr sz="16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0" y="1971675"/>
            <a:ext cx="5388864" cy="39512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7087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ample Tab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849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ample Fig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8" name="Content Placeholder 46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38322003"/>
              </p:ext>
            </p:extLst>
          </p:nvPr>
        </p:nvGraphicFramePr>
        <p:xfrm>
          <a:off x="908325" y="962535"/>
          <a:ext cx="9116883" cy="513196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1168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66204">
                <a:tc>
                  <a:txBody>
                    <a:bodyPr/>
                    <a:lstStyle/>
                    <a:p>
                      <a:r>
                        <a:rPr lang="en-US" sz="1900" b="1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Title in Title Case, No Period, and May Be Multiple Lines of Text</a:t>
                      </a:r>
                      <a:endParaRPr lang="en-US" sz="19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0" marR="0" marT="225379" marB="56345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280">
                <a:tc>
                  <a:txBody>
                    <a:bodyPr/>
                    <a:lstStyle/>
                    <a:p>
                      <a:endParaRPr lang="en-US" sz="500" b="1" dirty="0">
                        <a:solidFill>
                          <a:schemeClr val="tx2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41335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12689" marR="112689" marT="56345" marB="56345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8068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 Narrow" panose="020B0606020202030204" pitchFamily="34" charset="0"/>
                        </a:rPr>
                        <a:t>* Footnote is in sentence</a:t>
                      </a:r>
                      <a:r>
                        <a:rPr lang="en-US" sz="1100" baseline="0" dirty="0">
                          <a:latin typeface="Arial Narrow" panose="020B0606020202030204" pitchFamily="34" charset="0"/>
                        </a:rPr>
                        <a:t> case.</a:t>
                      </a:r>
                      <a:endParaRPr lang="en-US" sz="1100" dirty="0">
                        <a:latin typeface="Arial Narrow" panose="020B0606020202030204" pitchFamily="34" charset="0"/>
                      </a:endParaRPr>
                    </a:p>
                  </a:txBody>
                  <a:tcPr marL="90152" marR="112689" marT="112689" marB="56345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1120274" y="1749446"/>
            <a:ext cx="8756193" cy="4124208"/>
            <a:chOff x="840204" y="1312085"/>
            <a:chExt cx="6567145" cy="3093156"/>
          </a:xfrm>
        </p:grpSpPr>
        <p:sp>
          <p:nvSpPr>
            <p:cNvPr id="9" name="object 281"/>
            <p:cNvSpPr/>
            <p:nvPr userDrawn="1"/>
          </p:nvSpPr>
          <p:spPr>
            <a:xfrm>
              <a:off x="1497686" y="3124840"/>
              <a:ext cx="5756369" cy="716565"/>
            </a:xfrm>
            <a:custGeom>
              <a:avLst/>
              <a:gdLst/>
              <a:ahLst/>
              <a:cxnLst/>
              <a:rect l="l" t="t" r="r" b="b"/>
              <a:pathLst>
                <a:path w="3065779" h="381635">
                  <a:moveTo>
                    <a:pt x="0" y="0"/>
                  </a:moveTo>
                  <a:lnTo>
                    <a:pt x="87245" y="289579"/>
                  </a:lnTo>
                  <a:lnTo>
                    <a:pt x="305270" y="362347"/>
                  </a:lnTo>
                  <a:lnTo>
                    <a:pt x="612131" y="381258"/>
                  </a:lnTo>
                  <a:lnTo>
                    <a:pt x="1223579" y="366863"/>
                  </a:lnTo>
                  <a:lnTo>
                    <a:pt x="1837977" y="319474"/>
                  </a:lnTo>
                  <a:lnTo>
                    <a:pt x="2452414" y="299658"/>
                  </a:lnTo>
                  <a:lnTo>
                    <a:pt x="3065647" y="318906"/>
                  </a:lnTo>
                </a:path>
              </a:pathLst>
            </a:custGeom>
            <a:ln w="12700">
              <a:solidFill>
                <a:schemeClr val="accent6"/>
              </a:solidFill>
            </a:ln>
          </p:spPr>
          <p:txBody>
            <a:bodyPr wrap="square" lIns="0" tIns="0" rIns="0" bIns="0" rtlCol="0"/>
            <a:lstStyle/>
            <a:p>
              <a:endParaRPr sz="1300" dirty="0">
                <a:latin typeface="Arial Narrow" panose="020B0606020202030204" pitchFamily="34" charset="0"/>
              </a:endParaRPr>
            </a:p>
          </p:txBody>
        </p:sp>
        <p:sp>
          <p:nvSpPr>
            <p:cNvPr id="10" name="object 282"/>
            <p:cNvSpPr txBox="1"/>
            <p:nvPr userDrawn="1"/>
          </p:nvSpPr>
          <p:spPr>
            <a:xfrm>
              <a:off x="840204" y="1599168"/>
              <a:ext cx="161583" cy="2287289"/>
            </a:xfrm>
            <a:prstGeom prst="rect">
              <a:avLst/>
            </a:prstGeom>
          </p:spPr>
          <p:txBody>
            <a:bodyPr vert="vert270" wrap="square" lIns="0" tIns="7620" rIns="0" bIns="0" rtlCol="0">
              <a:spAutoFit/>
            </a:bodyPr>
            <a:lstStyle/>
            <a:p>
              <a:pPr marL="36829" marR="5080" indent="-24764" algn="ctr">
                <a:lnSpc>
                  <a:spcPct val="100000"/>
                </a:lnSpc>
                <a:spcBef>
                  <a:spcPts val="60"/>
                </a:spcBef>
              </a:pPr>
              <a:r>
                <a:rPr sz="1400" b="1" dirty="0" err="1">
                  <a:latin typeface="Arial Narrow" panose="020B0606020202030204" pitchFamily="34" charset="0"/>
                  <a:cs typeface="Calibri"/>
                </a:rPr>
                <a:t>Quatuscia</a:t>
              </a:r>
              <a:r>
                <a:rPr sz="1400" b="1" spc="15" dirty="0">
                  <a:latin typeface="Arial Narrow" panose="020B0606020202030204" pitchFamily="34" charset="0"/>
                  <a:cs typeface="Calibri"/>
                </a:rPr>
                <a:t> </a:t>
              </a:r>
              <a:r>
                <a:rPr sz="1400" b="1" dirty="0" err="1">
                  <a:latin typeface="Arial Narrow" panose="020B0606020202030204" pitchFamily="34" charset="0"/>
                  <a:cs typeface="Calibri"/>
                </a:rPr>
                <a:t>Rehent</a:t>
              </a:r>
              <a:r>
                <a:rPr sz="1400" b="1" dirty="0">
                  <a:latin typeface="Arial Narrow" panose="020B0606020202030204" pitchFamily="34" charset="0"/>
                  <a:cs typeface="Calibri"/>
                </a:rPr>
                <a:t>,</a:t>
              </a:r>
              <a:r>
                <a:rPr sz="1400" b="1" spc="-5" dirty="0">
                  <a:latin typeface="Arial Narrow" panose="020B0606020202030204" pitchFamily="34" charset="0"/>
                  <a:cs typeface="Calibri"/>
                </a:rPr>
                <a:t> </a:t>
              </a:r>
              <a:r>
                <a:rPr sz="1400" b="1" dirty="0">
                  <a:latin typeface="Arial Narrow" panose="020B0606020202030204" pitchFamily="34" charset="0"/>
                  <a:cs typeface="Calibri"/>
                </a:rPr>
                <a:t>%</a:t>
              </a:r>
              <a:endParaRPr sz="1400" dirty="0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11" name="object 283"/>
            <p:cNvSpPr txBox="1"/>
            <p:nvPr userDrawn="1"/>
          </p:nvSpPr>
          <p:spPr>
            <a:xfrm>
              <a:off x="6485104" y="1312085"/>
              <a:ext cx="700128" cy="909383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R="5080" indent="11113"/>
              <a:r>
                <a:rPr lang="en-US" sz="1300" spc="-10" dirty="0">
                  <a:latin typeface="Arial Narrow" panose="020B0606020202030204" pitchFamily="34" charset="0"/>
                  <a:cs typeface="Calibri"/>
                </a:rPr>
                <a:t>Category 1</a:t>
              </a:r>
            </a:p>
            <a:p>
              <a:pPr marR="5080" indent="11113"/>
              <a:r>
                <a:rPr lang="en-US" sz="1300" spc="-10" dirty="0">
                  <a:latin typeface="Arial Narrow" panose="020B0606020202030204" pitchFamily="34" charset="0"/>
                  <a:cs typeface="Calibri"/>
                </a:rPr>
                <a:t>Category 2</a:t>
              </a:r>
            </a:p>
            <a:p>
              <a:pPr marR="5080" indent="11113"/>
              <a:r>
                <a:rPr lang="en-US" sz="1300" spc="-10" dirty="0">
                  <a:latin typeface="Arial Narrow" panose="020B0606020202030204" pitchFamily="34" charset="0"/>
                  <a:cs typeface="Calibri"/>
                </a:rPr>
                <a:t>Category 3</a:t>
              </a:r>
            </a:p>
            <a:p>
              <a:pPr marR="5080" indent="11113"/>
              <a:r>
                <a:rPr lang="en-US" sz="1300" spc="-10" dirty="0">
                  <a:latin typeface="Arial Narrow" panose="020B0606020202030204" pitchFamily="34" charset="0"/>
                  <a:cs typeface="Calibri"/>
                </a:rPr>
                <a:t>Category 4</a:t>
              </a:r>
            </a:p>
            <a:p>
              <a:pPr marR="5080" indent="11113"/>
              <a:r>
                <a:rPr lang="en-US" sz="1300" spc="-10" dirty="0">
                  <a:latin typeface="Arial Narrow" panose="020B0606020202030204" pitchFamily="34" charset="0"/>
                  <a:cs typeface="Calibri"/>
                </a:rPr>
                <a:t>Category 5</a:t>
              </a:r>
            </a:p>
            <a:p>
              <a:pPr marR="5080" indent="11113"/>
              <a:r>
                <a:rPr lang="en-US" sz="1300" spc="-10" dirty="0">
                  <a:latin typeface="Arial Narrow" panose="020B0606020202030204" pitchFamily="34" charset="0"/>
                  <a:cs typeface="Calibri"/>
                </a:rPr>
                <a:t>Category 6</a:t>
              </a:r>
              <a:endParaRPr sz="1300" dirty="0">
                <a:latin typeface="Arial Narrow" panose="020B0606020202030204" pitchFamily="34" charset="0"/>
                <a:cs typeface="Calibri"/>
              </a:endParaRPr>
            </a:p>
          </p:txBody>
        </p:sp>
        <p:sp>
          <p:nvSpPr>
            <p:cNvPr id="12" name="object 296"/>
            <p:cNvSpPr txBox="1"/>
            <p:nvPr userDrawn="1"/>
          </p:nvSpPr>
          <p:spPr>
            <a:xfrm>
              <a:off x="1485931" y="4112084"/>
              <a:ext cx="5771940" cy="293157"/>
            </a:xfrm>
            <a:prstGeom prst="rect">
              <a:avLst/>
            </a:prstGeom>
          </p:spPr>
          <p:txBody>
            <a:bodyPr vert="horz" wrap="square" lIns="73152" tIns="91440" rIns="73152" bIns="82296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295"/>
                </a:spcBef>
              </a:pPr>
              <a:r>
                <a:rPr sz="1400" b="1" spc="5" dirty="0" err="1">
                  <a:latin typeface="Arial Narrow" panose="020B0606020202030204" pitchFamily="34" charset="0"/>
                  <a:cs typeface="Calibri"/>
                </a:rPr>
                <a:t>Quisi</a:t>
              </a:r>
              <a:r>
                <a:rPr sz="1400" b="1" spc="5" dirty="0">
                  <a:latin typeface="Arial Narrow" panose="020B0606020202030204" pitchFamily="34" charset="0"/>
                  <a:cs typeface="Calibri"/>
                </a:rPr>
                <a:t> </a:t>
              </a:r>
              <a:r>
                <a:rPr sz="1400" b="1" spc="0" dirty="0">
                  <a:latin typeface="Arial Narrow" panose="020B0606020202030204" pitchFamily="34" charset="0"/>
                  <a:cs typeface="Calibri"/>
                </a:rPr>
                <a:t>Qui </a:t>
              </a:r>
              <a:r>
                <a:rPr sz="1400" b="1" spc="5" dirty="0" err="1">
                  <a:latin typeface="Arial Narrow" panose="020B0606020202030204" pitchFamily="34" charset="0"/>
                  <a:cs typeface="Calibri"/>
                </a:rPr>
                <a:t>Audae</a:t>
              </a:r>
              <a:r>
                <a:rPr sz="1400" b="1" spc="5" dirty="0">
                  <a:latin typeface="Arial Narrow" panose="020B0606020202030204" pitchFamily="34" charset="0"/>
                  <a:cs typeface="Calibri"/>
                </a:rPr>
                <a:t>,</a:t>
              </a:r>
              <a:r>
                <a:rPr sz="1400" b="1" spc="-50" dirty="0">
                  <a:latin typeface="Arial Narrow" panose="020B0606020202030204" pitchFamily="34" charset="0"/>
                  <a:cs typeface="Calibri"/>
                </a:rPr>
                <a:t> </a:t>
              </a:r>
              <a:r>
                <a:rPr sz="1400" b="1" spc="0" dirty="0">
                  <a:latin typeface="Arial Narrow" panose="020B0606020202030204" pitchFamily="34" charset="0"/>
                  <a:cs typeface="Calibri"/>
                </a:rPr>
                <a:t>Weeks</a:t>
              </a:r>
              <a:endParaRPr sz="1400" dirty="0">
                <a:latin typeface="Arial Narrow" panose="020B0606020202030204" pitchFamily="34" charset="0"/>
                <a:cs typeface="Arial Narrow"/>
              </a:endParaRPr>
            </a:p>
          </p:txBody>
        </p:sp>
        <p:grpSp>
          <p:nvGrpSpPr>
            <p:cNvPr id="13" name="Group 12"/>
            <p:cNvGrpSpPr/>
            <p:nvPr userDrawn="1"/>
          </p:nvGrpSpPr>
          <p:grpSpPr>
            <a:xfrm>
              <a:off x="1106374" y="1522032"/>
              <a:ext cx="6300975" cy="2616924"/>
              <a:chOff x="8999449" y="7806421"/>
              <a:chExt cx="6757405" cy="2806489"/>
            </a:xfrm>
          </p:grpSpPr>
          <p:sp>
            <p:nvSpPr>
              <p:cNvPr id="14" name="object 22"/>
              <p:cNvSpPr/>
              <p:nvPr/>
            </p:nvSpPr>
            <p:spPr>
              <a:xfrm>
                <a:off x="9419448" y="7900994"/>
                <a:ext cx="0" cy="2441448"/>
              </a:xfrm>
              <a:custGeom>
                <a:avLst/>
                <a:gdLst/>
                <a:ahLst/>
                <a:cxnLst/>
                <a:rect l="l" t="t" r="r" b="b"/>
                <a:pathLst>
                  <a:path h="346710">
                    <a:moveTo>
                      <a:pt x="0" y="0"/>
                    </a:moveTo>
                    <a:lnTo>
                      <a:pt x="0" y="346106"/>
                    </a:lnTo>
                  </a:path>
                </a:pathLst>
              </a:custGeom>
              <a:ln w="9525" cap="sq">
                <a:solidFill>
                  <a:srgbClr val="231F20"/>
                </a:solidFill>
                <a:miter lim="800000"/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5" name="object 24"/>
              <p:cNvSpPr/>
              <p:nvPr/>
            </p:nvSpPr>
            <p:spPr>
              <a:xfrm>
                <a:off x="9318738" y="10342121"/>
                <a:ext cx="101014" cy="0"/>
              </a:xfrm>
              <a:custGeom>
                <a:avLst/>
                <a:gdLst/>
                <a:ahLst/>
                <a:cxnLst/>
                <a:rect l="l" t="t" r="r" b="b"/>
                <a:pathLst>
                  <a:path w="50164">
                    <a:moveTo>
                      <a:pt x="50014" y="0"/>
                    </a:moveTo>
                    <a:lnTo>
                      <a:pt x="0" y="0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6" name="object 25"/>
              <p:cNvSpPr/>
              <p:nvPr/>
            </p:nvSpPr>
            <p:spPr>
              <a:xfrm>
                <a:off x="9419109" y="10342121"/>
                <a:ext cx="632934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143250">
                    <a:moveTo>
                      <a:pt x="3142707" y="0"/>
                    </a:moveTo>
                    <a:lnTo>
                      <a:pt x="0" y="0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7" name="object 26"/>
              <p:cNvSpPr/>
              <p:nvPr/>
            </p:nvSpPr>
            <p:spPr>
              <a:xfrm>
                <a:off x="9350488" y="9940447"/>
                <a:ext cx="73152" cy="0"/>
              </a:xfrm>
              <a:custGeom>
                <a:avLst/>
                <a:gdLst/>
                <a:ahLst/>
                <a:cxnLst/>
                <a:rect l="l" t="t" r="r" b="b"/>
                <a:pathLst>
                  <a:path w="50164">
                    <a:moveTo>
                      <a:pt x="50014" y="0"/>
                    </a:moveTo>
                    <a:lnTo>
                      <a:pt x="0" y="0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8" name="object 27"/>
              <p:cNvSpPr/>
              <p:nvPr/>
            </p:nvSpPr>
            <p:spPr>
              <a:xfrm>
                <a:off x="9350488" y="9532174"/>
                <a:ext cx="73152" cy="0"/>
              </a:xfrm>
              <a:custGeom>
                <a:avLst/>
                <a:gdLst/>
                <a:ahLst/>
                <a:cxnLst/>
                <a:rect l="l" t="t" r="r" b="b"/>
                <a:pathLst>
                  <a:path w="50164">
                    <a:moveTo>
                      <a:pt x="50014" y="0"/>
                    </a:moveTo>
                    <a:lnTo>
                      <a:pt x="0" y="0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9" name="object 28"/>
              <p:cNvSpPr/>
              <p:nvPr/>
            </p:nvSpPr>
            <p:spPr>
              <a:xfrm>
                <a:off x="9350488" y="9123880"/>
                <a:ext cx="73152" cy="0"/>
              </a:xfrm>
              <a:custGeom>
                <a:avLst/>
                <a:gdLst/>
                <a:ahLst/>
                <a:cxnLst/>
                <a:rect l="l" t="t" r="r" b="b"/>
                <a:pathLst>
                  <a:path w="50164">
                    <a:moveTo>
                      <a:pt x="50014" y="0"/>
                    </a:moveTo>
                    <a:lnTo>
                      <a:pt x="0" y="0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20" name="object 29"/>
              <p:cNvSpPr/>
              <p:nvPr/>
            </p:nvSpPr>
            <p:spPr>
              <a:xfrm>
                <a:off x="9350488" y="8715604"/>
                <a:ext cx="73152" cy="0"/>
              </a:xfrm>
              <a:custGeom>
                <a:avLst/>
                <a:gdLst/>
                <a:ahLst/>
                <a:cxnLst/>
                <a:rect l="l" t="t" r="r" b="b"/>
                <a:pathLst>
                  <a:path w="50164">
                    <a:moveTo>
                      <a:pt x="50014" y="0"/>
                    </a:moveTo>
                    <a:lnTo>
                      <a:pt x="0" y="0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21" name="object 30"/>
              <p:cNvSpPr/>
              <p:nvPr/>
            </p:nvSpPr>
            <p:spPr>
              <a:xfrm>
                <a:off x="9350488" y="8311773"/>
                <a:ext cx="73152" cy="0"/>
              </a:xfrm>
              <a:custGeom>
                <a:avLst/>
                <a:gdLst/>
                <a:ahLst/>
                <a:cxnLst/>
                <a:rect l="l" t="t" r="r" b="b"/>
                <a:pathLst>
                  <a:path w="50164">
                    <a:moveTo>
                      <a:pt x="50014" y="0"/>
                    </a:moveTo>
                    <a:lnTo>
                      <a:pt x="0" y="0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22" name="object 31"/>
              <p:cNvSpPr/>
              <p:nvPr/>
            </p:nvSpPr>
            <p:spPr>
              <a:xfrm>
                <a:off x="9350488" y="7901012"/>
                <a:ext cx="73152" cy="0"/>
              </a:xfrm>
              <a:custGeom>
                <a:avLst/>
                <a:gdLst/>
                <a:ahLst/>
                <a:cxnLst/>
                <a:rect l="l" t="t" r="r" b="b"/>
                <a:pathLst>
                  <a:path w="50164">
                    <a:moveTo>
                      <a:pt x="50014" y="0"/>
                    </a:moveTo>
                    <a:lnTo>
                      <a:pt x="0" y="0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23" name="object 32"/>
              <p:cNvSpPr/>
              <p:nvPr/>
            </p:nvSpPr>
            <p:spPr>
              <a:xfrm>
                <a:off x="15592579" y="10342121"/>
                <a:ext cx="0" cy="70326"/>
              </a:xfrm>
              <a:custGeom>
                <a:avLst/>
                <a:gdLst/>
                <a:ahLst/>
                <a:cxnLst/>
                <a:rect l="l" t="t" r="r" b="b"/>
                <a:pathLst>
                  <a:path h="34925">
                    <a:moveTo>
                      <a:pt x="0" y="0"/>
                    </a:moveTo>
                    <a:lnTo>
                      <a:pt x="0" y="34317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24" name="object 33"/>
              <p:cNvSpPr/>
              <p:nvPr/>
            </p:nvSpPr>
            <p:spPr>
              <a:xfrm>
                <a:off x="14976458" y="10342121"/>
                <a:ext cx="0" cy="70326"/>
              </a:xfrm>
              <a:custGeom>
                <a:avLst/>
                <a:gdLst/>
                <a:ahLst/>
                <a:cxnLst/>
                <a:rect l="l" t="t" r="r" b="b"/>
                <a:pathLst>
                  <a:path h="34925">
                    <a:moveTo>
                      <a:pt x="0" y="0"/>
                    </a:moveTo>
                    <a:lnTo>
                      <a:pt x="0" y="34317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25" name="object 34"/>
              <p:cNvSpPr/>
              <p:nvPr/>
            </p:nvSpPr>
            <p:spPr>
              <a:xfrm>
                <a:off x="14357364" y="10342121"/>
                <a:ext cx="0" cy="70326"/>
              </a:xfrm>
              <a:custGeom>
                <a:avLst/>
                <a:gdLst/>
                <a:ahLst/>
                <a:cxnLst/>
                <a:rect l="l" t="t" r="r" b="b"/>
                <a:pathLst>
                  <a:path h="34925">
                    <a:moveTo>
                      <a:pt x="0" y="0"/>
                    </a:moveTo>
                    <a:lnTo>
                      <a:pt x="0" y="34317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26" name="object 35"/>
              <p:cNvSpPr/>
              <p:nvPr/>
            </p:nvSpPr>
            <p:spPr>
              <a:xfrm>
                <a:off x="13741225" y="10342121"/>
                <a:ext cx="0" cy="70326"/>
              </a:xfrm>
              <a:custGeom>
                <a:avLst/>
                <a:gdLst/>
                <a:ahLst/>
                <a:cxnLst/>
                <a:rect l="l" t="t" r="r" b="b"/>
                <a:pathLst>
                  <a:path h="34925">
                    <a:moveTo>
                      <a:pt x="0" y="0"/>
                    </a:moveTo>
                    <a:lnTo>
                      <a:pt x="0" y="34317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27" name="object 36"/>
              <p:cNvSpPr/>
              <p:nvPr/>
            </p:nvSpPr>
            <p:spPr>
              <a:xfrm>
                <a:off x="13122154" y="10342121"/>
                <a:ext cx="0" cy="70326"/>
              </a:xfrm>
              <a:custGeom>
                <a:avLst/>
                <a:gdLst/>
                <a:ahLst/>
                <a:cxnLst/>
                <a:rect l="l" t="t" r="r" b="b"/>
                <a:pathLst>
                  <a:path h="34925">
                    <a:moveTo>
                      <a:pt x="0" y="0"/>
                    </a:moveTo>
                    <a:lnTo>
                      <a:pt x="0" y="34317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28" name="object 37"/>
              <p:cNvSpPr/>
              <p:nvPr/>
            </p:nvSpPr>
            <p:spPr>
              <a:xfrm>
                <a:off x="12506015" y="10342121"/>
                <a:ext cx="0" cy="70326"/>
              </a:xfrm>
              <a:custGeom>
                <a:avLst/>
                <a:gdLst/>
                <a:ahLst/>
                <a:cxnLst/>
                <a:rect l="l" t="t" r="r" b="b"/>
                <a:pathLst>
                  <a:path h="34925">
                    <a:moveTo>
                      <a:pt x="0" y="0"/>
                    </a:moveTo>
                    <a:lnTo>
                      <a:pt x="0" y="34317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29" name="object 38"/>
              <p:cNvSpPr/>
              <p:nvPr/>
            </p:nvSpPr>
            <p:spPr>
              <a:xfrm>
                <a:off x="11886927" y="10342121"/>
                <a:ext cx="0" cy="70326"/>
              </a:xfrm>
              <a:custGeom>
                <a:avLst/>
                <a:gdLst/>
                <a:ahLst/>
                <a:cxnLst/>
                <a:rect l="l" t="t" r="r" b="b"/>
                <a:pathLst>
                  <a:path h="34925">
                    <a:moveTo>
                      <a:pt x="0" y="0"/>
                    </a:moveTo>
                    <a:lnTo>
                      <a:pt x="0" y="34317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30" name="object 39"/>
              <p:cNvSpPr/>
              <p:nvPr/>
            </p:nvSpPr>
            <p:spPr>
              <a:xfrm>
                <a:off x="11270788" y="10342121"/>
                <a:ext cx="0" cy="70326"/>
              </a:xfrm>
              <a:custGeom>
                <a:avLst/>
                <a:gdLst/>
                <a:ahLst/>
                <a:cxnLst/>
                <a:rect l="l" t="t" r="r" b="b"/>
                <a:pathLst>
                  <a:path h="34925">
                    <a:moveTo>
                      <a:pt x="0" y="0"/>
                    </a:moveTo>
                    <a:lnTo>
                      <a:pt x="0" y="34317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31" name="object 40"/>
              <p:cNvSpPr/>
              <p:nvPr/>
            </p:nvSpPr>
            <p:spPr>
              <a:xfrm>
                <a:off x="10651711" y="10342121"/>
                <a:ext cx="0" cy="70326"/>
              </a:xfrm>
              <a:custGeom>
                <a:avLst/>
                <a:gdLst/>
                <a:ahLst/>
                <a:cxnLst/>
                <a:rect l="l" t="t" r="r" b="b"/>
                <a:pathLst>
                  <a:path h="34925">
                    <a:moveTo>
                      <a:pt x="0" y="0"/>
                    </a:moveTo>
                    <a:lnTo>
                      <a:pt x="0" y="34317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32" name="object 41"/>
              <p:cNvSpPr/>
              <p:nvPr/>
            </p:nvSpPr>
            <p:spPr>
              <a:xfrm>
                <a:off x="10035593" y="10342121"/>
                <a:ext cx="0" cy="70326"/>
              </a:xfrm>
              <a:custGeom>
                <a:avLst/>
                <a:gdLst/>
                <a:ahLst/>
                <a:cxnLst/>
                <a:rect l="l" t="t" r="r" b="b"/>
                <a:pathLst>
                  <a:path h="34925">
                    <a:moveTo>
                      <a:pt x="0" y="0"/>
                    </a:moveTo>
                    <a:lnTo>
                      <a:pt x="0" y="34317"/>
                    </a:lnTo>
                  </a:path>
                </a:pathLst>
              </a:custGeom>
              <a:ln w="9525">
                <a:solidFill>
                  <a:srgbClr val="231F20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33" name="object 285"/>
              <p:cNvSpPr txBox="1"/>
              <p:nvPr/>
            </p:nvSpPr>
            <p:spPr>
              <a:xfrm>
                <a:off x="9140101" y="10242397"/>
                <a:ext cx="122751" cy="173288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marL="12700" algn="r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300" spc="-5">
                    <a:latin typeface="Arial Narrow" panose="020B0606020202030204" pitchFamily="34" charset="0"/>
                    <a:cs typeface="Calibri"/>
                  </a:rPr>
                  <a:t>0</a:t>
                </a:r>
                <a:endParaRPr sz="1300">
                  <a:latin typeface="Arial Narrow" panose="020B0606020202030204" pitchFamily="34" charset="0"/>
                  <a:cs typeface="Calibri"/>
                </a:endParaRPr>
              </a:p>
            </p:txBody>
          </p:sp>
          <p:sp>
            <p:nvSpPr>
              <p:cNvPr id="34" name="object 286"/>
              <p:cNvSpPr txBox="1"/>
              <p:nvPr/>
            </p:nvSpPr>
            <p:spPr>
              <a:xfrm>
                <a:off x="8999449" y="9836400"/>
                <a:ext cx="263403" cy="173288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marL="12700" algn="r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300" spc="-5">
                    <a:latin typeface="Arial Narrow" panose="020B0606020202030204" pitchFamily="34" charset="0"/>
                    <a:cs typeface="Calibri"/>
                  </a:rPr>
                  <a:t>100</a:t>
                </a:r>
                <a:endParaRPr sz="1300">
                  <a:latin typeface="Arial Narrow" panose="020B0606020202030204" pitchFamily="34" charset="0"/>
                  <a:cs typeface="Calibri"/>
                </a:endParaRPr>
              </a:p>
            </p:txBody>
          </p:sp>
          <p:sp>
            <p:nvSpPr>
              <p:cNvPr id="35" name="object 287"/>
              <p:cNvSpPr txBox="1"/>
              <p:nvPr/>
            </p:nvSpPr>
            <p:spPr>
              <a:xfrm>
                <a:off x="8999449" y="9430405"/>
                <a:ext cx="263403" cy="173288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marL="12700" algn="r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300" spc="-5">
                    <a:latin typeface="Arial Narrow" panose="020B0606020202030204" pitchFamily="34" charset="0"/>
                    <a:cs typeface="Calibri"/>
                  </a:rPr>
                  <a:t>200</a:t>
                </a:r>
                <a:endParaRPr sz="1300">
                  <a:latin typeface="Arial Narrow" panose="020B0606020202030204" pitchFamily="34" charset="0"/>
                  <a:cs typeface="Calibri"/>
                </a:endParaRPr>
              </a:p>
            </p:txBody>
          </p:sp>
          <p:sp>
            <p:nvSpPr>
              <p:cNvPr id="36" name="object 288"/>
              <p:cNvSpPr txBox="1"/>
              <p:nvPr/>
            </p:nvSpPr>
            <p:spPr>
              <a:xfrm>
                <a:off x="8999449" y="9024410"/>
                <a:ext cx="263403" cy="173288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marL="12700" algn="r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300" spc="-5" dirty="0">
                    <a:latin typeface="Arial Narrow" panose="020B0606020202030204" pitchFamily="34" charset="0"/>
                    <a:cs typeface="Calibri"/>
                  </a:rPr>
                  <a:t>300</a:t>
                </a:r>
                <a:endParaRPr sz="1300" dirty="0">
                  <a:latin typeface="Arial Narrow" panose="020B0606020202030204" pitchFamily="34" charset="0"/>
                  <a:cs typeface="Calibri"/>
                </a:endParaRPr>
              </a:p>
            </p:txBody>
          </p:sp>
          <p:sp>
            <p:nvSpPr>
              <p:cNvPr id="37" name="object 289"/>
              <p:cNvSpPr txBox="1"/>
              <p:nvPr/>
            </p:nvSpPr>
            <p:spPr>
              <a:xfrm>
                <a:off x="8999449" y="8618414"/>
                <a:ext cx="263403" cy="173288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marL="12700" algn="r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300" spc="-5" dirty="0">
                    <a:latin typeface="Arial Narrow" panose="020B0606020202030204" pitchFamily="34" charset="0"/>
                    <a:cs typeface="Calibri"/>
                  </a:rPr>
                  <a:t>400</a:t>
                </a:r>
                <a:endParaRPr sz="1300" dirty="0">
                  <a:latin typeface="Arial Narrow" panose="020B0606020202030204" pitchFamily="34" charset="0"/>
                  <a:cs typeface="Calibri"/>
                </a:endParaRPr>
              </a:p>
            </p:txBody>
          </p:sp>
          <p:sp>
            <p:nvSpPr>
              <p:cNvPr id="38" name="object 290"/>
              <p:cNvSpPr txBox="1"/>
              <p:nvPr/>
            </p:nvSpPr>
            <p:spPr>
              <a:xfrm>
                <a:off x="8999449" y="8212418"/>
                <a:ext cx="263403" cy="173288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marL="12700" algn="r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300" spc="-5">
                    <a:latin typeface="Arial Narrow" panose="020B0606020202030204" pitchFamily="34" charset="0"/>
                    <a:cs typeface="Calibri"/>
                  </a:rPr>
                  <a:t>500</a:t>
                </a:r>
                <a:endParaRPr sz="1300">
                  <a:latin typeface="Arial Narrow" panose="020B0606020202030204" pitchFamily="34" charset="0"/>
                  <a:cs typeface="Calibri"/>
                </a:endParaRPr>
              </a:p>
            </p:txBody>
          </p:sp>
          <p:sp>
            <p:nvSpPr>
              <p:cNvPr id="39" name="object 291"/>
              <p:cNvSpPr txBox="1"/>
              <p:nvPr/>
            </p:nvSpPr>
            <p:spPr>
              <a:xfrm>
                <a:off x="8999449" y="7806421"/>
                <a:ext cx="263403" cy="173288"/>
              </a:xfrm>
              <a:prstGeom prst="rect">
                <a:avLst/>
              </a:prstGeom>
            </p:spPr>
            <p:txBody>
              <a:bodyPr vert="horz" wrap="square" lIns="0" tIns="15240" rIns="0" bIns="0" rtlCol="0">
                <a:spAutoFit/>
              </a:bodyPr>
              <a:lstStyle/>
              <a:p>
                <a:pPr marL="12700" algn="r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300" spc="-5" dirty="0">
                    <a:latin typeface="Arial Narrow" panose="020B0606020202030204" pitchFamily="34" charset="0"/>
                    <a:cs typeface="Calibri"/>
                  </a:rPr>
                  <a:t>600</a:t>
                </a:r>
                <a:endParaRPr sz="1300" dirty="0">
                  <a:latin typeface="Arial Narrow" panose="020B0606020202030204" pitchFamily="34" charset="0"/>
                  <a:cs typeface="Calibri"/>
                </a:endParaRPr>
              </a:p>
            </p:txBody>
          </p:sp>
          <p:sp>
            <p:nvSpPr>
              <p:cNvPr id="40" name="object 292"/>
              <p:cNvSpPr txBox="1"/>
              <p:nvPr/>
            </p:nvSpPr>
            <p:spPr>
              <a:xfrm>
                <a:off x="13580853" y="10351300"/>
                <a:ext cx="320040" cy="261610"/>
              </a:xfrm>
              <a:prstGeom prst="rect">
                <a:avLst/>
              </a:prstGeom>
            </p:spPr>
            <p:txBody>
              <a:bodyPr vert="horz" wrap="square" lIns="0" tIns="91440" rIns="0" bIns="0" rtlCol="0">
                <a:no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300" spc="-5">
                    <a:latin typeface="Arial Narrow" panose="020B0606020202030204" pitchFamily="34" charset="0"/>
                    <a:cs typeface="Calibri"/>
                  </a:rPr>
                  <a:t>28</a:t>
                </a:r>
                <a:endParaRPr sz="1300">
                  <a:latin typeface="Arial Narrow" panose="020B0606020202030204" pitchFamily="34" charset="0"/>
                  <a:cs typeface="Calibri"/>
                </a:endParaRPr>
              </a:p>
            </p:txBody>
          </p:sp>
          <p:sp>
            <p:nvSpPr>
              <p:cNvPr id="41" name="object 293"/>
              <p:cNvSpPr txBox="1"/>
              <p:nvPr/>
            </p:nvSpPr>
            <p:spPr>
              <a:xfrm>
                <a:off x="14197767" y="10351300"/>
                <a:ext cx="320040" cy="261610"/>
              </a:xfrm>
              <a:prstGeom prst="rect">
                <a:avLst/>
              </a:prstGeom>
            </p:spPr>
            <p:txBody>
              <a:bodyPr vert="horz" wrap="square" lIns="0" tIns="91440" rIns="0" bIns="0" rtlCol="0">
                <a:no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300" spc="-5">
                    <a:latin typeface="Arial Narrow" panose="020B0606020202030204" pitchFamily="34" charset="0"/>
                    <a:cs typeface="Calibri"/>
                  </a:rPr>
                  <a:t>32</a:t>
                </a:r>
                <a:endParaRPr sz="1300">
                  <a:latin typeface="Arial Narrow" panose="020B0606020202030204" pitchFamily="34" charset="0"/>
                  <a:cs typeface="Calibri"/>
                </a:endParaRPr>
              </a:p>
            </p:txBody>
          </p:sp>
          <p:sp>
            <p:nvSpPr>
              <p:cNvPr id="42" name="object 296"/>
              <p:cNvSpPr txBox="1"/>
              <p:nvPr/>
            </p:nvSpPr>
            <p:spPr>
              <a:xfrm>
                <a:off x="9261383" y="10351300"/>
                <a:ext cx="320040" cy="261610"/>
              </a:xfrm>
              <a:prstGeom prst="rect">
                <a:avLst/>
              </a:prstGeom>
            </p:spPr>
            <p:txBody>
              <a:bodyPr vert="horz" wrap="square" lIns="0" tIns="91440" rIns="0" bIns="0" rtlCol="0">
                <a:no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385"/>
                  </a:spcBef>
                  <a:tabLst>
                    <a:tab pos="745472" algn="l"/>
                    <a:tab pos="1052169" algn="l"/>
                    <a:tab pos="1341086" algn="l"/>
                    <a:tab pos="1647148" algn="l"/>
                    <a:tab pos="1953846" algn="l"/>
                    <a:tab pos="2259908" algn="l"/>
                  </a:tabLst>
                </a:pPr>
                <a:r>
                  <a:rPr sz="1300" spc="-5" dirty="0">
                    <a:latin typeface="Arial Narrow" panose="020B0606020202030204" pitchFamily="34" charset="0"/>
                    <a:cs typeface="Calibri"/>
                  </a:rPr>
                  <a:t>0</a:t>
                </a:r>
                <a:endParaRPr sz="1300" dirty="0">
                  <a:latin typeface="Arial Narrow" panose="020B0606020202030204" pitchFamily="34" charset="0"/>
                  <a:cs typeface="Arial Narrow"/>
                </a:endParaRPr>
              </a:p>
            </p:txBody>
          </p:sp>
          <p:sp>
            <p:nvSpPr>
              <p:cNvPr id="43" name="object 296"/>
              <p:cNvSpPr txBox="1"/>
              <p:nvPr/>
            </p:nvSpPr>
            <p:spPr>
              <a:xfrm>
                <a:off x="9878450" y="10351300"/>
                <a:ext cx="320040" cy="261610"/>
              </a:xfrm>
              <a:prstGeom prst="rect">
                <a:avLst/>
              </a:prstGeom>
            </p:spPr>
            <p:txBody>
              <a:bodyPr vert="horz" wrap="square" lIns="0" tIns="91440" rIns="0" bIns="0" rtlCol="0">
                <a:no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385"/>
                  </a:spcBef>
                  <a:tabLst>
                    <a:tab pos="745472" algn="l"/>
                    <a:tab pos="1052169" algn="l"/>
                    <a:tab pos="1341086" algn="l"/>
                    <a:tab pos="1647148" algn="l"/>
                    <a:tab pos="1953846" algn="l"/>
                    <a:tab pos="2259908" algn="l"/>
                  </a:tabLst>
                </a:pPr>
                <a:r>
                  <a:rPr lang="en-US" sz="1300" spc="-5">
                    <a:latin typeface="Arial Narrow" panose="020B0606020202030204" pitchFamily="34" charset="0"/>
                    <a:cs typeface="Calibri"/>
                  </a:rPr>
                  <a:t>4</a:t>
                </a:r>
                <a:endParaRPr sz="1300">
                  <a:latin typeface="Arial Narrow" panose="020B0606020202030204" pitchFamily="34" charset="0"/>
                  <a:cs typeface="Arial Narrow"/>
                </a:endParaRPr>
              </a:p>
            </p:txBody>
          </p:sp>
          <p:sp>
            <p:nvSpPr>
              <p:cNvPr id="44" name="object 296"/>
              <p:cNvSpPr txBox="1"/>
              <p:nvPr/>
            </p:nvSpPr>
            <p:spPr>
              <a:xfrm>
                <a:off x="10495517" y="10351300"/>
                <a:ext cx="320040" cy="261610"/>
              </a:xfrm>
              <a:prstGeom prst="rect">
                <a:avLst/>
              </a:prstGeom>
            </p:spPr>
            <p:txBody>
              <a:bodyPr vert="horz" wrap="square" lIns="0" tIns="91440" rIns="0" bIns="0" rtlCol="0">
                <a:no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385"/>
                  </a:spcBef>
                  <a:tabLst>
                    <a:tab pos="745472" algn="l"/>
                    <a:tab pos="1052169" algn="l"/>
                    <a:tab pos="1341086" algn="l"/>
                    <a:tab pos="1647148" algn="l"/>
                    <a:tab pos="1953846" algn="l"/>
                    <a:tab pos="2259908" algn="l"/>
                  </a:tabLst>
                </a:pPr>
                <a:r>
                  <a:rPr lang="en-US" sz="1300" spc="-5">
                    <a:latin typeface="Arial Narrow" panose="020B0606020202030204" pitchFamily="34" charset="0"/>
                    <a:cs typeface="Calibri"/>
                  </a:rPr>
                  <a:t>8</a:t>
                </a:r>
                <a:endParaRPr sz="1300">
                  <a:latin typeface="Arial Narrow" panose="020B0606020202030204" pitchFamily="34" charset="0"/>
                  <a:cs typeface="Arial Narrow"/>
                </a:endParaRPr>
              </a:p>
            </p:txBody>
          </p:sp>
          <p:sp>
            <p:nvSpPr>
              <p:cNvPr id="45" name="object 296"/>
              <p:cNvSpPr txBox="1"/>
              <p:nvPr/>
            </p:nvSpPr>
            <p:spPr>
              <a:xfrm>
                <a:off x="11112584" y="10351300"/>
                <a:ext cx="320040" cy="261610"/>
              </a:xfrm>
              <a:prstGeom prst="rect">
                <a:avLst/>
              </a:prstGeom>
            </p:spPr>
            <p:txBody>
              <a:bodyPr vert="horz" wrap="square" lIns="0" tIns="91440" rIns="0" bIns="0" rtlCol="0">
                <a:no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385"/>
                  </a:spcBef>
                  <a:tabLst>
                    <a:tab pos="745472" algn="l"/>
                    <a:tab pos="1052169" algn="l"/>
                    <a:tab pos="1341086" algn="l"/>
                    <a:tab pos="1647148" algn="l"/>
                    <a:tab pos="1953846" algn="l"/>
                    <a:tab pos="2259908" algn="l"/>
                  </a:tabLst>
                </a:pPr>
                <a:r>
                  <a:rPr lang="en-US" sz="1300" spc="-5">
                    <a:latin typeface="Arial Narrow" panose="020B0606020202030204" pitchFamily="34" charset="0"/>
                    <a:cs typeface="Calibri"/>
                  </a:rPr>
                  <a:t>12</a:t>
                </a:r>
                <a:endParaRPr sz="1300">
                  <a:latin typeface="Arial Narrow" panose="020B0606020202030204" pitchFamily="34" charset="0"/>
                  <a:cs typeface="Arial Narrow"/>
                </a:endParaRPr>
              </a:p>
            </p:txBody>
          </p:sp>
          <p:sp>
            <p:nvSpPr>
              <p:cNvPr id="46" name="object 296"/>
              <p:cNvSpPr txBox="1"/>
              <p:nvPr/>
            </p:nvSpPr>
            <p:spPr>
              <a:xfrm>
                <a:off x="11729651" y="10351300"/>
                <a:ext cx="320040" cy="261610"/>
              </a:xfrm>
              <a:prstGeom prst="rect">
                <a:avLst/>
              </a:prstGeom>
            </p:spPr>
            <p:txBody>
              <a:bodyPr vert="horz" wrap="square" lIns="0" tIns="91440" rIns="0" bIns="0" rtlCol="0">
                <a:no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385"/>
                  </a:spcBef>
                  <a:tabLst>
                    <a:tab pos="745472" algn="l"/>
                    <a:tab pos="1052169" algn="l"/>
                    <a:tab pos="1341086" algn="l"/>
                    <a:tab pos="1647148" algn="l"/>
                    <a:tab pos="1953846" algn="l"/>
                    <a:tab pos="2259908" algn="l"/>
                  </a:tabLst>
                </a:pPr>
                <a:r>
                  <a:rPr lang="en-US" sz="1300" spc="-5">
                    <a:latin typeface="Arial Narrow" panose="020B0606020202030204" pitchFamily="34" charset="0"/>
                    <a:cs typeface="Calibri"/>
                  </a:rPr>
                  <a:t>16</a:t>
                </a:r>
                <a:endParaRPr sz="1300">
                  <a:latin typeface="Arial Narrow" panose="020B0606020202030204" pitchFamily="34" charset="0"/>
                  <a:cs typeface="Arial Narrow"/>
                </a:endParaRPr>
              </a:p>
            </p:txBody>
          </p:sp>
          <p:sp>
            <p:nvSpPr>
              <p:cNvPr id="47" name="object 296"/>
              <p:cNvSpPr txBox="1"/>
              <p:nvPr/>
            </p:nvSpPr>
            <p:spPr>
              <a:xfrm>
                <a:off x="12346718" y="10351300"/>
                <a:ext cx="320040" cy="261610"/>
              </a:xfrm>
              <a:prstGeom prst="rect">
                <a:avLst/>
              </a:prstGeom>
            </p:spPr>
            <p:txBody>
              <a:bodyPr vert="horz" wrap="square" lIns="0" tIns="91440" rIns="0" bIns="0" rtlCol="0">
                <a:no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385"/>
                  </a:spcBef>
                  <a:tabLst>
                    <a:tab pos="745472" algn="l"/>
                    <a:tab pos="1052169" algn="l"/>
                    <a:tab pos="1341086" algn="l"/>
                    <a:tab pos="1647148" algn="l"/>
                    <a:tab pos="1953846" algn="l"/>
                    <a:tab pos="2259908" algn="l"/>
                  </a:tabLst>
                </a:pPr>
                <a:r>
                  <a:rPr lang="en-US" sz="1300" spc="-5" dirty="0">
                    <a:latin typeface="Arial Narrow" panose="020B0606020202030204" pitchFamily="34" charset="0"/>
                    <a:cs typeface="Calibri"/>
                  </a:rPr>
                  <a:t>20</a:t>
                </a:r>
                <a:endParaRPr sz="1300" dirty="0">
                  <a:latin typeface="Arial Narrow" panose="020B0606020202030204" pitchFamily="34" charset="0"/>
                  <a:cs typeface="Arial Narrow"/>
                </a:endParaRPr>
              </a:p>
            </p:txBody>
          </p:sp>
          <p:sp>
            <p:nvSpPr>
              <p:cNvPr id="48" name="object 296"/>
              <p:cNvSpPr txBox="1"/>
              <p:nvPr/>
            </p:nvSpPr>
            <p:spPr>
              <a:xfrm>
                <a:off x="12963785" y="10351300"/>
                <a:ext cx="320040" cy="261610"/>
              </a:xfrm>
              <a:prstGeom prst="rect">
                <a:avLst/>
              </a:prstGeom>
            </p:spPr>
            <p:txBody>
              <a:bodyPr vert="horz" wrap="square" lIns="0" tIns="91440" rIns="0" bIns="0" rtlCol="0">
                <a:no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385"/>
                  </a:spcBef>
                  <a:tabLst>
                    <a:tab pos="745472" algn="l"/>
                    <a:tab pos="1052169" algn="l"/>
                    <a:tab pos="1341086" algn="l"/>
                    <a:tab pos="1647148" algn="l"/>
                    <a:tab pos="1953846" algn="l"/>
                    <a:tab pos="2259908" algn="l"/>
                  </a:tabLst>
                </a:pPr>
                <a:r>
                  <a:rPr lang="en-US" sz="1300" spc="-5">
                    <a:latin typeface="Arial Narrow" panose="020B0606020202030204" pitchFamily="34" charset="0"/>
                    <a:cs typeface="Calibri"/>
                  </a:rPr>
                  <a:t>24</a:t>
                </a:r>
                <a:endParaRPr sz="1300">
                  <a:latin typeface="Arial Narrow" panose="020B0606020202030204" pitchFamily="34" charset="0"/>
                  <a:cs typeface="Arial Narrow"/>
                </a:endParaRPr>
              </a:p>
            </p:txBody>
          </p:sp>
          <p:sp>
            <p:nvSpPr>
              <p:cNvPr id="49" name="object 293"/>
              <p:cNvSpPr txBox="1"/>
              <p:nvPr/>
            </p:nvSpPr>
            <p:spPr>
              <a:xfrm>
                <a:off x="14814568" y="10351300"/>
                <a:ext cx="320040" cy="261610"/>
              </a:xfrm>
              <a:prstGeom prst="rect">
                <a:avLst/>
              </a:prstGeom>
            </p:spPr>
            <p:txBody>
              <a:bodyPr vert="horz" wrap="square" lIns="0" tIns="91440" rIns="0" bIns="0" rtlCol="0">
                <a:no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20"/>
                  </a:spcBef>
                </a:pPr>
                <a:r>
                  <a:rPr sz="1300" spc="-5">
                    <a:latin typeface="Arial Narrow" panose="020B0606020202030204" pitchFamily="34" charset="0"/>
                    <a:cs typeface="Calibri"/>
                  </a:rPr>
                  <a:t>3</a:t>
                </a:r>
                <a:r>
                  <a:rPr lang="en-US" sz="1300" spc="-5">
                    <a:latin typeface="Arial Narrow" panose="020B0606020202030204" pitchFamily="34" charset="0"/>
                    <a:cs typeface="Calibri"/>
                  </a:rPr>
                  <a:t>6</a:t>
                </a:r>
                <a:endParaRPr sz="1300">
                  <a:latin typeface="Arial Narrow" panose="020B0606020202030204" pitchFamily="34" charset="0"/>
                  <a:cs typeface="Calibri"/>
                </a:endParaRPr>
              </a:p>
            </p:txBody>
          </p:sp>
          <p:sp>
            <p:nvSpPr>
              <p:cNvPr id="50" name="object 293"/>
              <p:cNvSpPr txBox="1"/>
              <p:nvPr/>
            </p:nvSpPr>
            <p:spPr>
              <a:xfrm>
                <a:off x="15436814" y="10351300"/>
                <a:ext cx="320040" cy="261610"/>
              </a:xfrm>
              <a:prstGeom prst="rect">
                <a:avLst/>
              </a:prstGeom>
            </p:spPr>
            <p:txBody>
              <a:bodyPr vert="horz" wrap="square" lIns="0" tIns="91440" rIns="0" bIns="0" rtlCol="0">
                <a:no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20"/>
                  </a:spcBef>
                </a:pPr>
                <a:r>
                  <a:rPr lang="en-US" sz="1300" spc="-5">
                    <a:latin typeface="Arial Narrow" panose="020B0606020202030204" pitchFamily="34" charset="0"/>
                    <a:cs typeface="Calibri"/>
                  </a:rPr>
                  <a:t>40</a:t>
                </a:r>
                <a:endParaRPr sz="1300">
                  <a:latin typeface="Arial Narrow" panose="020B0606020202030204" pitchFamily="34" charset="0"/>
                  <a:cs typeface="Calibri"/>
                </a:endParaRPr>
              </a:p>
            </p:txBody>
          </p:sp>
        </p:grpSp>
        <p:grpSp>
          <p:nvGrpSpPr>
            <p:cNvPr id="51" name="Group 50"/>
            <p:cNvGrpSpPr/>
            <p:nvPr userDrawn="1"/>
          </p:nvGrpSpPr>
          <p:grpSpPr>
            <a:xfrm>
              <a:off x="6219865" y="1384244"/>
              <a:ext cx="213159" cy="88782"/>
              <a:chOff x="13688521" y="7403873"/>
              <a:chExt cx="228600" cy="95213"/>
            </a:xfrm>
          </p:grpSpPr>
          <p:sp>
            <p:nvSpPr>
              <p:cNvPr id="52" name="object 193"/>
              <p:cNvSpPr/>
              <p:nvPr/>
            </p:nvSpPr>
            <p:spPr>
              <a:xfrm flipH="1">
                <a:off x="13755215" y="7403873"/>
                <a:ext cx="95213" cy="95213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29166" y="0"/>
                    </a:moveTo>
                    <a:lnTo>
                      <a:pt x="0" y="58324"/>
                    </a:lnTo>
                    <a:lnTo>
                      <a:pt x="58321" y="58324"/>
                    </a:lnTo>
                    <a:lnTo>
                      <a:pt x="29166" y="0"/>
                    </a:lnTo>
                    <a:close/>
                  </a:path>
                </a:pathLst>
              </a:custGeom>
              <a:solidFill>
                <a:schemeClr val="accent1"/>
              </a:solidFill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cxnSp>
            <p:nvCxnSpPr>
              <p:cNvPr id="53" name="Straight Connector 52"/>
              <p:cNvCxnSpPr/>
              <p:nvPr/>
            </p:nvCxnSpPr>
            <p:spPr>
              <a:xfrm>
                <a:off x="13688521" y="7462839"/>
                <a:ext cx="228600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4" name="Group 53"/>
            <p:cNvGrpSpPr/>
            <p:nvPr userDrawn="1"/>
          </p:nvGrpSpPr>
          <p:grpSpPr>
            <a:xfrm>
              <a:off x="6219865" y="1595435"/>
              <a:ext cx="213159" cy="88782"/>
              <a:chOff x="13688521" y="7588000"/>
              <a:chExt cx="228600" cy="95213"/>
            </a:xfrm>
          </p:grpSpPr>
          <p:sp>
            <p:nvSpPr>
              <p:cNvPr id="55" name="object 208"/>
              <p:cNvSpPr/>
              <p:nvPr/>
            </p:nvSpPr>
            <p:spPr>
              <a:xfrm flipH="1">
                <a:off x="13755215" y="7588000"/>
                <a:ext cx="95213" cy="95213"/>
              </a:xfrm>
              <a:prstGeom prst="ellipse">
                <a:avLst/>
              </a:prstGeom>
              <a:solidFill>
                <a:schemeClr val="accent2"/>
              </a:solidFill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cxnSp>
            <p:nvCxnSpPr>
              <p:cNvPr id="56" name="Straight Connector 55"/>
              <p:cNvCxnSpPr/>
              <p:nvPr/>
            </p:nvCxnSpPr>
            <p:spPr>
              <a:xfrm>
                <a:off x="13688521" y="7635474"/>
                <a:ext cx="228600" cy="0"/>
              </a:xfrm>
              <a:prstGeom prst="line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" name="Group 56"/>
            <p:cNvGrpSpPr/>
            <p:nvPr userDrawn="1"/>
          </p:nvGrpSpPr>
          <p:grpSpPr>
            <a:xfrm>
              <a:off x="6219865" y="1978566"/>
              <a:ext cx="213159" cy="95383"/>
              <a:chOff x="13688521" y="8030272"/>
              <a:chExt cx="228600" cy="102292"/>
            </a:xfrm>
          </p:grpSpPr>
          <p:sp>
            <p:nvSpPr>
              <p:cNvPr id="58" name="object 245"/>
              <p:cNvSpPr/>
              <p:nvPr/>
            </p:nvSpPr>
            <p:spPr>
              <a:xfrm>
                <a:off x="13751675" y="8030272"/>
                <a:ext cx="102292" cy="102292"/>
              </a:xfrm>
              <a:custGeom>
                <a:avLst/>
                <a:gdLst/>
                <a:ahLst/>
                <a:cxnLst/>
                <a:rect l="l" t="t" r="r" b="b"/>
                <a:pathLst>
                  <a:path w="50800" h="50800">
                    <a:moveTo>
                      <a:pt x="25087" y="0"/>
                    </a:moveTo>
                    <a:lnTo>
                      <a:pt x="0" y="25084"/>
                    </a:lnTo>
                    <a:lnTo>
                      <a:pt x="25084" y="50169"/>
                    </a:lnTo>
                    <a:lnTo>
                      <a:pt x="50172" y="25081"/>
                    </a:lnTo>
                    <a:lnTo>
                      <a:pt x="25087" y="0"/>
                    </a:lnTo>
                    <a:close/>
                  </a:path>
                </a:pathLst>
              </a:custGeom>
              <a:solidFill>
                <a:schemeClr val="accent4"/>
              </a:solidFill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cxnSp>
            <p:nvCxnSpPr>
              <p:cNvPr id="59" name="Straight Connector 58"/>
              <p:cNvCxnSpPr/>
              <p:nvPr/>
            </p:nvCxnSpPr>
            <p:spPr>
              <a:xfrm>
                <a:off x="13688521" y="8079329"/>
                <a:ext cx="228600" cy="0"/>
              </a:xfrm>
              <a:prstGeom prst="line">
                <a:avLst/>
              </a:prstGeom>
              <a:ln w="1270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/>
            <p:cNvGrpSpPr/>
            <p:nvPr userDrawn="1"/>
          </p:nvGrpSpPr>
          <p:grpSpPr>
            <a:xfrm>
              <a:off x="6219865" y="2396361"/>
              <a:ext cx="213159" cy="66588"/>
              <a:chOff x="14483351" y="8782092"/>
              <a:chExt cx="228600" cy="71411"/>
            </a:xfrm>
          </p:grpSpPr>
          <p:sp>
            <p:nvSpPr>
              <p:cNvPr id="61" name="object 277"/>
              <p:cNvSpPr/>
              <p:nvPr/>
            </p:nvSpPr>
            <p:spPr>
              <a:xfrm flipH="1">
                <a:off x="14554854" y="8782092"/>
                <a:ext cx="89005" cy="71411"/>
              </a:xfrm>
              <a:custGeom>
                <a:avLst/>
                <a:gdLst/>
                <a:ahLst/>
                <a:cxnLst/>
                <a:rect l="l" t="t" r="r" b="b"/>
                <a:pathLst>
                  <a:path w="54609" h="43814">
                    <a:moveTo>
                      <a:pt x="17044" y="0"/>
                    </a:moveTo>
                    <a:lnTo>
                      <a:pt x="658" y="0"/>
                    </a:lnTo>
                    <a:lnTo>
                      <a:pt x="18264" y="21366"/>
                    </a:lnTo>
                    <a:lnTo>
                      <a:pt x="0" y="43249"/>
                    </a:lnTo>
                    <a:lnTo>
                      <a:pt x="16298" y="43249"/>
                    </a:lnTo>
                    <a:lnTo>
                      <a:pt x="21539" y="35418"/>
                    </a:lnTo>
                    <a:lnTo>
                      <a:pt x="23509" y="32405"/>
                    </a:lnTo>
                    <a:lnTo>
                      <a:pt x="25099" y="30159"/>
                    </a:lnTo>
                    <a:lnTo>
                      <a:pt x="26413" y="27655"/>
                    </a:lnTo>
                    <a:lnTo>
                      <a:pt x="41219" y="27655"/>
                    </a:lnTo>
                    <a:lnTo>
                      <a:pt x="35682" y="21111"/>
                    </a:lnTo>
                    <a:lnTo>
                      <a:pt x="40768" y="15078"/>
                    </a:lnTo>
                    <a:lnTo>
                      <a:pt x="27345" y="15078"/>
                    </a:lnTo>
                    <a:lnTo>
                      <a:pt x="25849" y="12640"/>
                    </a:lnTo>
                    <a:lnTo>
                      <a:pt x="24444" y="10522"/>
                    </a:lnTo>
                    <a:lnTo>
                      <a:pt x="22571" y="7891"/>
                    </a:lnTo>
                    <a:lnTo>
                      <a:pt x="17044" y="0"/>
                    </a:lnTo>
                    <a:close/>
                  </a:path>
                  <a:path w="54609" h="43814">
                    <a:moveTo>
                      <a:pt x="41219" y="27655"/>
                    </a:moveTo>
                    <a:lnTo>
                      <a:pt x="26599" y="27655"/>
                    </a:lnTo>
                    <a:lnTo>
                      <a:pt x="28377" y="30159"/>
                    </a:lnTo>
                    <a:lnTo>
                      <a:pt x="29873" y="32405"/>
                    </a:lnTo>
                    <a:lnTo>
                      <a:pt x="32216" y="35418"/>
                    </a:lnTo>
                    <a:lnTo>
                      <a:pt x="37931" y="43249"/>
                    </a:lnTo>
                    <a:lnTo>
                      <a:pt x="54415" y="43249"/>
                    </a:lnTo>
                    <a:lnTo>
                      <a:pt x="41219" y="27655"/>
                    </a:lnTo>
                    <a:close/>
                  </a:path>
                  <a:path w="54609" h="43814">
                    <a:moveTo>
                      <a:pt x="53477" y="0"/>
                    </a:moveTo>
                    <a:lnTo>
                      <a:pt x="37179" y="0"/>
                    </a:lnTo>
                    <a:lnTo>
                      <a:pt x="31843" y="7891"/>
                    </a:lnTo>
                    <a:lnTo>
                      <a:pt x="29033" y="12319"/>
                    </a:lnTo>
                    <a:lnTo>
                      <a:pt x="27533" y="15078"/>
                    </a:lnTo>
                    <a:lnTo>
                      <a:pt x="40768" y="15078"/>
                    </a:lnTo>
                    <a:lnTo>
                      <a:pt x="53477" y="0"/>
                    </a:lnTo>
                    <a:close/>
                  </a:path>
                </a:pathLst>
              </a:custGeom>
              <a:solidFill>
                <a:schemeClr val="accent6"/>
              </a:solidFill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cxnSp>
            <p:nvCxnSpPr>
              <p:cNvPr id="62" name="Straight Connector 61"/>
              <p:cNvCxnSpPr/>
              <p:nvPr/>
            </p:nvCxnSpPr>
            <p:spPr>
              <a:xfrm>
                <a:off x="14483351" y="8817325"/>
                <a:ext cx="228600" cy="0"/>
              </a:xfrm>
              <a:prstGeom prst="line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6219865" y="2189712"/>
              <a:ext cx="213159" cy="88782"/>
              <a:chOff x="14483351" y="8560474"/>
              <a:chExt cx="228600" cy="95213"/>
            </a:xfrm>
          </p:grpSpPr>
          <p:cxnSp>
            <p:nvCxnSpPr>
              <p:cNvPr id="64" name="Straight Connector 63"/>
              <p:cNvCxnSpPr/>
              <p:nvPr/>
            </p:nvCxnSpPr>
            <p:spPr>
              <a:xfrm>
                <a:off x="14483351" y="8599037"/>
                <a:ext cx="228600" cy="0"/>
              </a:xfrm>
              <a:prstGeom prst="line">
                <a:avLst/>
              </a:prstGeom>
              <a:ln w="1270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5" name="object 185"/>
              <p:cNvSpPr/>
              <p:nvPr/>
            </p:nvSpPr>
            <p:spPr>
              <a:xfrm flipH="1">
                <a:off x="14555775" y="8560474"/>
                <a:ext cx="95213" cy="95213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58324" y="0"/>
                    </a:moveTo>
                    <a:lnTo>
                      <a:pt x="0" y="0"/>
                    </a:lnTo>
                    <a:lnTo>
                      <a:pt x="29166" y="58330"/>
                    </a:lnTo>
                    <a:lnTo>
                      <a:pt x="58324" y="0"/>
                    </a:lnTo>
                    <a:close/>
                  </a:path>
                </a:pathLst>
              </a:custGeom>
              <a:solidFill>
                <a:schemeClr val="accent5"/>
              </a:solidFill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66" name="Group 65"/>
            <p:cNvGrpSpPr/>
            <p:nvPr userDrawn="1"/>
          </p:nvGrpSpPr>
          <p:grpSpPr>
            <a:xfrm>
              <a:off x="6219865" y="1787759"/>
              <a:ext cx="213159" cy="85264"/>
              <a:chOff x="14483351" y="8137006"/>
              <a:chExt cx="228600" cy="91440"/>
            </a:xfrm>
          </p:grpSpPr>
          <p:cxnSp>
            <p:nvCxnSpPr>
              <p:cNvPr id="67" name="Straight Connector 66"/>
              <p:cNvCxnSpPr/>
              <p:nvPr/>
            </p:nvCxnSpPr>
            <p:spPr>
              <a:xfrm>
                <a:off x="14483351" y="8182726"/>
                <a:ext cx="228600" cy="0"/>
              </a:xfrm>
              <a:prstGeom prst="line">
                <a:avLst/>
              </a:prstGeom>
              <a:ln w="1270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8" name="Rectangle 67"/>
              <p:cNvSpPr/>
              <p:nvPr/>
            </p:nvSpPr>
            <p:spPr>
              <a:xfrm>
                <a:off x="14557464" y="8137006"/>
                <a:ext cx="91440" cy="9144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69" name="Group 68"/>
            <p:cNvGrpSpPr/>
            <p:nvPr userDrawn="1"/>
          </p:nvGrpSpPr>
          <p:grpSpPr>
            <a:xfrm>
              <a:off x="1446405" y="3082654"/>
              <a:ext cx="5856016" cy="795673"/>
              <a:chOff x="9364111" y="8624361"/>
              <a:chExt cx="6280214" cy="853310"/>
            </a:xfrm>
            <a:solidFill>
              <a:schemeClr val="accent6"/>
            </a:solidFill>
          </p:grpSpPr>
          <p:sp>
            <p:nvSpPr>
              <p:cNvPr id="70" name="object 249"/>
              <p:cNvSpPr/>
              <p:nvPr/>
            </p:nvSpPr>
            <p:spPr>
              <a:xfrm>
                <a:off x="9364111" y="8624361"/>
                <a:ext cx="109964" cy="88227"/>
              </a:xfrm>
              <a:custGeom>
                <a:avLst/>
                <a:gdLst/>
                <a:ahLst/>
                <a:cxnLst/>
                <a:rect l="l" t="t" r="r" b="b"/>
                <a:pathLst>
                  <a:path w="54610" h="43814">
                    <a:moveTo>
                      <a:pt x="17041" y="0"/>
                    </a:moveTo>
                    <a:lnTo>
                      <a:pt x="655" y="0"/>
                    </a:lnTo>
                    <a:lnTo>
                      <a:pt x="18261" y="21366"/>
                    </a:lnTo>
                    <a:lnTo>
                      <a:pt x="0" y="43249"/>
                    </a:lnTo>
                    <a:lnTo>
                      <a:pt x="16295" y="43249"/>
                    </a:lnTo>
                    <a:lnTo>
                      <a:pt x="21536" y="35418"/>
                    </a:lnTo>
                    <a:lnTo>
                      <a:pt x="23506" y="32405"/>
                    </a:lnTo>
                    <a:lnTo>
                      <a:pt x="25096" y="30159"/>
                    </a:lnTo>
                    <a:lnTo>
                      <a:pt x="26410" y="27655"/>
                    </a:lnTo>
                    <a:lnTo>
                      <a:pt x="41216" y="27655"/>
                    </a:lnTo>
                    <a:lnTo>
                      <a:pt x="35679" y="21111"/>
                    </a:lnTo>
                    <a:lnTo>
                      <a:pt x="40765" y="15078"/>
                    </a:lnTo>
                    <a:lnTo>
                      <a:pt x="27345" y="15078"/>
                    </a:lnTo>
                    <a:lnTo>
                      <a:pt x="25846" y="12640"/>
                    </a:lnTo>
                    <a:lnTo>
                      <a:pt x="24444" y="10522"/>
                    </a:lnTo>
                    <a:lnTo>
                      <a:pt x="22571" y="7891"/>
                    </a:lnTo>
                    <a:lnTo>
                      <a:pt x="17041" y="0"/>
                    </a:lnTo>
                    <a:close/>
                  </a:path>
                  <a:path w="54610" h="43814">
                    <a:moveTo>
                      <a:pt x="41216" y="27655"/>
                    </a:moveTo>
                    <a:lnTo>
                      <a:pt x="26599" y="27655"/>
                    </a:lnTo>
                    <a:lnTo>
                      <a:pt x="28374" y="30159"/>
                    </a:lnTo>
                    <a:lnTo>
                      <a:pt x="29873" y="32405"/>
                    </a:lnTo>
                    <a:lnTo>
                      <a:pt x="32213" y="35418"/>
                    </a:lnTo>
                    <a:lnTo>
                      <a:pt x="37928" y="43249"/>
                    </a:lnTo>
                    <a:lnTo>
                      <a:pt x="54412" y="43249"/>
                    </a:lnTo>
                    <a:lnTo>
                      <a:pt x="41216" y="27655"/>
                    </a:lnTo>
                    <a:close/>
                  </a:path>
                  <a:path w="54610" h="43814">
                    <a:moveTo>
                      <a:pt x="53474" y="0"/>
                    </a:moveTo>
                    <a:lnTo>
                      <a:pt x="37176" y="0"/>
                    </a:lnTo>
                    <a:lnTo>
                      <a:pt x="31840" y="7891"/>
                    </a:lnTo>
                    <a:lnTo>
                      <a:pt x="29030" y="12319"/>
                    </a:lnTo>
                    <a:lnTo>
                      <a:pt x="27530" y="15078"/>
                    </a:lnTo>
                    <a:lnTo>
                      <a:pt x="40765" y="15078"/>
                    </a:lnTo>
                    <a:lnTo>
                      <a:pt x="53474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71" name="object 253"/>
              <p:cNvSpPr/>
              <p:nvPr/>
            </p:nvSpPr>
            <p:spPr>
              <a:xfrm>
                <a:off x="9522656" y="9192061"/>
                <a:ext cx="109964" cy="88227"/>
              </a:xfrm>
              <a:custGeom>
                <a:avLst/>
                <a:gdLst/>
                <a:ahLst/>
                <a:cxnLst/>
                <a:rect l="l" t="t" r="r" b="b"/>
                <a:pathLst>
                  <a:path w="54610" h="43814">
                    <a:moveTo>
                      <a:pt x="17044" y="0"/>
                    </a:moveTo>
                    <a:lnTo>
                      <a:pt x="658" y="0"/>
                    </a:lnTo>
                    <a:lnTo>
                      <a:pt x="18264" y="21369"/>
                    </a:lnTo>
                    <a:lnTo>
                      <a:pt x="0" y="43249"/>
                    </a:lnTo>
                    <a:lnTo>
                      <a:pt x="16298" y="43249"/>
                    </a:lnTo>
                    <a:lnTo>
                      <a:pt x="21539" y="35418"/>
                    </a:lnTo>
                    <a:lnTo>
                      <a:pt x="23509" y="32405"/>
                    </a:lnTo>
                    <a:lnTo>
                      <a:pt x="25099" y="30159"/>
                    </a:lnTo>
                    <a:lnTo>
                      <a:pt x="26413" y="27655"/>
                    </a:lnTo>
                    <a:lnTo>
                      <a:pt x="41219" y="27655"/>
                    </a:lnTo>
                    <a:lnTo>
                      <a:pt x="35682" y="21111"/>
                    </a:lnTo>
                    <a:lnTo>
                      <a:pt x="40768" y="15078"/>
                    </a:lnTo>
                    <a:lnTo>
                      <a:pt x="27348" y="15078"/>
                    </a:lnTo>
                    <a:lnTo>
                      <a:pt x="25849" y="12643"/>
                    </a:lnTo>
                    <a:lnTo>
                      <a:pt x="24447" y="10522"/>
                    </a:lnTo>
                    <a:lnTo>
                      <a:pt x="22571" y="7894"/>
                    </a:lnTo>
                    <a:lnTo>
                      <a:pt x="17044" y="0"/>
                    </a:lnTo>
                    <a:close/>
                  </a:path>
                  <a:path w="54610" h="43814">
                    <a:moveTo>
                      <a:pt x="41219" y="27655"/>
                    </a:moveTo>
                    <a:lnTo>
                      <a:pt x="26599" y="27655"/>
                    </a:lnTo>
                    <a:lnTo>
                      <a:pt x="28377" y="30159"/>
                    </a:lnTo>
                    <a:lnTo>
                      <a:pt x="29873" y="32405"/>
                    </a:lnTo>
                    <a:lnTo>
                      <a:pt x="32216" y="35418"/>
                    </a:lnTo>
                    <a:lnTo>
                      <a:pt x="37931" y="43249"/>
                    </a:lnTo>
                    <a:lnTo>
                      <a:pt x="54415" y="43249"/>
                    </a:lnTo>
                    <a:lnTo>
                      <a:pt x="41219" y="27655"/>
                    </a:lnTo>
                    <a:close/>
                  </a:path>
                  <a:path w="54610" h="43814">
                    <a:moveTo>
                      <a:pt x="53477" y="0"/>
                    </a:moveTo>
                    <a:lnTo>
                      <a:pt x="37179" y="0"/>
                    </a:lnTo>
                    <a:lnTo>
                      <a:pt x="31843" y="7894"/>
                    </a:lnTo>
                    <a:lnTo>
                      <a:pt x="29033" y="12322"/>
                    </a:lnTo>
                    <a:lnTo>
                      <a:pt x="27533" y="15078"/>
                    </a:lnTo>
                    <a:lnTo>
                      <a:pt x="40768" y="15078"/>
                    </a:lnTo>
                    <a:lnTo>
                      <a:pt x="53477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72" name="object 257"/>
              <p:cNvSpPr/>
              <p:nvPr/>
            </p:nvSpPr>
            <p:spPr>
              <a:xfrm>
                <a:off x="9980792" y="9355695"/>
                <a:ext cx="109964" cy="88227"/>
              </a:xfrm>
              <a:custGeom>
                <a:avLst/>
                <a:gdLst/>
                <a:ahLst/>
                <a:cxnLst/>
                <a:rect l="l" t="t" r="r" b="b"/>
                <a:pathLst>
                  <a:path w="54610" h="43814">
                    <a:moveTo>
                      <a:pt x="17041" y="0"/>
                    </a:moveTo>
                    <a:lnTo>
                      <a:pt x="655" y="0"/>
                    </a:lnTo>
                    <a:lnTo>
                      <a:pt x="18264" y="21366"/>
                    </a:lnTo>
                    <a:lnTo>
                      <a:pt x="0" y="43249"/>
                    </a:lnTo>
                    <a:lnTo>
                      <a:pt x="16295" y="43249"/>
                    </a:lnTo>
                    <a:lnTo>
                      <a:pt x="21539" y="35418"/>
                    </a:lnTo>
                    <a:lnTo>
                      <a:pt x="23506" y="32405"/>
                    </a:lnTo>
                    <a:lnTo>
                      <a:pt x="25099" y="30159"/>
                    </a:lnTo>
                    <a:lnTo>
                      <a:pt x="26410" y="27655"/>
                    </a:lnTo>
                    <a:lnTo>
                      <a:pt x="41216" y="27655"/>
                    </a:lnTo>
                    <a:lnTo>
                      <a:pt x="35679" y="21111"/>
                    </a:lnTo>
                    <a:lnTo>
                      <a:pt x="40762" y="15081"/>
                    </a:lnTo>
                    <a:lnTo>
                      <a:pt x="27345" y="15081"/>
                    </a:lnTo>
                    <a:lnTo>
                      <a:pt x="25846" y="12640"/>
                    </a:lnTo>
                    <a:lnTo>
                      <a:pt x="24444" y="10522"/>
                    </a:lnTo>
                    <a:lnTo>
                      <a:pt x="22571" y="7894"/>
                    </a:lnTo>
                    <a:lnTo>
                      <a:pt x="17041" y="0"/>
                    </a:lnTo>
                    <a:close/>
                  </a:path>
                  <a:path w="54610" h="43814">
                    <a:moveTo>
                      <a:pt x="41216" y="27655"/>
                    </a:moveTo>
                    <a:lnTo>
                      <a:pt x="26599" y="27655"/>
                    </a:lnTo>
                    <a:lnTo>
                      <a:pt x="28374" y="30159"/>
                    </a:lnTo>
                    <a:lnTo>
                      <a:pt x="29873" y="32405"/>
                    </a:lnTo>
                    <a:lnTo>
                      <a:pt x="32213" y="35418"/>
                    </a:lnTo>
                    <a:lnTo>
                      <a:pt x="37928" y="43249"/>
                    </a:lnTo>
                    <a:lnTo>
                      <a:pt x="54412" y="43249"/>
                    </a:lnTo>
                    <a:lnTo>
                      <a:pt x="41216" y="27655"/>
                    </a:lnTo>
                    <a:close/>
                  </a:path>
                  <a:path w="54610" h="43814">
                    <a:moveTo>
                      <a:pt x="53474" y="0"/>
                    </a:moveTo>
                    <a:lnTo>
                      <a:pt x="37176" y="0"/>
                    </a:lnTo>
                    <a:lnTo>
                      <a:pt x="31840" y="7894"/>
                    </a:lnTo>
                    <a:lnTo>
                      <a:pt x="29030" y="12322"/>
                    </a:lnTo>
                    <a:lnTo>
                      <a:pt x="27530" y="15081"/>
                    </a:lnTo>
                    <a:lnTo>
                      <a:pt x="40762" y="15081"/>
                    </a:lnTo>
                    <a:lnTo>
                      <a:pt x="53474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73" name="object 261"/>
              <p:cNvSpPr/>
              <p:nvPr/>
            </p:nvSpPr>
            <p:spPr>
              <a:xfrm>
                <a:off x="10596932" y="9389444"/>
                <a:ext cx="109964" cy="88227"/>
              </a:xfrm>
              <a:custGeom>
                <a:avLst/>
                <a:gdLst/>
                <a:ahLst/>
                <a:cxnLst/>
                <a:rect l="l" t="t" r="r" b="b"/>
                <a:pathLst>
                  <a:path w="54610" h="43814">
                    <a:moveTo>
                      <a:pt x="17041" y="0"/>
                    </a:moveTo>
                    <a:lnTo>
                      <a:pt x="655" y="0"/>
                    </a:lnTo>
                    <a:lnTo>
                      <a:pt x="18264" y="21369"/>
                    </a:lnTo>
                    <a:lnTo>
                      <a:pt x="0" y="43249"/>
                    </a:lnTo>
                    <a:lnTo>
                      <a:pt x="16295" y="43249"/>
                    </a:lnTo>
                    <a:lnTo>
                      <a:pt x="21539" y="35421"/>
                    </a:lnTo>
                    <a:lnTo>
                      <a:pt x="23506" y="32408"/>
                    </a:lnTo>
                    <a:lnTo>
                      <a:pt x="25099" y="30162"/>
                    </a:lnTo>
                    <a:lnTo>
                      <a:pt x="26410" y="27655"/>
                    </a:lnTo>
                    <a:lnTo>
                      <a:pt x="41216" y="27655"/>
                    </a:lnTo>
                    <a:lnTo>
                      <a:pt x="35679" y="21111"/>
                    </a:lnTo>
                    <a:lnTo>
                      <a:pt x="40762" y="15081"/>
                    </a:lnTo>
                    <a:lnTo>
                      <a:pt x="27345" y="15081"/>
                    </a:lnTo>
                    <a:lnTo>
                      <a:pt x="25846" y="12643"/>
                    </a:lnTo>
                    <a:lnTo>
                      <a:pt x="24444" y="10525"/>
                    </a:lnTo>
                    <a:lnTo>
                      <a:pt x="22571" y="7894"/>
                    </a:lnTo>
                    <a:lnTo>
                      <a:pt x="17041" y="0"/>
                    </a:lnTo>
                    <a:close/>
                  </a:path>
                  <a:path w="54610" h="43814">
                    <a:moveTo>
                      <a:pt x="41216" y="27655"/>
                    </a:moveTo>
                    <a:lnTo>
                      <a:pt x="26599" y="27655"/>
                    </a:lnTo>
                    <a:lnTo>
                      <a:pt x="28374" y="30162"/>
                    </a:lnTo>
                    <a:lnTo>
                      <a:pt x="29873" y="32408"/>
                    </a:lnTo>
                    <a:lnTo>
                      <a:pt x="32213" y="35421"/>
                    </a:lnTo>
                    <a:lnTo>
                      <a:pt x="37928" y="43249"/>
                    </a:lnTo>
                    <a:lnTo>
                      <a:pt x="54412" y="43249"/>
                    </a:lnTo>
                    <a:lnTo>
                      <a:pt x="41216" y="27655"/>
                    </a:lnTo>
                    <a:close/>
                  </a:path>
                  <a:path w="54610" h="43814">
                    <a:moveTo>
                      <a:pt x="53474" y="0"/>
                    </a:moveTo>
                    <a:lnTo>
                      <a:pt x="37176" y="0"/>
                    </a:lnTo>
                    <a:lnTo>
                      <a:pt x="31840" y="7894"/>
                    </a:lnTo>
                    <a:lnTo>
                      <a:pt x="29030" y="12322"/>
                    </a:lnTo>
                    <a:lnTo>
                      <a:pt x="27530" y="15081"/>
                    </a:lnTo>
                    <a:lnTo>
                      <a:pt x="40762" y="15081"/>
                    </a:lnTo>
                    <a:lnTo>
                      <a:pt x="53474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74" name="object 265"/>
              <p:cNvSpPr/>
              <p:nvPr/>
            </p:nvSpPr>
            <p:spPr>
              <a:xfrm>
                <a:off x="11828165" y="9369259"/>
                <a:ext cx="109964" cy="88227"/>
              </a:xfrm>
              <a:custGeom>
                <a:avLst/>
                <a:gdLst/>
                <a:ahLst/>
                <a:cxnLst/>
                <a:rect l="l" t="t" r="r" b="b"/>
                <a:pathLst>
                  <a:path w="54610" h="43814">
                    <a:moveTo>
                      <a:pt x="17041" y="0"/>
                    </a:moveTo>
                    <a:lnTo>
                      <a:pt x="655" y="0"/>
                    </a:lnTo>
                    <a:lnTo>
                      <a:pt x="18264" y="21366"/>
                    </a:lnTo>
                    <a:lnTo>
                      <a:pt x="0" y="43249"/>
                    </a:lnTo>
                    <a:lnTo>
                      <a:pt x="16295" y="43249"/>
                    </a:lnTo>
                    <a:lnTo>
                      <a:pt x="21539" y="35421"/>
                    </a:lnTo>
                    <a:lnTo>
                      <a:pt x="23506" y="32405"/>
                    </a:lnTo>
                    <a:lnTo>
                      <a:pt x="25099" y="30159"/>
                    </a:lnTo>
                    <a:lnTo>
                      <a:pt x="26410" y="27655"/>
                    </a:lnTo>
                    <a:lnTo>
                      <a:pt x="41216" y="27655"/>
                    </a:lnTo>
                    <a:lnTo>
                      <a:pt x="35679" y="21111"/>
                    </a:lnTo>
                    <a:lnTo>
                      <a:pt x="40762" y="15081"/>
                    </a:lnTo>
                    <a:lnTo>
                      <a:pt x="27345" y="15081"/>
                    </a:lnTo>
                    <a:lnTo>
                      <a:pt x="25846" y="12640"/>
                    </a:lnTo>
                    <a:lnTo>
                      <a:pt x="24444" y="10525"/>
                    </a:lnTo>
                    <a:lnTo>
                      <a:pt x="22571" y="7894"/>
                    </a:lnTo>
                    <a:lnTo>
                      <a:pt x="17041" y="0"/>
                    </a:lnTo>
                    <a:close/>
                  </a:path>
                  <a:path w="54610" h="43814">
                    <a:moveTo>
                      <a:pt x="41216" y="27655"/>
                    </a:moveTo>
                    <a:lnTo>
                      <a:pt x="26599" y="27655"/>
                    </a:lnTo>
                    <a:lnTo>
                      <a:pt x="28374" y="30159"/>
                    </a:lnTo>
                    <a:lnTo>
                      <a:pt x="29873" y="32405"/>
                    </a:lnTo>
                    <a:lnTo>
                      <a:pt x="32213" y="35421"/>
                    </a:lnTo>
                    <a:lnTo>
                      <a:pt x="37928" y="43249"/>
                    </a:lnTo>
                    <a:lnTo>
                      <a:pt x="54412" y="43249"/>
                    </a:lnTo>
                    <a:lnTo>
                      <a:pt x="41216" y="27655"/>
                    </a:lnTo>
                    <a:close/>
                  </a:path>
                  <a:path w="54610" h="43814">
                    <a:moveTo>
                      <a:pt x="53474" y="0"/>
                    </a:moveTo>
                    <a:lnTo>
                      <a:pt x="37176" y="0"/>
                    </a:lnTo>
                    <a:lnTo>
                      <a:pt x="31840" y="7894"/>
                    </a:lnTo>
                    <a:lnTo>
                      <a:pt x="29030" y="12322"/>
                    </a:lnTo>
                    <a:lnTo>
                      <a:pt x="27530" y="15081"/>
                    </a:lnTo>
                    <a:lnTo>
                      <a:pt x="40762" y="15081"/>
                    </a:lnTo>
                    <a:lnTo>
                      <a:pt x="53474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75" name="object 269"/>
              <p:cNvSpPr/>
              <p:nvPr/>
            </p:nvSpPr>
            <p:spPr>
              <a:xfrm>
                <a:off x="13065334" y="9268219"/>
                <a:ext cx="109964" cy="88227"/>
              </a:xfrm>
              <a:custGeom>
                <a:avLst/>
                <a:gdLst/>
                <a:ahLst/>
                <a:cxnLst/>
                <a:rect l="l" t="t" r="r" b="b"/>
                <a:pathLst>
                  <a:path w="54609" h="43814">
                    <a:moveTo>
                      <a:pt x="17044" y="0"/>
                    </a:moveTo>
                    <a:lnTo>
                      <a:pt x="655" y="0"/>
                    </a:lnTo>
                    <a:lnTo>
                      <a:pt x="18264" y="21366"/>
                    </a:lnTo>
                    <a:lnTo>
                      <a:pt x="0" y="43249"/>
                    </a:lnTo>
                    <a:lnTo>
                      <a:pt x="16295" y="43249"/>
                    </a:lnTo>
                    <a:lnTo>
                      <a:pt x="21539" y="35418"/>
                    </a:lnTo>
                    <a:lnTo>
                      <a:pt x="23506" y="32405"/>
                    </a:lnTo>
                    <a:lnTo>
                      <a:pt x="25099" y="30159"/>
                    </a:lnTo>
                    <a:lnTo>
                      <a:pt x="26410" y="27655"/>
                    </a:lnTo>
                    <a:lnTo>
                      <a:pt x="41216" y="27655"/>
                    </a:lnTo>
                    <a:lnTo>
                      <a:pt x="35679" y="21111"/>
                    </a:lnTo>
                    <a:lnTo>
                      <a:pt x="40765" y="15078"/>
                    </a:lnTo>
                    <a:lnTo>
                      <a:pt x="27345" y="15078"/>
                    </a:lnTo>
                    <a:lnTo>
                      <a:pt x="25846" y="12643"/>
                    </a:lnTo>
                    <a:lnTo>
                      <a:pt x="24444" y="10522"/>
                    </a:lnTo>
                    <a:lnTo>
                      <a:pt x="22571" y="7894"/>
                    </a:lnTo>
                    <a:lnTo>
                      <a:pt x="17044" y="0"/>
                    </a:lnTo>
                    <a:close/>
                  </a:path>
                  <a:path w="54609" h="43814">
                    <a:moveTo>
                      <a:pt x="41216" y="27655"/>
                    </a:moveTo>
                    <a:lnTo>
                      <a:pt x="26599" y="27655"/>
                    </a:lnTo>
                    <a:lnTo>
                      <a:pt x="28374" y="30159"/>
                    </a:lnTo>
                    <a:lnTo>
                      <a:pt x="29873" y="32405"/>
                    </a:lnTo>
                    <a:lnTo>
                      <a:pt x="32213" y="35418"/>
                    </a:lnTo>
                    <a:lnTo>
                      <a:pt x="37928" y="43249"/>
                    </a:lnTo>
                    <a:lnTo>
                      <a:pt x="54412" y="43249"/>
                    </a:lnTo>
                    <a:lnTo>
                      <a:pt x="41216" y="27655"/>
                    </a:lnTo>
                    <a:close/>
                  </a:path>
                  <a:path w="54609" h="43814">
                    <a:moveTo>
                      <a:pt x="53474" y="0"/>
                    </a:moveTo>
                    <a:lnTo>
                      <a:pt x="37179" y="0"/>
                    </a:lnTo>
                    <a:lnTo>
                      <a:pt x="31840" y="7894"/>
                    </a:lnTo>
                    <a:lnTo>
                      <a:pt x="29030" y="12322"/>
                    </a:lnTo>
                    <a:lnTo>
                      <a:pt x="27530" y="15078"/>
                    </a:lnTo>
                    <a:lnTo>
                      <a:pt x="40765" y="15078"/>
                    </a:lnTo>
                    <a:lnTo>
                      <a:pt x="53474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76" name="object 273"/>
              <p:cNvSpPr/>
              <p:nvPr/>
            </p:nvSpPr>
            <p:spPr>
              <a:xfrm>
                <a:off x="14302587" y="9224674"/>
                <a:ext cx="109964" cy="88227"/>
              </a:xfrm>
              <a:custGeom>
                <a:avLst/>
                <a:gdLst/>
                <a:ahLst/>
                <a:cxnLst/>
                <a:rect l="l" t="t" r="r" b="b"/>
                <a:pathLst>
                  <a:path w="54609" h="43814">
                    <a:moveTo>
                      <a:pt x="17041" y="0"/>
                    </a:moveTo>
                    <a:lnTo>
                      <a:pt x="655" y="0"/>
                    </a:lnTo>
                    <a:lnTo>
                      <a:pt x="18261" y="21369"/>
                    </a:lnTo>
                    <a:lnTo>
                      <a:pt x="0" y="43249"/>
                    </a:lnTo>
                    <a:lnTo>
                      <a:pt x="16295" y="43249"/>
                    </a:lnTo>
                    <a:lnTo>
                      <a:pt x="21536" y="35418"/>
                    </a:lnTo>
                    <a:lnTo>
                      <a:pt x="23506" y="32405"/>
                    </a:lnTo>
                    <a:lnTo>
                      <a:pt x="25096" y="30159"/>
                    </a:lnTo>
                    <a:lnTo>
                      <a:pt x="26410" y="27655"/>
                    </a:lnTo>
                    <a:lnTo>
                      <a:pt x="41216" y="27655"/>
                    </a:lnTo>
                    <a:lnTo>
                      <a:pt x="35679" y="21111"/>
                    </a:lnTo>
                    <a:lnTo>
                      <a:pt x="40765" y="15078"/>
                    </a:lnTo>
                    <a:lnTo>
                      <a:pt x="27345" y="15078"/>
                    </a:lnTo>
                    <a:lnTo>
                      <a:pt x="25846" y="12643"/>
                    </a:lnTo>
                    <a:lnTo>
                      <a:pt x="24444" y="10522"/>
                    </a:lnTo>
                    <a:lnTo>
                      <a:pt x="22571" y="7894"/>
                    </a:lnTo>
                    <a:lnTo>
                      <a:pt x="17041" y="0"/>
                    </a:lnTo>
                    <a:close/>
                  </a:path>
                  <a:path w="54609" h="43814">
                    <a:moveTo>
                      <a:pt x="41216" y="27655"/>
                    </a:moveTo>
                    <a:lnTo>
                      <a:pt x="26596" y="27655"/>
                    </a:lnTo>
                    <a:lnTo>
                      <a:pt x="28374" y="30159"/>
                    </a:lnTo>
                    <a:lnTo>
                      <a:pt x="29873" y="32405"/>
                    </a:lnTo>
                    <a:lnTo>
                      <a:pt x="32213" y="35418"/>
                    </a:lnTo>
                    <a:lnTo>
                      <a:pt x="37928" y="43249"/>
                    </a:lnTo>
                    <a:lnTo>
                      <a:pt x="54412" y="43249"/>
                    </a:lnTo>
                    <a:lnTo>
                      <a:pt x="41216" y="27655"/>
                    </a:lnTo>
                    <a:close/>
                  </a:path>
                  <a:path w="54609" h="43814">
                    <a:moveTo>
                      <a:pt x="53474" y="0"/>
                    </a:moveTo>
                    <a:lnTo>
                      <a:pt x="37176" y="0"/>
                    </a:lnTo>
                    <a:lnTo>
                      <a:pt x="31840" y="7894"/>
                    </a:lnTo>
                    <a:lnTo>
                      <a:pt x="29030" y="12322"/>
                    </a:lnTo>
                    <a:lnTo>
                      <a:pt x="27530" y="15078"/>
                    </a:lnTo>
                    <a:lnTo>
                      <a:pt x="40765" y="15078"/>
                    </a:lnTo>
                    <a:lnTo>
                      <a:pt x="53474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77" name="object 277"/>
              <p:cNvSpPr/>
              <p:nvPr/>
            </p:nvSpPr>
            <p:spPr>
              <a:xfrm>
                <a:off x="15534361" y="9269361"/>
                <a:ext cx="109964" cy="88227"/>
              </a:xfrm>
              <a:custGeom>
                <a:avLst/>
                <a:gdLst/>
                <a:ahLst/>
                <a:cxnLst/>
                <a:rect l="l" t="t" r="r" b="b"/>
                <a:pathLst>
                  <a:path w="54609" h="43814">
                    <a:moveTo>
                      <a:pt x="17044" y="0"/>
                    </a:moveTo>
                    <a:lnTo>
                      <a:pt x="658" y="0"/>
                    </a:lnTo>
                    <a:lnTo>
                      <a:pt x="18264" y="21366"/>
                    </a:lnTo>
                    <a:lnTo>
                      <a:pt x="0" y="43249"/>
                    </a:lnTo>
                    <a:lnTo>
                      <a:pt x="16298" y="43249"/>
                    </a:lnTo>
                    <a:lnTo>
                      <a:pt x="21539" y="35418"/>
                    </a:lnTo>
                    <a:lnTo>
                      <a:pt x="23509" y="32405"/>
                    </a:lnTo>
                    <a:lnTo>
                      <a:pt x="25099" y="30159"/>
                    </a:lnTo>
                    <a:lnTo>
                      <a:pt x="26413" y="27655"/>
                    </a:lnTo>
                    <a:lnTo>
                      <a:pt x="41219" y="27655"/>
                    </a:lnTo>
                    <a:lnTo>
                      <a:pt x="35682" y="21111"/>
                    </a:lnTo>
                    <a:lnTo>
                      <a:pt x="40768" y="15078"/>
                    </a:lnTo>
                    <a:lnTo>
                      <a:pt x="27345" y="15078"/>
                    </a:lnTo>
                    <a:lnTo>
                      <a:pt x="25849" y="12640"/>
                    </a:lnTo>
                    <a:lnTo>
                      <a:pt x="24444" y="10522"/>
                    </a:lnTo>
                    <a:lnTo>
                      <a:pt x="22571" y="7891"/>
                    </a:lnTo>
                    <a:lnTo>
                      <a:pt x="17044" y="0"/>
                    </a:lnTo>
                    <a:close/>
                  </a:path>
                  <a:path w="54609" h="43814">
                    <a:moveTo>
                      <a:pt x="41219" y="27655"/>
                    </a:moveTo>
                    <a:lnTo>
                      <a:pt x="26599" y="27655"/>
                    </a:lnTo>
                    <a:lnTo>
                      <a:pt x="28377" y="30159"/>
                    </a:lnTo>
                    <a:lnTo>
                      <a:pt x="29873" y="32405"/>
                    </a:lnTo>
                    <a:lnTo>
                      <a:pt x="32216" y="35418"/>
                    </a:lnTo>
                    <a:lnTo>
                      <a:pt x="37931" y="43249"/>
                    </a:lnTo>
                    <a:lnTo>
                      <a:pt x="54415" y="43249"/>
                    </a:lnTo>
                    <a:lnTo>
                      <a:pt x="41219" y="27655"/>
                    </a:lnTo>
                    <a:close/>
                  </a:path>
                  <a:path w="54609" h="43814">
                    <a:moveTo>
                      <a:pt x="53477" y="0"/>
                    </a:moveTo>
                    <a:lnTo>
                      <a:pt x="37179" y="0"/>
                    </a:lnTo>
                    <a:lnTo>
                      <a:pt x="31843" y="7891"/>
                    </a:lnTo>
                    <a:lnTo>
                      <a:pt x="29033" y="12319"/>
                    </a:lnTo>
                    <a:lnTo>
                      <a:pt x="27533" y="15078"/>
                    </a:lnTo>
                    <a:lnTo>
                      <a:pt x="40768" y="15078"/>
                    </a:lnTo>
                    <a:lnTo>
                      <a:pt x="53477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78" name="object 174"/>
            <p:cNvSpPr/>
            <p:nvPr userDrawn="1"/>
          </p:nvSpPr>
          <p:spPr>
            <a:xfrm>
              <a:off x="1493418" y="1834483"/>
              <a:ext cx="5761138" cy="1201827"/>
            </a:xfrm>
            <a:custGeom>
              <a:avLst/>
              <a:gdLst/>
              <a:ahLst/>
              <a:cxnLst/>
              <a:rect l="l" t="t" r="r" b="b"/>
              <a:pathLst>
                <a:path w="3068320" h="640079">
                  <a:moveTo>
                    <a:pt x="0" y="0"/>
                  </a:moveTo>
                  <a:lnTo>
                    <a:pt x="78935" y="609630"/>
                  </a:lnTo>
                  <a:lnTo>
                    <a:pt x="308426" y="629515"/>
                  </a:lnTo>
                  <a:lnTo>
                    <a:pt x="614395" y="639464"/>
                  </a:lnTo>
                  <a:lnTo>
                    <a:pt x="1227828" y="619572"/>
                  </a:lnTo>
                  <a:lnTo>
                    <a:pt x="1841258" y="556923"/>
                  </a:lnTo>
                  <a:lnTo>
                    <a:pt x="2454685" y="567191"/>
                  </a:lnTo>
                  <a:lnTo>
                    <a:pt x="3068109" y="593717"/>
                  </a:lnTo>
                </a:path>
              </a:pathLst>
            </a:custGeom>
            <a:ln w="12700">
              <a:solidFill>
                <a:schemeClr val="accent5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Arial Narrow" panose="020B0606020202030204" pitchFamily="34" charset="0"/>
              </a:endParaRPr>
            </a:p>
          </p:txBody>
        </p:sp>
        <p:grpSp>
          <p:nvGrpSpPr>
            <p:cNvPr id="79" name="Group 78"/>
            <p:cNvGrpSpPr/>
            <p:nvPr userDrawn="1"/>
          </p:nvGrpSpPr>
          <p:grpSpPr>
            <a:xfrm>
              <a:off x="1433177" y="1794062"/>
              <a:ext cx="5875921" cy="1301596"/>
              <a:chOff x="9349925" y="8870120"/>
              <a:chExt cx="6301561" cy="1395881"/>
            </a:xfrm>
            <a:solidFill>
              <a:schemeClr val="accent5"/>
            </a:solidFill>
          </p:grpSpPr>
          <p:sp>
            <p:nvSpPr>
              <p:cNvPr id="80" name="object 141"/>
              <p:cNvSpPr/>
              <p:nvPr/>
            </p:nvSpPr>
            <p:spPr>
              <a:xfrm>
                <a:off x="10028917" y="10214156"/>
                <a:ext cx="12787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50">
                    <a:moveTo>
                      <a:pt x="0" y="0"/>
                    </a:moveTo>
                    <a:lnTo>
                      <a:pt x="6070" y="0"/>
                    </a:lnTo>
                  </a:path>
                </a:pathLst>
              </a:custGeom>
              <a:grpFill/>
              <a:ln w="3974">
                <a:solidFill>
                  <a:srgbClr val="C02025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81" name="object 142"/>
              <p:cNvSpPr/>
              <p:nvPr/>
            </p:nvSpPr>
            <p:spPr>
              <a:xfrm>
                <a:off x="10028917" y="10214156"/>
                <a:ext cx="12787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50">
                    <a:moveTo>
                      <a:pt x="0" y="0"/>
                    </a:moveTo>
                    <a:lnTo>
                      <a:pt x="6070" y="0"/>
                    </a:lnTo>
                  </a:path>
                </a:pathLst>
              </a:custGeom>
              <a:grpFill/>
              <a:ln w="3974">
                <a:solidFill>
                  <a:srgbClr val="C02025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82" name="object 143"/>
              <p:cNvSpPr/>
              <p:nvPr/>
            </p:nvSpPr>
            <p:spPr>
              <a:xfrm>
                <a:off x="9566799" y="10210208"/>
                <a:ext cx="12787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50">
                    <a:moveTo>
                      <a:pt x="0" y="0"/>
                    </a:moveTo>
                    <a:lnTo>
                      <a:pt x="6070" y="0"/>
                    </a:lnTo>
                  </a:path>
                </a:pathLst>
              </a:custGeom>
              <a:grpFill/>
              <a:ln w="3841">
                <a:solidFill>
                  <a:srgbClr val="C02025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83" name="object 144"/>
              <p:cNvSpPr/>
              <p:nvPr/>
            </p:nvSpPr>
            <p:spPr>
              <a:xfrm>
                <a:off x="9566799" y="10210208"/>
                <a:ext cx="12787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50">
                    <a:moveTo>
                      <a:pt x="0" y="0"/>
                    </a:moveTo>
                    <a:lnTo>
                      <a:pt x="6070" y="0"/>
                    </a:lnTo>
                  </a:path>
                </a:pathLst>
              </a:custGeom>
              <a:grpFill/>
              <a:ln w="3841">
                <a:solidFill>
                  <a:srgbClr val="C02025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84" name="object 163"/>
              <p:cNvSpPr/>
              <p:nvPr/>
            </p:nvSpPr>
            <p:spPr>
              <a:xfrm>
                <a:off x="10035031" y="10210153"/>
                <a:ext cx="0" cy="24294"/>
              </a:xfrm>
              <a:custGeom>
                <a:avLst/>
                <a:gdLst/>
                <a:ahLst/>
                <a:cxnLst/>
                <a:rect l="l" t="t" r="r" b="b"/>
                <a:pathLst>
                  <a:path h="12064">
                    <a:moveTo>
                      <a:pt x="0" y="0"/>
                    </a:moveTo>
                    <a:lnTo>
                      <a:pt x="0" y="12035"/>
                    </a:lnTo>
                  </a:path>
                </a:pathLst>
              </a:custGeom>
              <a:grpFill/>
              <a:ln w="6070">
                <a:solidFill>
                  <a:srgbClr val="F26B6B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85" name="object 164"/>
              <p:cNvSpPr/>
              <p:nvPr/>
            </p:nvSpPr>
            <p:spPr>
              <a:xfrm>
                <a:off x="10035031" y="10210153"/>
                <a:ext cx="0" cy="24294"/>
              </a:xfrm>
              <a:custGeom>
                <a:avLst/>
                <a:gdLst/>
                <a:ahLst/>
                <a:cxnLst/>
                <a:rect l="l" t="t" r="r" b="b"/>
                <a:pathLst>
                  <a:path h="12064">
                    <a:moveTo>
                      <a:pt x="0" y="0"/>
                    </a:moveTo>
                    <a:lnTo>
                      <a:pt x="0" y="12035"/>
                    </a:lnTo>
                  </a:path>
                </a:pathLst>
              </a:custGeom>
              <a:grpFill/>
              <a:ln w="6070">
                <a:solidFill>
                  <a:srgbClr val="F26B6B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86" name="object 165"/>
              <p:cNvSpPr/>
              <p:nvPr/>
            </p:nvSpPr>
            <p:spPr>
              <a:xfrm>
                <a:off x="9566801" y="10086460"/>
                <a:ext cx="12787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50">
                    <a:moveTo>
                      <a:pt x="0" y="0"/>
                    </a:moveTo>
                    <a:lnTo>
                      <a:pt x="6070" y="0"/>
                    </a:lnTo>
                  </a:path>
                </a:pathLst>
              </a:custGeom>
              <a:grpFill/>
              <a:ln w="3175">
                <a:solidFill>
                  <a:srgbClr val="F26B6B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87" name="object 166"/>
              <p:cNvSpPr/>
              <p:nvPr/>
            </p:nvSpPr>
            <p:spPr>
              <a:xfrm>
                <a:off x="9566801" y="10086460"/>
                <a:ext cx="12787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50">
                    <a:moveTo>
                      <a:pt x="0" y="0"/>
                    </a:moveTo>
                    <a:lnTo>
                      <a:pt x="6070" y="0"/>
                    </a:lnTo>
                  </a:path>
                </a:pathLst>
              </a:custGeom>
              <a:grpFill/>
              <a:ln w="3175">
                <a:solidFill>
                  <a:srgbClr val="F26B6B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88" name="object 178"/>
              <p:cNvSpPr/>
              <p:nvPr/>
            </p:nvSpPr>
            <p:spPr>
              <a:xfrm>
                <a:off x="9349925" y="8870120"/>
                <a:ext cx="117634" cy="117634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58324" y="0"/>
                    </a:moveTo>
                    <a:lnTo>
                      <a:pt x="0" y="0"/>
                    </a:lnTo>
                    <a:lnTo>
                      <a:pt x="29157" y="58321"/>
                    </a:lnTo>
                    <a:lnTo>
                      <a:pt x="58324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89" name="object 179"/>
              <p:cNvSpPr/>
              <p:nvPr/>
            </p:nvSpPr>
            <p:spPr>
              <a:xfrm>
                <a:off x="9514755" y="10074034"/>
                <a:ext cx="117634" cy="117634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58324" y="0"/>
                    </a:moveTo>
                    <a:lnTo>
                      <a:pt x="0" y="0"/>
                    </a:lnTo>
                    <a:lnTo>
                      <a:pt x="29163" y="58327"/>
                    </a:lnTo>
                    <a:lnTo>
                      <a:pt x="58324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90" name="object 180"/>
              <p:cNvSpPr/>
              <p:nvPr/>
            </p:nvSpPr>
            <p:spPr>
              <a:xfrm>
                <a:off x="9976859" y="10128996"/>
                <a:ext cx="117634" cy="117634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58324" y="0"/>
                    </a:moveTo>
                    <a:lnTo>
                      <a:pt x="0" y="0"/>
                    </a:lnTo>
                    <a:lnTo>
                      <a:pt x="29160" y="58330"/>
                    </a:lnTo>
                    <a:lnTo>
                      <a:pt x="58324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91" name="object 181"/>
              <p:cNvSpPr/>
              <p:nvPr/>
            </p:nvSpPr>
            <p:spPr>
              <a:xfrm>
                <a:off x="10592992" y="10148367"/>
                <a:ext cx="117634" cy="117634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58324" y="0"/>
                    </a:moveTo>
                    <a:lnTo>
                      <a:pt x="0" y="0"/>
                    </a:lnTo>
                    <a:lnTo>
                      <a:pt x="29157" y="58321"/>
                    </a:lnTo>
                    <a:lnTo>
                      <a:pt x="58324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92" name="object 182"/>
              <p:cNvSpPr/>
              <p:nvPr/>
            </p:nvSpPr>
            <p:spPr>
              <a:xfrm>
                <a:off x="11828207" y="10099571"/>
                <a:ext cx="117634" cy="117634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58324" y="0"/>
                    </a:moveTo>
                    <a:lnTo>
                      <a:pt x="0" y="0"/>
                    </a:lnTo>
                    <a:lnTo>
                      <a:pt x="29160" y="58327"/>
                    </a:lnTo>
                    <a:lnTo>
                      <a:pt x="58324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93" name="object 183"/>
              <p:cNvSpPr/>
              <p:nvPr/>
            </p:nvSpPr>
            <p:spPr>
              <a:xfrm>
                <a:off x="13063423" y="10004360"/>
                <a:ext cx="117634" cy="117634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58324" y="0"/>
                    </a:moveTo>
                    <a:lnTo>
                      <a:pt x="0" y="0"/>
                    </a:lnTo>
                    <a:lnTo>
                      <a:pt x="29160" y="58327"/>
                    </a:lnTo>
                    <a:lnTo>
                      <a:pt x="58324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94" name="object 184"/>
              <p:cNvSpPr/>
              <p:nvPr/>
            </p:nvSpPr>
            <p:spPr>
              <a:xfrm>
                <a:off x="14298646" y="10006797"/>
                <a:ext cx="117634" cy="117634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58324" y="0"/>
                    </a:moveTo>
                    <a:lnTo>
                      <a:pt x="0" y="0"/>
                    </a:lnTo>
                    <a:lnTo>
                      <a:pt x="29160" y="58324"/>
                    </a:lnTo>
                    <a:lnTo>
                      <a:pt x="58324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95" name="object 185"/>
              <p:cNvSpPr/>
              <p:nvPr/>
            </p:nvSpPr>
            <p:spPr>
              <a:xfrm>
                <a:off x="15533852" y="10060122"/>
                <a:ext cx="117634" cy="117634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58324" y="0"/>
                    </a:moveTo>
                    <a:lnTo>
                      <a:pt x="0" y="0"/>
                    </a:lnTo>
                    <a:lnTo>
                      <a:pt x="29166" y="58330"/>
                    </a:lnTo>
                    <a:lnTo>
                      <a:pt x="58324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96" name="object 220"/>
            <p:cNvSpPr/>
            <p:nvPr userDrawn="1"/>
          </p:nvSpPr>
          <p:spPr>
            <a:xfrm>
              <a:off x="1518775" y="2505043"/>
              <a:ext cx="5732523" cy="927601"/>
            </a:xfrm>
            <a:custGeom>
              <a:avLst/>
              <a:gdLst/>
              <a:ahLst/>
              <a:cxnLst/>
              <a:rect l="l" t="t" r="r" b="b"/>
              <a:pathLst>
                <a:path w="3053079" h="494029">
                  <a:moveTo>
                    <a:pt x="0" y="0"/>
                  </a:moveTo>
                  <a:lnTo>
                    <a:pt x="65432" y="404516"/>
                  </a:lnTo>
                  <a:lnTo>
                    <a:pt x="280376" y="493907"/>
                  </a:lnTo>
                  <a:lnTo>
                    <a:pt x="600901" y="478331"/>
                  </a:lnTo>
                  <a:lnTo>
                    <a:pt x="1213663" y="435585"/>
                  </a:lnTo>
                  <a:lnTo>
                    <a:pt x="1816543" y="312417"/>
                  </a:lnTo>
                  <a:lnTo>
                    <a:pt x="2441185" y="270886"/>
                  </a:lnTo>
                  <a:lnTo>
                    <a:pt x="3052906" y="284237"/>
                  </a:lnTo>
                </a:path>
              </a:pathLst>
            </a:custGeom>
            <a:ln w="12700">
              <a:solidFill>
                <a:schemeClr val="accent4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Arial Narrow" panose="020B0606020202030204" pitchFamily="34" charset="0"/>
              </a:endParaRPr>
            </a:p>
          </p:txBody>
        </p:sp>
        <p:grpSp>
          <p:nvGrpSpPr>
            <p:cNvPr id="97" name="Group 96"/>
            <p:cNvGrpSpPr/>
            <p:nvPr userDrawn="1"/>
          </p:nvGrpSpPr>
          <p:grpSpPr>
            <a:xfrm>
              <a:off x="1456813" y="2454817"/>
              <a:ext cx="5849338" cy="1015432"/>
              <a:chOff x="9375273" y="8806775"/>
              <a:chExt cx="6273053" cy="1088988"/>
            </a:xfrm>
            <a:solidFill>
              <a:schemeClr val="accent4"/>
            </a:solidFill>
          </p:grpSpPr>
          <p:sp>
            <p:nvSpPr>
              <p:cNvPr id="98" name="object 221"/>
              <p:cNvSpPr/>
              <p:nvPr/>
            </p:nvSpPr>
            <p:spPr>
              <a:xfrm>
                <a:off x="9375273" y="8806775"/>
                <a:ext cx="102292" cy="102292"/>
              </a:xfrm>
              <a:custGeom>
                <a:avLst/>
                <a:gdLst/>
                <a:ahLst/>
                <a:cxnLst/>
                <a:rect l="l" t="t" r="r" b="b"/>
                <a:pathLst>
                  <a:path w="50800" h="50800">
                    <a:moveTo>
                      <a:pt x="25087" y="0"/>
                    </a:moveTo>
                    <a:lnTo>
                      <a:pt x="0" y="25087"/>
                    </a:lnTo>
                    <a:lnTo>
                      <a:pt x="25084" y="50169"/>
                    </a:lnTo>
                    <a:lnTo>
                      <a:pt x="50172" y="25081"/>
                    </a:lnTo>
                    <a:lnTo>
                      <a:pt x="25087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99" name="object 225"/>
              <p:cNvSpPr/>
              <p:nvPr/>
            </p:nvSpPr>
            <p:spPr>
              <a:xfrm>
                <a:off x="9522958" y="9618792"/>
                <a:ext cx="102292" cy="102292"/>
              </a:xfrm>
              <a:custGeom>
                <a:avLst/>
                <a:gdLst/>
                <a:ahLst/>
                <a:cxnLst/>
                <a:rect l="l" t="t" r="r" b="b"/>
                <a:pathLst>
                  <a:path w="50800" h="50800">
                    <a:moveTo>
                      <a:pt x="25087" y="0"/>
                    </a:moveTo>
                    <a:lnTo>
                      <a:pt x="0" y="25084"/>
                    </a:lnTo>
                    <a:lnTo>
                      <a:pt x="25084" y="50169"/>
                    </a:lnTo>
                    <a:lnTo>
                      <a:pt x="50172" y="25081"/>
                    </a:lnTo>
                    <a:lnTo>
                      <a:pt x="25087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00" name="object 229"/>
              <p:cNvSpPr/>
              <p:nvPr/>
            </p:nvSpPr>
            <p:spPr>
              <a:xfrm>
                <a:off x="9951747" y="9793471"/>
                <a:ext cx="102292" cy="102292"/>
              </a:xfrm>
              <a:custGeom>
                <a:avLst/>
                <a:gdLst/>
                <a:ahLst/>
                <a:cxnLst/>
                <a:rect l="l" t="t" r="r" b="b"/>
                <a:pathLst>
                  <a:path w="50800" h="50800">
                    <a:moveTo>
                      <a:pt x="25087" y="0"/>
                    </a:moveTo>
                    <a:lnTo>
                      <a:pt x="0" y="25084"/>
                    </a:lnTo>
                    <a:lnTo>
                      <a:pt x="25084" y="50169"/>
                    </a:lnTo>
                    <a:lnTo>
                      <a:pt x="50172" y="25081"/>
                    </a:lnTo>
                    <a:lnTo>
                      <a:pt x="25087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01" name="object 233"/>
              <p:cNvSpPr/>
              <p:nvPr/>
            </p:nvSpPr>
            <p:spPr>
              <a:xfrm>
                <a:off x="11832432" y="9685248"/>
                <a:ext cx="102292" cy="102292"/>
              </a:xfrm>
              <a:custGeom>
                <a:avLst/>
                <a:gdLst/>
                <a:ahLst/>
                <a:cxnLst/>
                <a:rect l="l" t="t" r="r" b="b"/>
                <a:pathLst>
                  <a:path w="50800" h="50800">
                    <a:moveTo>
                      <a:pt x="25087" y="0"/>
                    </a:moveTo>
                    <a:lnTo>
                      <a:pt x="0" y="25084"/>
                    </a:lnTo>
                    <a:lnTo>
                      <a:pt x="25084" y="50169"/>
                    </a:lnTo>
                    <a:lnTo>
                      <a:pt x="50172" y="25078"/>
                    </a:lnTo>
                    <a:lnTo>
                      <a:pt x="25087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02" name="object 237"/>
              <p:cNvSpPr/>
              <p:nvPr/>
            </p:nvSpPr>
            <p:spPr>
              <a:xfrm>
                <a:off x="13071634" y="9437318"/>
                <a:ext cx="102292" cy="102292"/>
              </a:xfrm>
              <a:custGeom>
                <a:avLst/>
                <a:gdLst/>
                <a:ahLst/>
                <a:cxnLst/>
                <a:rect l="l" t="t" r="r" b="b"/>
                <a:pathLst>
                  <a:path w="50800" h="50800">
                    <a:moveTo>
                      <a:pt x="25087" y="0"/>
                    </a:moveTo>
                    <a:lnTo>
                      <a:pt x="0" y="25084"/>
                    </a:lnTo>
                    <a:lnTo>
                      <a:pt x="25084" y="50169"/>
                    </a:lnTo>
                    <a:lnTo>
                      <a:pt x="50172" y="25081"/>
                    </a:lnTo>
                    <a:lnTo>
                      <a:pt x="25087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03" name="object 241"/>
              <p:cNvSpPr/>
              <p:nvPr/>
            </p:nvSpPr>
            <p:spPr>
              <a:xfrm>
                <a:off x="14306850" y="9352246"/>
                <a:ext cx="102292" cy="102292"/>
              </a:xfrm>
              <a:custGeom>
                <a:avLst/>
                <a:gdLst/>
                <a:ahLst/>
                <a:cxnLst/>
                <a:rect l="l" t="t" r="r" b="b"/>
                <a:pathLst>
                  <a:path w="50800" h="50800">
                    <a:moveTo>
                      <a:pt x="25087" y="0"/>
                    </a:moveTo>
                    <a:lnTo>
                      <a:pt x="0" y="25084"/>
                    </a:lnTo>
                    <a:lnTo>
                      <a:pt x="25084" y="50169"/>
                    </a:lnTo>
                    <a:lnTo>
                      <a:pt x="50175" y="25081"/>
                    </a:lnTo>
                    <a:lnTo>
                      <a:pt x="25087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04" name="object 245"/>
              <p:cNvSpPr/>
              <p:nvPr/>
            </p:nvSpPr>
            <p:spPr>
              <a:xfrm>
                <a:off x="15546034" y="9376756"/>
                <a:ext cx="102292" cy="102292"/>
              </a:xfrm>
              <a:custGeom>
                <a:avLst/>
                <a:gdLst/>
                <a:ahLst/>
                <a:cxnLst/>
                <a:rect l="l" t="t" r="r" b="b"/>
                <a:pathLst>
                  <a:path w="50800" h="50800">
                    <a:moveTo>
                      <a:pt x="25087" y="0"/>
                    </a:moveTo>
                    <a:lnTo>
                      <a:pt x="0" y="25084"/>
                    </a:lnTo>
                    <a:lnTo>
                      <a:pt x="25084" y="50169"/>
                    </a:lnTo>
                    <a:lnTo>
                      <a:pt x="50172" y="25081"/>
                    </a:lnTo>
                    <a:lnTo>
                      <a:pt x="25087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05" name="object 233"/>
              <p:cNvSpPr/>
              <p:nvPr/>
            </p:nvSpPr>
            <p:spPr>
              <a:xfrm>
                <a:off x="10593599" y="9773294"/>
                <a:ext cx="102292" cy="102292"/>
              </a:xfrm>
              <a:custGeom>
                <a:avLst/>
                <a:gdLst/>
                <a:ahLst/>
                <a:cxnLst/>
                <a:rect l="l" t="t" r="r" b="b"/>
                <a:pathLst>
                  <a:path w="50800" h="50800">
                    <a:moveTo>
                      <a:pt x="25087" y="0"/>
                    </a:moveTo>
                    <a:lnTo>
                      <a:pt x="0" y="25084"/>
                    </a:lnTo>
                    <a:lnTo>
                      <a:pt x="25084" y="50169"/>
                    </a:lnTo>
                    <a:lnTo>
                      <a:pt x="50172" y="25078"/>
                    </a:lnTo>
                    <a:lnTo>
                      <a:pt x="25087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106" name="object 177"/>
            <p:cNvSpPr/>
            <p:nvPr userDrawn="1"/>
          </p:nvSpPr>
          <p:spPr>
            <a:xfrm>
              <a:off x="1498004" y="2308806"/>
              <a:ext cx="5756369" cy="1410477"/>
            </a:xfrm>
            <a:custGeom>
              <a:avLst/>
              <a:gdLst/>
              <a:ahLst/>
              <a:cxnLst/>
              <a:rect l="l" t="t" r="r" b="b"/>
              <a:pathLst>
                <a:path w="3065779" h="751204">
                  <a:moveTo>
                    <a:pt x="0" y="0"/>
                  </a:moveTo>
                  <a:lnTo>
                    <a:pt x="76492" y="750801"/>
                  </a:lnTo>
                  <a:lnTo>
                    <a:pt x="305980" y="743250"/>
                  </a:lnTo>
                  <a:lnTo>
                    <a:pt x="611958" y="685424"/>
                  </a:lnTo>
                  <a:lnTo>
                    <a:pt x="1225391" y="647583"/>
                  </a:lnTo>
                  <a:lnTo>
                    <a:pt x="1838814" y="516172"/>
                  </a:lnTo>
                  <a:lnTo>
                    <a:pt x="2452248" y="483584"/>
                  </a:lnTo>
                  <a:lnTo>
                    <a:pt x="3065675" y="477275"/>
                  </a:lnTo>
                </a:path>
              </a:pathLst>
            </a:custGeom>
            <a:ln w="12700">
              <a:solidFill>
                <a:schemeClr val="accent3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Arial Narrow" panose="020B0606020202030204" pitchFamily="34" charset="0"/>
              </a:endParaRPr>
            </a:p>
          </p:txBody>
        </p:sp>
        <p:grpSp>
          <p:nvGrpSpPr>
            <p:cNvPr id="107" name="Group 106"/>
            <p:cNvGrpSpPr/>
            <p:nvPr userDrawn="1"/>
          </p:nvGrpSpPr>
          <p:grpSpPr>
            <a:xfrm>
              <a:off x="1453990" y="2286891"/>
              <a:ext cx="5844410" cy="1478393"/>
              <a:chOff x="9372245" y="8626685"/>
              <a:chExt cx="6267768" cy="1585485"/>
            </a:xfrm>
            <a:solidFill>
              <a:schemeClr val="accent3"/>
            </a:solidFill>
          </p:grpSpPr>
          <p:sp>
            <p:nvSpPr>
              <p:cNvPr id="108" name="Rectangle 107"/>
              <p:cNvSpPr/>
              <p:nvPr/>
            </p:nvSpPr>
            <p:spPr>
              <a:xfrm>
                <a:off x="15548573" y="9556087"/>
                <a:ext cx="91440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09" name="Rectangle 108"/>
              <p:cNvSpPr/>
              <p:nvPr/>
            </p:nvSpPr>
            <p:spPr>
              <a:xfrm>
                <a:off x="14309027" y="9577809"/>
                <a:ext cx="91440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10" name="Rectangle 109"/>
              <p:cNvSpPr/>
              <p:nvPr/>
            </p:nvSpPr>
            <p:spPr>
              <a:xfrm>
                <a:off x="13075323" y="9638400"/>
                <a:ext cx="91440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11" name="Rectangle 110"/>
              <p:cNvSpPr/>
              <p:nvPr/>
            </p:nvSpPr>
            <p:spPr>
              <a:xfrm>
                <a:off x="11839360" y="9904257"/>
                <a:ext cx="91440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12" name="Rectangle 111"/>
              <p:cNvSpPr/>
              <p:nvPr/>
            </p:nvSpPr>
            <p:spPr>
              <a:xfrm>
                <a:off x="10603787" y="9983478"/>
                <a:ext cx="91440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13" name="Rectangle 112"/>
              <p:cNvSpPr/>
              <p:nvPr/>
            </p:nvSpPr>
            <p:spPr>
              <a:xfrm>
                <a:off x="9522292" y="10120730"/>
                <a:ext cx="91440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14" name="Rectangle 113"/>
              <p:cNvSpPr/>
              <p:nvPr/>
            </p:nvSpPr>
            <p:spPr>
              <a:xfrm>
                <a:off x="9986854" y="10098476"/>
                <a:ext cx="91440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15" name="Rectangle 114"/>
              <p:cNvSpPr/>
              <p:nvPr/>
            </p:nvSpPr>
            <p:spPr>
              <a:xfrm>
                <a:off x="9372245" y="8626685"/>
                <a:ext cx="91440" cy="9144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116" name="object 176"/>
            <p:cNvSpPr/>
            <p:nvPr userDrawn="1"/>
          </p:nvSpPr>
          <p:spPr>
            <a:xfrm>
              <a:off x="1498004" y="2470400"/>
              <a:ext cx="5756369" cy="361264"/>
            </a:xfrm>
            <a:custGeom>
              <a:avLst/>
              <a:gdLst/>
              <a:ahLst/>
              <a:cxnLst/>
              <a:rect l="l" t="t" r="r" b="b"/>
              <a:pathLst>
                <a:path w="3065779" h="192404">
                  <a:moveTo>
                    <a:pt x="0" y="0"/>
                  </a:moveTo>
                  <a:lnTo>
                    <a:pt x="76492" y="17663"/>
                  </a:lnTo>
                  <a:lnTo>
                    <a:pt x="305980" y="8831"/>
                  </a:lnTo>
                  <a:lnTo>
                    <a:pt x="611958" y="33124"/>
                  </a:lnTo>
                  <a:lnTo>
                    <a:pt x="1225391" y="35336"/>
                  </a:lnTo>
                  <a:lnTo>
                    <a:pt x="1838814" y="128087"/>
                  </a:lnTo>
                  <a:lnTo>
                    <a:pt x="2452248" y="136922"/>
                  </a:lnTo>
                  <a:lnTo>
                    <a:pt x="3065675" y="192127"/>
                  </a:lnTo>
                </a:path>
              </a:pathLst>
            </a:custGeom>
            <a:ln w="12700">
              <a:solidFill>
                <a:schemeClr val="accent2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Arial Narrow" panose="020B0606020202030204" pitchFamily="34" charset="0"/>
              </a:endParaRPr>
            </a:p>
          </p:txBody>
        </p:sp>
        <p:grpSp>
          <p:nvGrpSpPr>
            <p:cNvPr id="117" name="Group 116"/>
            <p:cNvGrpSpPr/>
            <p:nvPr userDrawn="1"/>
          </p:nvGrpSpPr>
          <p:grpSpPr>
            <a:xfrm>
              <a:off x="1443244" y="2407387"/>
              <a:ext cx="5866304" cy="482318"/>
              <a:chOff x="9360750" y="8755940"/>
              <a:chExt cx="6291268" cy="517258"/>
            </a:xfrm>
            <a:solidFill>
              <a:schemeClr val="accent2"/>
            </a:solidFill>
          </p:grpSpPr>
          <p:sp>
            <p:nvSpPr>
              <p:cNvPr id="118" name="object 202"/>
              <p:cNvSpPr/>
              <p:nvPr/>
            </p:nvSpPr>
            <p:spPr>
              <a:xfrm>
                <a:off x="9360750" y="8755940"/>
                <a:ext cx="117634" cy="117634"/>
              </a:xfrm>
              <a:prstGeom prst="ellipse">
                <a:avLst/>
              </a:pr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19" name="object 203"/>
              <p:cNvSpPr/>
              <p:nvPr/>
            </p:nvSpPr>
            <p:spPr>
              <a:xfrm>
                <a:off x="9514782" y="8798295"/>
                <a:ext cx="117634" cy="117634"/>
              </a:xfrm>
              <a:prstGeom prst="ellipse">
                <a:avLst/>
              </a:pr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20" name="object 204"/>
              <p:cNvSpPr/>
              <p:nvPr/>
            </p:nvSpPr>
            <p:spPr>
              <a:xfrm>
                <a:off x="9976881" y="8778674"/>
                <a:ext cx="117634" cy="117634"/>
              </a:xfrm>
              <a:prstGeom prst="ellipse">
                <a:avLst/>
              </a:pr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21" name="object 205"/>
              <p:cNvSpPr/>
              <p:nvPr/>
            </p:nvSpPr>
            <p:spPr>
              <a:xfrm>
                <a:off x="10593017" y="8830774"/>
                <a:ext cx="117634" cy="117634"/>
              </a:xfrm>
              <a:prstGeom prst="ellipse">
                <a:avLst/>
              </a:pr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22" name="object 206"/>
              <p:cNvSpPr/>
              <p:nvPr/>
            </p:nvSpPr>
            <p:spPr>
              <a:xfrm>
                <a:off x="11828237" y="8833974"/>
                <a:ext cx="117634" cy="117634"/>
              </a:xfrm>
              <a:prstGeom prst="ellipse">
                <a:avLst/>
              </a:pr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23" name="object 207"/>
              <p:cNvSpPr/>
              <p:nvPr/>
            </p:nvSpPr>
            <p:spPr>
              <a:xfrm>
                <a:off x="13063461" y="9022863"/>
                <a:ext cx="117634" cy="117634"/>
              </a:xfrm>
              <a:prstGeom prst="ellipse">
                <a:avLst/>
              </a:pr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24" name="object 208"/>
              <p:cNvSpPr/>
              <p:nvPr/>
            </p:nvSpPr>
            <p:spPr>
              <a:xfrm>
                <a:off x="14298688" y="9050609"/>
                <a:ext cx="117634" cy="117634"/>
              </a:xfrm>
              <a:prstGeom prst="ellipse">
                <a:avLst/>
              </a:pr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25" name="object 209"/>
              <p:cNvSpPr/>
              <p:nvPr/>
            </p:nvSpPr>
            <p:spPr>
              <a:xfrm>
                <a:off x="15534384" y="9155564"/>
                <a:ext cx="117634" cy="117634"/>
              </a:xfrm>
              <a:prstGeom prst="ellipse">
                <a:avLst/>
              </a:pr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126" name="object 175"/>
            <p:cNvSpPr/>
            <p:nvPr userDrawn="1"/>
          </p:nvSpPr>
          <p:spPr>
            <a:xfrm>
              <a:off x="1498453" y="2540893"/>
              <a:ext cx="5756369" cy="1216135"/>
            </a:xfrm>
            <a:custGeom>
              <a:avLst/>
              <a:gdLst/>
              <a:ahLst/>
              <a:cxnLst/>
              <a:rect l="l" t="t" r="r" b="b"/>
              <a:pathLst>
                <a:path w="3065779" h="647700">
                  <a:moveTo>
                    <a:pt x="0" y="0"/>
                  </a:moveTo>
                  <a:lnTo>
                    <a:pt x="76255" y="627199"/>
                  </a:lnTo>
                  <a:lnTo>
                    <a:pt x="305740" y="627199"/>
                  </a:lnTo>
                  <a:lnTo>
                    <a:pt x="611715" y="647070"/>
                  </a:lnTo>
                  <a:lnTo>
                    <a:pt x="1225148" y="530014"/>
                  </a:lnTo>
                  <a:lnTo>
                    <a:pt x="1838575" y="532233"/>
                  </a:lnTo>
                  <a:lnTo>
                    <a:pt x="2452005" y="450521"/>
                  </a:lnTo>
                  <a:lnTo>
                    <a:pt x="3065432" y="538856"/>
                  </a:lnTo>
                </a:path>
              </a:pathLst>
            </a:custGeom>
            <a:ln w="12700">
              <a:solidFill>
                <a:schemeClr val="accent1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Arial Narrow" panose="020B0606020202030204" pitchFamily="34" charset="0"/>
              </a:endParaRPr>
            </a:p>
          </p:txBody>
        </p:sp>
        <p:grpSp>
          <p:nvGrpSpPr>
            <p:cNvPr id="127" name="Group 126"/>
            <p:cNvGrpSpPr/>
            <p:nvPr userDrawn="1"/>
          </p:nvGrpSpPr>
          <p:grpSpPr>
            <a:xfrm>
              <a:off x="1443252" y="2468439"/>
              <a:ext cx="5865846" cy="1330891"/>
              <a:chOff x="9360730" y="8821384"/>
              <a:chExt cx="6290756" cy="1427298"/>
            </a:xfrm>
            <a:solidFill>
              <a:schemeClr val="accent1"/>
            </a:solidFill>
          </p:grpSpPr>
          <p:sp>
            <p:nvSpPr>
              <p:cNvPr id="128" name="object 186"/>
              <p:cNvSpPr/>
              <p:nvPr/>
            </p:nvSpPr>
            <p:spPr>
              <a:xfrm>
                <a:off x="9360730" y="8821384"/>
                <a:ext cx="117634" cy="117634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29160" y="0"/>
                    </a:moveTo>
                    <a:lnTo>
                      <a:pt x="0" y="58327"/>
                    </a:lnTo>
                    <a:lnTo>
                      <a:pt x="58321" y="58327"/>
                    </a:lnTo>
                    <a:lnTo>
                      <a:pt x="29160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29" name="object 187"/>
              <p:cNvSpPr/>
              <p:nvPr/>
            </p:nvSpPr>
            <p:spPr>
              <a:xfrm>
                <a:off x="9514753" y="10103870"/>
                <a:ext cx="117634" cy="117634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29163" y="0"/>
                    </a:moveTo>
                    <a:lnTo>
                      <a:pt x="0" y="58330"/>
                    </a:lnTo>
                    <a:lnTo>
                      <a:pt x="58321" y="58330"/>
                    </a:lnTo>
                    <a:lnTo>
                      <a:pt x="29163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30" name="object 188"/>
              <p:cNvSpPr/>
              <p:nvPr/>
            </p:nvSpPr>
            <p:spPr>
              <a:xfrm>
                <a:off x="9976857" y="10110489"/>
                <a:ext cx="117634" cy="117634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29163" y="0"/>
                    </a:moveTo>
                    <a:lnTo>
                      <a:pt x="0" y="58327"/>
                    </a:lnTo>
                    <a:lnTo>
                      <a:pt x="58321" y="58327"/>
                    </a:lnTo>
                    <a:lnTo>
                      <a:pt x="29163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31" name="object 189"/>
              <p:cNvSpPr/>
              <p:nvPr/>
            </p:nvSpPr>
            <p:spPr>
              <a:xfrm>
                <a:off x="10592992" y="10131048"/>
                <a:ext cx="117634" cy="117634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29157" y="0"/>
                    </a:moveTo>
                    <a:lnTo>
                      <a:pt x="0" y="58324"/>
                    </a:lnTo>
                    <a:lnTo>
                      <a:pt x="58321" y="58324"/>
                    </a:lnTo>
                    <a:lnTo>
                      <a:pt x="29157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32" name="object 191"/>
              <p:cNvSpPr/>
              <p:nvPr/>
            </p:nvSpPr>
            <p:spPr>
              <a:xfrm>
                <a:off x="13063421" y="9903038"/>
                <a:ext cx="117634" cy="117634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29163" y="0"/>
                    </a:moveTo>
                    <a:lnTo>
                      <a:pt x="0" y="58327"/>
                    </a:lnTo>
                    <a:lnTo>
                      <a:pt x="58324" y="58327"/>
                    </a:lnTo>
                    <a:lnTo>
                      <a:pt x="29163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33" name="object 192"/>
              <p:cNvSpPr/>
              <p:nvPr/>
            </p:nvSpPr>
            <p:spPr>
              <a:xfrm>
                <a:off x="14298644" y="9737747"/>
                <a:ext cx="117634" cy="117634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29160" y="0"/>
                    </a:moveTo>
                    <a:lnTo>
                      <a:pt x="0" y="58321"/>
                    </a:lnTo>
                    <a:lnTo>
                      <a:pt x="58321" y="58321"/>
                    </a:lnTo>
                    <a:lnTo>
                      <a:pt x="29160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34" name="object 193"/>
              <p:cNvSpPr/>
              <p:nvPr/>
            </p:nvSpPr>
            <p:spPr>
              <a:xfrm>
                <a:off x="15533852" y="9934048"/>
                <a:ext cx="117634" cy="117634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29166" y="0"/>
                    </a:moveTo>
                    <a:lnTo>
                      <a:pt x="0" y="58324"/>
                    </a:lnTo>
                    <a:lnTo>
                      <a:pt x="58321" y="58324"/>
                    </a:lnTo>
                    <a:lnTo>
                      <a:pt x="29166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  <p:sp>
            <p:nvSpPr>
              <p:cNvPr id="135" name="object 191"/>
              <p:cNvSpPr/>
              <p:nvPr/>
            </p:nvSpPr>
            <p:spPr>
              <a:xfrm>
                <a:off x="11825258" y="9880969"/>
                <a:ext cx="117634" cy="117634"/>
              </a:xfrm>
              <a:custGeom>
                <a:avLst/>
                <a:gdLst/>
                <a:ahLst/>
                <a:cxnLst/>
                <a:rect l="l" t="t" r="r" b="b"/>
                <a:pathLst>
                  <a:path w="58420" h="58420">
                    <a:moveTo>
                      <a:pt x="29163" y="0"/>
                    </a:moveTo>
                    <a:lnTo>
                      <a:pt x="0" y="58327"/>
                    </a:lnTo>
                    <a:lnTo>
                      <a:pt x="58324" y="58327"/>
                    </a:lnTo>
                    <a:lnTo>
                      <a:pt x="29163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 sz="1300">
                  <a:latin typeface="Arial Narrow" panose="020B060602020203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374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87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427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87604"/>
            <a:ext cx="11736288" cy="837141"/>
          </a:xfrm>
        </p:spPr>
        <p:txBody>
          <a:bodyPr/>
          <a:lstStyle>
            <a:lvl1pPr>
              <a:defRPr sz="3200" b="1">
                <a:solidFill>
                  <a:srgbClr val="0F376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6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54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804451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130431"/>
            <a:ext cx="9211733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3886200"/>
            <a:ext cx="7586133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42892" indent="0" algn="ctr">
              <a:buNone/>
              <a:defRPr/>
            </a:lvl2pPr>
            <a:lvl3pPr marL="685783" indent="0" algn="ctr">
              <a:buNone/>
              <a:defRPr/>
            </a:lvl3pPr>
            <a:lvl4pPr marL="1028675" indent="0" algn="ctr">
              <a:buNone/>
              <a:defRPr/>
            </a:lvl4pPr>
            <a:lvl5pPr marL="1371566" indent="0" algn="ctr">
              <a:buNone/>
              <a:defRPr/>
            </a:lvl5pPr>
            <a:lvl6pPr marL="1714457" indent="0" algn="ctr">
              <a:buNone/>
              <a:defRPr/>
            </a:lvl6pPr>
            <a:lvl7pPr marL="2057348" indent="0" algn="ctr">
              <a:buNone/>
              <a:defRPr/>
            </a:lvl7pPr>
            <a:lvl8pPr marL="2400240" indent="0" algn="ctr">
              <a:buNone/>
              <a:defRPr/>
            </a:lvl8pPr>
            <a:lvl9pPr marL="274313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B82F18-B6DC-40A5-BAC3-6DBFEF20599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73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"/>
            <a:ext cx="10972800" cy="1137684"/>
          </a:xfrm>
        </p:spPr>
        <p:txBody>
          <a:bodyPr anchor="b" anchorCtr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2"/>
            <a:ext cx="10972800" cy="47545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98A0AA-8513-4771-A86A-A0F305CF0CC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092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7DE6A48-BD34-9247-8CD2-A207D07E22B4}" type="datetime1">
              <a:rPr lang="en-US"/>
              <a:pPr/>
              <a:t>11/11/22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941447-81A8-E34A-8E29-11F044513D7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490455"/>
            <a:ext cx="10972800" cy="713539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498603"/>
            <a:ext cx="10972800" cy="4666225"/>
          </a:xfrm>
          <a:prstGeom prst="rect">
            <a:avLst/>
          </a:prstGeom>
        </p:spPr>
        <p:txBody>
          <a:bodyPr/>
          <a:lstStyle>
            <a:lvl1pPr marL="225419" indent="-225419">
              <a:defRPr sz="2000">
                <a:solidFill>
                  <a:schemeClr val="tx1"/>
                </a:solidFill>
              </a:defRPr>
            </a:lvl1pPr>
            <a:lvl2pPr marL="574661" indent="-285743">
              <a:defRPr sz="1800">
                <a:solidFill>
                  <a:schemeClr val="tx1"/>
                </a:solidFill>
              </a:defRPr>
            </a:lvl2pPr>
            <a:lvl3pPr marL="852467" indent="-228594">
              <a:defRPr sz="1600">
                <a:solidFill>
                  <a:schemeClr val="tx1"/>
                </a:solidFill>
              </a:defRPr>
            </a:lvl3pPr>
            <a:lvl4pPr marL="1201708" indent="-228594">
              <a:defRPr sz="1400">
                <a:solidFill>
                  <a:schemeClr val="tx1"/>
                </a:solidFill>
              </a:defRPr>
            </a:lvl4pPr>
            <a:lvl5pPr marL="1603335" indent="-228594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0156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944" userDrawn="1">
          <p15:clr>
            <a:srgbClr val="FBAE4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head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2359" y="1951369"/>
            <a:ext cx="11329580" cy="4120440"/>
          </a:xfrm>
          <a:prstGeom prst="rect">
            <a:avLst/>
          </a:prstGeom>
        </p:spPr>
        <p:txBody>
          <a:bodyPr lIns="57150" tIns="28575" rIns="57150" bIns="28575"/>
          <a:lstStyle>
            <a:lvl1pPr>
              <a:lnSpc>
                <a:spcPct val="100000"/>
              </a:lnSpc>
              <a:defRPr/>
            </a:lvl1pPr>
            <a:lvl2pPr marL="1418" indent="0">
              <a:lnSpc>
                <a:spcPct val="100000"/>
              </a:lnSpc>
              <a:buFont typeface="Arial" panose="020B0604020202020204" pitchFamily="34" charset="0"/>
              <a:buNone/>
              <a:defRPr/>
            </a:lvl2pPr>
            <a:lvl3pPr marL="310220" indent="-204092">
              <a:lnSpc>
                <a:spcPct val="100000"/>
              </a:lnSpc>
              <a:spcBef>
                <a:spcPts val="375"/>
              </a:spcBef>
              <a:buSzPct val="110000"/>
              <a:buFontTx/>
              <a:buBlip>
                <a:blip r:embed="rId2"/>
              </a:buBlip>
              <a:defRPr/>
            </a:lvl3pPr>
            <a:lvl4pPr marL="540730" indent="-214308">
              <a:lnSpc>
                <a:spcPct val="100000"/>
              </a:lnSpc>
              <a:buFont typeface="Verdana" panose="020B0604030504040204" pitchFamily="34" charset="0"/>
              <a:buChar char="-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14149" indent="-142871">
              <a:lnSpc>
                <a:spcPct val="100000"/>
              </a:lnSpc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marL="469293" lvl="3" indent="-142871" algn="l" defTabSz="81636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75"/>
              </a:spcAft>
              <a:buFont typeface="Verdana" panose="020B0604030504040204" pitchFamily="34" charset="0"/>
              <a:buChar char="-"/>
            </a:pPr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62359" y="1293657"/>
            <a:ext cx="11329580" cy="444500"/>
          </a:xfrm>
          <a:prstGeom prst="rect">
            <a:avLst/>
          </a:prstGeom>
        </p:spPr>
        <p:txBody>
          <a:bodyPr lIns="57150" tIns="28575" rIns="57150" bIns="28575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bg2"/>
                </a:solidFill>
              </a:defRPr>
            </a:lvl1pPr>
            <a:lvl2pPr marL="103463" indent="0">
              <a:buNone/>
              <a:defRPr/>
            </a:lvl2pPr>
            <a:lvl3pPr marL="462041" indent="0">
              <a:buNone/>
              <a:defRPr/>
            </a:lvl3pPr>
            <a:lvl4pPr marL="814951" indent="0">
              <a:buNone/>
              <a:defRPr/>
            </a:lvl4pPr>
            <a:lvl5pPr marL="1121088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2359" y="146122"/>
            <a:ext cx="11329580" cy="771787"/>
          </a:xfrm>
          <a:prstGeom prst="rect">
            <a:avLst/>
          </a:prstGeom>
        </p:spPr>
        <p:txBody>
          <a:bodyPr lIns="57150" tIns="28575" rIns="57150" bIns="2857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>
          <a:xfrm>
            <a:off x="4038600" y="6350506"/>
            <a:ext cx="4114800" cy="365125"/>
          </a:xfrm>
          <a:prstGeom prst="rect">
            <a:avLst/>
          </a:prstGeom>
        </p:spPr>
        <p:txBody>
          <a:bodyPr lIns="57150" tIns="28575" rIns="57150" bIns="28575"/>
          <a:lstStyle/>
          <a:p>
            <a:r>
              <a:rPr lang="en-US" dirty="0"/>
              <a:t>Confidential information, for internal use only. </a:t>
            </a:r>
          </a:p>
        </p:txBody>
      </p:sp>
    </p:spTree>
    <p:extLst>
      <p:ext uri="{BB962C8B-B14F-4D97-AF65-F5344CB8AC3E}">
        <p14:creationId xmlns:p14="http://schemas.microsoft.com/office/powerpoint/2010/main" val="3524653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1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186612"/>
      </p:ext>
    </p:extLst>
  </p:cSld>
  <p:clrMapOvr>
    <a:masterClrMapping/>
  </p:clrMapOvr>
  <p:hf hdr="0" dt="0"/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1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873726"/>
      </p:ext>
    </p:extLst>
  </p:cSld>
  <p:clrMapOvr>
    <a:masterClrMapping/>
  </p:clrMapOvr>
  <p:hf hdr="0" dt="0"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1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174850"/>
      </p:ext>
    </p:extLst>
  </p:cSld>
  <p:clrMapOvr>
    <a:masterClrMapping/>
  </p:clrMapOvr>
  <p:hf hdr="0" dt="0"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1/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891126"/>
      </p:ext>
    </p:extLst>
  </p:cSld>
  <p:clrMapOvr>
    <a:masterClrMapping/>
  </p:clrMapOvr>
  <p:hf hdr="0" dt="0"/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1/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8839"/>
      </p:ext>
    </p:extLst>
  </p:cSld>
  <p:clrMapOvr>
    <a:masterClrMapping/>
  </p:clrMapOvr>
  <p:hf hdr="0" dt="0"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1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000826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6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5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77C72C0-906E-B546-B9CE-B691EA22A1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87604"/>
            <a:ext cx="11736288" cy="837141"/>
          </a:xfrm>
        </p:spPr>
        <p:txBody>
          <a:bodyPr/>
          <a:lstStyle>
            <a:lvl1pPr>
              <a:defRPr sz="3200" b="1">
                <a:solidFill>
                  <a:srgbClr val="0F376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4602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9" userDrawn="1">
          <p15:clr>
            <a:srgbClr val="FBAE40"/>
          </p15:clr>
        </p15:guide>
        <p15:guide id="2" pos="575" userDrawn="1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1/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149863"/>
      </p:ext>
    </p:extLst>
  </p:cSld>
  <p:clrMapOvr>
    <a:masterClrMapping/>
  </p:clrMapOvr>
  <p:hf hdr="0" dt="0"/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1/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394509"/>
      </p:ext>
    </p:extLst>
  </p:cSld>
  <p:clrMapOvr>
    <a:masterClrMapping/>
  </p:clrMapOvr>
  <p:hf hdr="0" dt="0"/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1/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451448"/>
      </p:ext>
    </p:extLst>
  </p:cSld>
  <p:clrMapOvr>
    <a:masterClrMapping/>
  </p:clrMapOvr>
  <p:hf hdr="0" dt="0"/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1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390224"/>
      </p:ext>
    </p:extLst>
  </p:cSld>
  <p:clrMapOvr>
    <a:masterClrMapping/>
  </p:clrMapOvr>
  <p:hf hdr="0" dt="0"/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1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387961"/>
      </p:ext>
    </p:extLst>
  </p:cSld>
  <p:clrMapOvr>
    <a:masterClrMapping/>
  </p:clrMapOvr>
  <p:hf hdr="0" dt="0"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BDE7A-85D9-41DD-86FC-5A5E00CB01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0080" y="1489132"/>
            <a:ext cx="10972800" cy="2223261"/>
          </a:xfrm>
        </p:spPr>
        <p:txBody>
          <a:bodyPr anchor="b">
            <a:normAutofit/>
          </a:bodyPr>
          <a:lstStyle>
            <a:lvl1pPr algn="l">
              <a:defRPr sz="4050" b="1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 OF MODULE/LEC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4CC758-05CD-498C-B7EA-1421DD07FB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0080" y="3797537"/>
            <a:ext cx="10972800" cy="948671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rgbClr val="002557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D9F7408-FA39-411A-B427-9F7A5AE9AC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080" y="5142189"/>
            <a:ext cx="10972800" cy="59413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500">
                <a:solidFill>
                  <a:srgbClr val="002557"/>
                </a:solidFill>
              </a:defRPr>
            </a:lvl1pPr>
            <a:lvl2pPr marL="342900" indent="0">
              <a:buFontTx/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Speak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7FB3A7-0AD3-4819-9FFB-85C98D4281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0080" y="382033"/>
            <a:ext cx="3001283" cy="85075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BC5C70-076B-40B0-85B6-B1E116EB5C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6" y="6527258"/>
            <a:ext cx="4058675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2421370810"/>
      </p:ext>
    </p:extLst>
  </p:cSld>
  <p:clrMapOvr>
    <a:masterClrMapping/>
  </p:clrMapOvr>
  <p:hf sldNum="0" hdr="0" ftr="0" dt="0"/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557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55BCAD1-B2C4-4556-B676-0AB35285D9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6" y="6527258"/>
            <a:ext cx="4058675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B20A4AD-A2C6-16F1-B43A-70977CF38D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526" y="5693595"/>
            <a:ext cx="11664951" cy="330743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3358943455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557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55BCAD1-B2C4-4556-B676-0AB35285D9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6" y="6527258"/>
            <a:ext cx="4058675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B20A4AD-A2C6-16F1-B43A-70977CF38D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526" y="5693595"/>
            <a:ext cx="11664951" cy="330743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0857641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557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55BCAD1-B2C4-4556-B676-0AB35285D9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6" y="6527258"/>
            <a:ext cx="4058675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B20A4AD-A2C6-16F1-B43A-70977CF38D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526" y="5693595"/>
            <a:ext cx="11664951" cy="330743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4070445256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557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55BCAD1-B2C4-4556-B676-0AB35285D9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6" y="6527258"/>
            <a:ext cx="4058675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B20A4AD-A2C6-16F1-B43A-70977CF38D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526" y="5693595"/>
            <a:ext cx="11664951" cy="330743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40213814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" y="6553200"/>
            <a:ext cx="10668000" cy="22860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5"/>
            <a:endParaRPr lang="en-US" dirty="0">
              <a:solidFill>
                <a:srgbClr val="323232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0800" y="6476360"/>
            <a:ext cx="609600" cy="305440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5"/>
            <a:fld id="{74EEA10D-E951-474C-8CD0-91078E47E9CB}" type="slidenum">
              <a:rPr lang="en-US" smtClean="0">
                <a:solidFill>
                  <a:srgbClr val="323232"/>
                </a:solidFill>
              </a:rPr>
              <a:pPr defTabSz="914355"/>
              <a:t>‹#›</a:t>
            </a:fld>
            <a:endParaRPr lang="en-US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8664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828800"/>
            <a:ext cx="5080000" cy="4120480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8800"/>
            <a:ext cx="5080000" cy="4120480"/>
          </a:xfrm>
        </p:spPr>
        <p:txBody>
          <a:bodyPr/>
          <a:lstStyle>
            <a:lvl1pPr>
              <a:defRPr sz="16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6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5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9CC1961-90E4-5B49-ADE7-9E535A305B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87604"/>
            <a:ext cx="11736288" cy="837141"/>
          </a:xfrm>
        </p:spPr>
        <p:txBody>
          <a:bodyPr/>
          <a:lstStyle>
            <a:lvl1pPr>
              <a:defRPr sz="3200" b="1">
                <a:solidFill>
                  <a:srgbClr val="0F376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129747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557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55BCAD1-B2C4-4556-B676-0AB35285D9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6" y="6527258"/>
            <a:ext cx="4058675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B20A4AD-A2C6-16F1-B43A-70977CF38D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526" y="5693595"/>
            <a:ext cx="11664951" cy="330743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214148202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557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55BCAD1-B2C4-4556-B676-0AB35285D9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6" y="6527258"/>
            <a:ext cx="4058675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B20A4AD-A2C6-16F1-B43A-70977CF38D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526" y="5693595"/>
            <a:ext cx="11664951" cy="330743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263272732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6" y="217034"/>
            <a:ext cx="11664951" cy="937896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557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3526" y="1332066"/>
            <a:ext cx="11664951" cy="4361529"/>
          </a:xfr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55BCAD1-B2C4-4556-B676-0AB35285D9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6" y="6527258"/>
            <a:ext cx="4058675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B20A4AD-A2C6-16F1-B43A-70977CF38D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526" y="5693595"/>
            <a:ext cx="11664951" cy="330743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310873102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157A794-B351-4E1D-AC06-88E609E324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7512" y="2257671"/>
            <a:ext cx="10972800" cy="1970998"/>
          </a:xfrm>
        </p:spPr>
        <p:txBody>
          <a:bodyPr anchor="ctr" anchorCtr="0">
            <a:normAutofit/>
          </a:bodyPr>
          <a:lstStyle>
            <a:lvl1pPr algn="l">
              <a:defRPr sz="3000" b="1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E3BC0D7-7437-4D55-84A2-2052BBDAC1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6" y="6527258"/>
            <a:ext cx="4058675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3228785889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3341939-600B-4FD3-A505-665DAC390A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6" y="6527258"/>
            <a:ext cx="4058675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675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217680332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6CD42-27FF-0E44-A451-1CA0DBFF2AA8}" type="datetimeFigureOut">
              <a:rPr lang="en-US" smtClean="0"/>
              <a:t>11/1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208390-AF8E-BE4B-8929-5C201B8B39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816711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6CD42-27FF-0E44-A451-1CA0DBFF2AA8}" type="datetimeFigureOut">
              <a:rPr lang="en-US" smtClean="0"/>
              <a:t>11/1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208390-AF8E-BE4B-8929-5C201B8B39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48609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6CD42-27FF-0E44-A451-1CA0DBFF2AA8}" type="datetimeFigureOut">
              <a:rPr lang="en-US" smtClean="0"/>
              <a:t>11/1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208390-AF8E-BE4B-8929-5C201B8B39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00079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6CD42-27FF-0E44-A451-1CA0DBFF2AA8}" type="datetimeFigureOut">
              <a:rPr lang="en-US" smtClean="0"/>
              <a:t>11/11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208390-AF8E-BE4B-8929-5C201B8B39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00724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6CD42-27FF-0E44-A451-1CA0DBFF2AA8}" type="datetimeFigureOut">
              <a:rPr lang="en-US" smtClean="0"/>
              <a:t>11/11/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208390-AF8E-BE4B-8929-5C201B8B39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3430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6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5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B1E32BE-D5FC-7548-A3C8-F6F522AF50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87604"/>
            <a:ext cx="11736288" cy="837141"/>
          </a:xfrm>
        </p:spPr>
        <p:txBody>
          <a:bodyPr/>
          <a:lstStyle>
            <a:lvl1pPr>
              <a:defRPr sz="3200" b="1">
                <a:solidFill>
                  <a:srgbClr val="0F376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3438424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6CD42-27FF-0E44-A451-1CA0DBFF2AA8}" type="datetimeFigureOut">
              <a:rPr lang="en-US" smtClean="0"/>
              <a:t>11/11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208390-AF8E-BE4B-8929-5C201B8B39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76898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6CD42-27FF-0E44-A451-1CA0DBFF2AA8}" type="datetimeFigureOut">
              <a:rPr lang="en-US" smtClean="0"/>
              <a:t>11/11/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208390-AF8E-BE4B-8929-5C201B8B39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409412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6CD42-27FF-0E44-A451-1CA0DBFF2AA8}" type="datetimeFigureOut">
              <a:rPr lang="en-US" smtClean="0"/>
              <a:t>11/11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208390-AF8E-BE4B-8929-5C201B8B39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643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6CD42-27FF-0E44-A451-1CA0DBFF2AA8}" type="datetimeFigureOut">
              <a:rPr lang="en-US" smtClean="0"/>
              <a:t>11/11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208390-AF8E-BE4B-8929-5C201B8B39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97211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6CD42-27FF-0E44-A451-1CA0DBFF2AA8}" type="datetimeFigureOut">
              <a:rPr lang="en-US" smtClean="0"/>
              <a:t>11/1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208390-AF8E-BE4B-8929-5C201B8B39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20686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6CD42-27FF-0E44-A451-1CA0DBFF2AA8}" type="datetimeFigureOut">
              <a:rPr lang="en-US" smtClean="0"/>
              <a:t>11/11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208390-AF8E-BE4B-8929-5C201B8B39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0039001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7535" y="2347916"/>
            <a:ext cx="11425767" cy="162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17184" y="4283078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68443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3703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2568" y="4857756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2568" y="3203577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7938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36615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6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800000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298506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0820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174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2998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4725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7479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6771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8464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1312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92756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3728675286"/>
      </p:ext>
    </p:extLst>
  </p:cSld>
  <p:clrMapOvr>
    <a:masterClrMapping/>
  </p:clrMapOvr>
  <p:transition spd="slow" advClick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0" i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932722"/>
            <a:ext cx="7315200" cy="379485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72595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6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800000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74007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021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533087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868726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6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54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97733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443038"/>
            <a:ext cx="11582400" cy="4830763"/>
          </a:xfrm>
          <a:prstGeom prst="rect">
            <a:avLst/>
          </a:prstGeom>
        </p:spPr>
        <p:txBody>
          <a:bodyPr>
            <a:normAutofit/>
          </a:bodyPr>
          <a:lstStyle>
            <a:lvl1pPr marL="342892" indent="-342892">
              <a:lnSpc>
                <a:spcPct val="100000"/>
              </a:lnSpc>
              <a:buFont typeface="Arial" panose="020B0604020202020204" pitchFamily="34" charset="0"/>
              <a:buChar char="•"/>
              <a:defRPr sz="2400" baseline="0"/>
            </a:lvl1pPr>
            <a:lvl2pPr marL="800080" indent="-342892">
              <a:lnSpc>
                <a:spcPct val="100000"/>
              </a:lnSpc>
              <a:buFont typeface="Arial" panose="020B0604020202020204" pitchFamily="34" charset="0"/>
              <a:buChar char="–"/>
              <a:defRPr sz="2400"/>
            </a:lvl2pPr>
            <a:lvl3pPr marL="1257269" indent="-342892">
              <a:lnSpc>
                <a:spcPct val="100000"/>
              </a:lnSpc>
              <a:buSzPct val="70000"/>
              <a:buFont typeface="Wingdings" panose="05000000000000000000" pitchFamily="2" charset="2"/>
              <a:buChar char="Ø"/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214436"/>
            <a:ext cx="12192000" cy="0"/>
          </a:xfrm>
          <a:prstGeom prst="line">
            <a:avLst/>
          </a:prstGeom>
          <a:ln>
            <a:solidFill>
              <a:schemeClr val="tx2">
                <a:lumMod val="90000"/>
                <a:lumOff val="10000"/>
              </a:schemeClr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43840" y="101600"/>
            <a:ext cx="11704320" cy="990600"/>
          </a:xfrm>
        </p:spPr>
        <p:txBody>
          <a:bodyPr>
            <a:noAutofit/>
          </a:bodyPr>
          <a:lstStyle>
            <a:lvl1pPr>
              <a:defRPr sz="28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243840" y="6356353"/>
            <a:ext cx="9997440" cy="365125"/>
          </a:xfrm>
        </p:spPr>
        <p:txBody>
          <a:bodyPr lIns="45720" bIns="0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@PV_2016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0" y="6273802"/>
            <a:ext cx="1320800" cy="400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7364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FFCC3-D0B3-4BCB-A316-6742FD026D2F}" type="datetimeFigureOut">
              <a:rPr lang="en-US" smtClean="0"/>
              <a:t>11/11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819022-F6F3-41E9-B6EF-01A6E9E2AB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2527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2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90422-FAC2-1B47-B696-15B7C4FF0E2E}" type="datetime1">
              <a:rPr lang="en-US" smtClean="0"/>
              <a:pPr/>
              <a:t>11/11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ABAB64-726D-C943-9B15-2E81C6025A8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490456"/>
            <a:ext cx="10972800" cy="713539"/>
          </a:xfr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368926"/>
            <a:ext cx="10972800" cy="4947903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20998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-2"/>
            <a:ext cx="12191999" cy="45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0" i="0" dirty="0">
              <a:solidFill>
                <a:schemeClr val="lt1"/>
              </a:solidFill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255212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  <a:p>
            <a:pPr lvl="0"/>
            <a:r>
              <a:rPr lang="en-US" dirty="0"/>
              <a:t>Goes Here</a:t>
            </a:r>
          </a:p>
        </p:txBody>
      </p:sp>
      <p:pic>
        <p:nvPicPr>
          <p:cNvPr id="7" name="Picture 6" descr="UTHSA_logo_H_Full-Col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4669" y="5179645"/>
            <a:ext cx="4105255" cy="1057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265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Blue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0"/>
            <a:ext cx="12191999" cy="45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0" i="0" dirty="0"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177155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5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</a:p>
          <a:p>
            <a:pPr lvl="0"/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993212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3"/>
            <a:ext cx="5386917" cy="639763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7" y="1524003"/>
            <a:ext cx="5389033" cy="639763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7" y="2174875"/>
            <a:ext cx="5389033" cy="3951288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609600" y="6553200"/>
            <a:ext cx="10668000" cy="22860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5"/>
            <a:endParaRPr lang="en-US" dirty="0">
              <a:solidFill>
                <a:srgbClr val="323232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1480800" y="6476360"/>
            <a:ext cx="609600" cy="305440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5"/>
            <a:fld id="{74EEA10D-E951-474C-8CD0-91078E47E9CB}" type="slidenum">
              <a:rPr lang="en-US" smtClean="0">
                <a:solidFill>
                  <a:srgbClr val="323232"/>
                </a:solidFill>
              </a:rPr>
              <a:pPr defTabSz="914355"/>
              <a:t>‹#›</a:t>
            </a:fld>
            <a:endParaRPr lang="en-US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2490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Green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0"/>
            <a:ext cx="12191999" cy="45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0" i="0" dirty="0"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177156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5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</a:p>
          <a:p>
            <a:pPr lvl="0"/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36143733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" y="-2"/>
            <a:ext cx="12191999" cy="45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="0" i="0" dirty="0">
              <a:solidFill>
                <a:schemeClr val="lt1"/>
              </a:solidFill>
              <a:latin typeface="Goudy Oldstyle Std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26592" y="1179576"/>
            <a:ext cx="9729216" cy="2715768"/>
          </a:xfrm>
        </p:spPr>
        <p:txBody>
          <a:bodyPr anchor="b" anchorCtr="0">
            <a:noAutofit/>
          </a:bodyPr>
          <a:lstStyle>
            <a:lvl1pPr>
              <a:defRPr sz="45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2561213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4464460"/>
            <a:ext cx="10515600" cy="1063486"/>
          </a:xfrm>
          <a:solidFill>
            <a:schemeClr val="tx1"/>
          </a:solidFill>
          <a:ln>
            <a:noFill/>
          </a:ln>
        </p:spPr>
        <p:txBody>
          <a:bodyPr lIns="182880" tIns="91440" rIns="274320" bIns="274320" anchor="t" anchorCtr="0">
            <a:normAutofit/>
          </a:bodyPr>
          <a:lstStyle>
            <a:lvl1pPr>
              <a:lnSpc>
                <a:spcPct val="100000"/>
              </a:lnSpc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insert photo caption.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838200" y="685835"/>
            <a:ext cx="10515600" cy="3778624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52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Text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597368"/>
            <a:ext cx="10515600" cy="1191092"/>
          </a:xfrm>
        </p:spPr>
        <p:txBody>
          <a:bodyPr>
            <a:normAutofit/>
          </a:bodyPr>
          <a:lstStyle>
            <a:lvl1pPr>
              <a:defRPr sz="4000" baseline="0"/>
            </a:lvl1pPr>
          </a:lstStyle>
          <a:p>
            <a:r>
              <a:rPr lang="en-US" dirty="0"/>
              <a:t>Click to insert Slide Head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9" y="1922930"/>
            <a:ext cx="5157787" cy="4172604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6484937" y="1922930"/>
            <a:ext cx="4870451" cy="3671046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80403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ubhead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5" y="1044076"/>
            <a:ext cx="3352800" cy="569572"/>
          </a:xfrm>
        </p:spPr>
        <p:txBody>
          <a:bodyPr>
            <a:normAutofit/>
          </a:bodyPr>
          <a:lstStyle>
            <a:lvl1pPr>
              <a:defRPr sz="270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1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7" y="1775015"/>
            <a:ext cx="3352800" cy="3757657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750"/>
              </a:spcBef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4384353" y="1775015"/>
            <a:ext cx="3352800" cy="3757657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750"/>
              </a:spcBef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7928920" y="1775015"/>
            <a:ext cx="3352800" cy="3757656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750"/>
              </a:spcBef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384351" y="1043609"/>
            <a:ext cx="3352800" cy="56957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700">
                <a:solidFill>
                  <a:srgbClr val="7B6469"/>
                </a:solidFill>
              </a:defRPr>
            </a:lvl1pPr>
            <a:lvl2pPr marL="342900" indent="0">
              <a:buNone/>
              <a:defRPr sz="2700">
                <a:solidFill>
                  <a:schemeClr val="accent1"/>
                </a:solidFill>
              </a:defRPr>
            </a:lvl2pPr>
            <a:lvl3pPr marL="685800" indent="0">
              <a:buNone/>
              <a:defRPr sz="2700">
                <a:solidFill>
                  <a:schemeClr val="accent1"/>
                </a:solidFill>
              </a:defRPr>
            </a:lvl3pPr>
            <a:lvl4pPr marL="1028700" indent="0">
              <a:buNone/>
              <a:defRPr sz="2700">
                <a:solidFill>
                  <a:schemeClr val="accent1"/>
                </a:solidFill>
              </a:defRPr>
            </a:lvl4pPr>
            <a:lvl5pPr marL="1371600" indent="0">
              <a:buNone/>
              <a:defRPr sz="27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Headline 2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7928919" y="1043063"/>
            <a:ext cx="3352800" cy="569837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700">
                <a:solidFill>
                  <a:srgbClr val="7B6469"/>
                </a:solidFill>
              </a:defRPr>
            </a:lvl1pPr>
            <a:lvl2pPr marL="342900" indent="0">
              <a:buNone/>
              <a:defRPr sz="2700">
                <a:solidFill>
                  <a:schemeClr val="accent1"/>
                </a:solidFill>
              </a:defRPr>
            </a:lvl2pPr>
            <a:lvl3pPr marL="685800" indent="0">
              <a:buNone/>
              <a:defRPr sz="2700">
                <a:solidFill>
                  <a:schemeClr val="accent1"/>
                </a:solidFill>
              </a:defRPr>
            </a:lvl3pPr>
            <a:lvl4pPr marL="1028700" indent="0">
              <a:buNone/>
              <a:defRPr sz="2700">
                <a:solidFill>
                  <a:schemeClr val="accent1"/>
                </a:solidFill>
              </a:defRPr>
            </a:lvl4pPr>
            <a:lvl5pPr marL="1371600" indent="0">
              <a:buNone/>
              <a:defRPr sz="27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53614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871004"/>
            <a:ext cx="10515600" cy="699379"/>
          </a:xfrm>
        </p:spPr>
        <p:txBody>
          <a:bodyPr>
            <a:normAutofit/>
          </a:bodyPr>
          <a:lstStyle>
            <a:lvl1pPr>
              <a:defRPr sz="4000" baseline="0"/>
            </a:lvl1pPr>
          </a:lstStyle>
          <a:p>
            <a:r>
              <a:rPr lang="en-US" dirty="0"/>
              <a:t>Click to insert Slide Head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8" y="2268588"/>
            <a:ext cx="5050024" cy="327392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6306672" y="2268588"/>
            <a:ext cx="5048717" cy="327392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39788" y="1632479"/>
            <a:ext cx="5049835" cy="544194"/>
          </a:xfrm>
        </p:spPr>
        <p:txBody>
          <a:bodyPr anchor="ctr" anchorCtr="0">
            <a:normAutofit/>
          </a:bodyPr>
          <a:lstStyle>
            <a:lvl1pPr marL="0" indent="0">
              <a:spcBef>
                <a:spcPts val="0"/>
              </a:spcBef>
              <a:buNone/>
              <a:defRPr sz="2700" baseline="0">
                <a:solidFill>
                  <a:schemeClr val="accent2"/>
                </a:solidFill>
              </a:defRPr>
            </a:lvl1pPr>
            <a:lvl2pPr>
              <a:defRPr sz="2700">
                <a:solidFill>
                  <a:schemeClr val="accent1">
                    <a:lumMod val="40000"/>
                    <a:lumOff val="60000"/>
                  </a:schemeClr>
                </a:solidFill>
              </a:defRPr>
            </a:lvl2pPr>
            <a:lvl3pPr>
              <a:defRPr sz="2700">
                <a:solidFill>
                  <a:schemeClr val="accent1">
                    <a:lumMod val="40000"/>
                    <a:lumOff val="60000"/>
                  </a:schemeClr>
                </a:solidFill>
              </a:defRPr>
            </a:lvl3pPr>
            <a:lvl4pPr>
              <a:defRPr sz="2700">
                <a:solidFill>
                  <a:schemeClr val="accent1">
                    <a:lumMod val="40000"/>
                    <a:lumOff val="60000"/>
                  </a:schemeClr>
                </a:solidFill>
              </a:defRPr>
            </a:lvl4pPr>
            <a:lvl5pPr>
              <a:defRPr sz="2700">
                <a:solidFill>
                  <a:schemeClr val="accent1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306672" y="1632852"/>
            <a:ext cx="5048717" cy="544194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700">
                <a:solidFill>
                  <a:schemeClr val="accent2"/>
                </a:solidFill>
              </a:defRPr>
            </a:lvl1pPr>
            <a:lvl2pPr marL="342900" indent="0">
              <a:buNone/>
              <a:defRPr sz="2700">
                <a:solidFill>
                  <a:schemeClr val="accent1"/>
                </a:solidFill>
              </a:defRPr>
            </a:lvl2pPr>
            <a:lvl3pPr marL="685800" indent="0">
              <a:buNone/>
              <a:defRPr sz="2700">
                <a:solidFill>
                  <a:schemeClr val="accent1"/>
                </a:solidFill>
              </a:defRPr>
            </a:lvl3pPr>
            <a:lvl4pPr marL="1028700" indent="0">
              <a:buNone/>
              <a:defRPr sz="2700">
                <a:solidFill>
                  <a:schemeClr val="accent1"/>
                </a:solidFill>
              </a:defRPr>
            </a:lvl4pPr>
            <a:lvl5pPr marL="1371600" indent="0">
              <a:buNone/>
              <a:defRPr sz="27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</p:spTree>
    <p:extLst>
      <p:ext uri="{BB962C8B-B14F-4D97-AF65-F5344CB8AC3E}">
        <p14:creationId xmlns:p14="http://schemas.microsoft.com/office/powerpoint/2010/main" val="2204587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77814"/>
            <a:ext cx="10515600" cy="69632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0" y="2373021"/>
            <a:ext cx="10515600" cy="3238407"/>
          </a:xfrm>
        </p:spPr>
        <p:txBody>
          <a:bodyPr numCol="3" spcCol="274320">
            <a:norm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623831"/>
            <a:ext cx="10515600" cy="552839"/>
          </a:xfrm>
        </p:spPr>
        <p:txBody>
          <a:bodyPr anchor="ctr" anchorCtr="0">
            <a:normAutofit/>
          </a:bodyPr>
          <a:lstStyle>
            <a:lvl1pPr marL="0" indent="0">
              <a:spcBef>
                <a:spcPts val="0"/>
              </a:spcBef>
              <a:buNone/>
              <a:defRPr sz="2700" baseline="0">
                <a:solidFill>
                  <a:schemeClr val="accent2"/>
                </a:solidFill>
              </a:defRPr>
            </a:lvl1pPr>
            <a:lvl2pPr>
              <a:defRPr sz="3600">
                <a:solidFill>
                  <a:schemeClr val="accent1">
                    <a:lumMod val="40000"/>
                    <a:lumOff val="60000"/>
                  </a:schemeClr>
                </a:solidFill>
              </a:defRPr>
            </a:lvl2pPr>
            <a:lvl3pPr>
              <a:defRPr sz="3600">
                <a:solidFill>
                  <a:schemeClr val="accent1">
                    <a:lumMod val="40000"/>
                    <a:lumOff val="60000"/>
                  </a:schemeClr>
                </a:solidFill>
              </a:defRPr>
            </a:lvl3pPr>
            <a:lvl4pPr>
              <a:defRPr sz="3600">
                <a:solidFill>
                  <a:schemeClr val="accent1">
                    <a:lumMod val="40000"/>
                    <a:lumOff val="60000"/>
                  </a:schemeClr>
                </a:solidFill>
              </a:defRPr>
            </a:lvl4pPr>
            <a:lvl5pPr>
              <a:defRPr sz="3600">
                <a:solidFill>
                  <a:schemeClr val="accent1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</p:spTree>
    <p:extLst>
      <p:ext uri="{BB962C8B-B14F-4D97-AF65-F5344CB8AC3E}">
        <p14:creationId xmlns:p14="http://schemas.microsoft.com/office/powerpoint/2010/main" val="1816640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Text +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99084"/>
            <a:ext cx="10515600" cy="586992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2" y="1788611"/>
            <a:ext cx="10515599" cy="3111381"/>
          </a:xfrm>
        </p:spPr>
        <p:txBody>
          <a:bodyPr numCol="4" spcCol="274320">
            <a:normAutofit/>
          </a:bodyPr>
          <a:lstStyle>
            <a:lvl1pPr marL="0" indent="0">
              <a:lnSpc>
                <a:spcPct val="90000"/>
              </a:lnSpc>
              <a:spcBef>
                <a:spcPts val="1000"/>
              </a:spcBef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1" y="5874027"/>
            <a:ext cx="7852087" cy="728397"/>
          </a:xfrm>
        </p:spPr>
        <p:txBody>
          <a:bodyPr anchor="t" anchorCtr="0">
            <a:normAutofit/>
          </a:bodyPr>
          <a:lstStyle>
            <a:lvl1pPr>
              <a:lnSpc>
                <a:spcPct val="110000"/>
              </a:lnSpc>
              <a:defRPr sz="11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defRPr sz="15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5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5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5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insert footer content. </a:t>
            </a:r>
          </a:p>
        </p:txBody>
      </p:sp>
    </p:spTree>
    <p:extLst>
      <p:ext uri="{BB962C8B-B14F-4D97-AF65-F5344CB8AC3E}">
        <p14:creationId xmlns:p14="http://schemas.microsoft.com/office/powerpoint/2010/main" val="3290603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04489"/>
            <a:ext cx="10515600" cy="586991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2" y="1788660"/>
            <a:ext cx="10515599" cy="3628167"/>
          </a:xfrm>
        </p:spPr>
        <p:txBody>
          <a:bodyPr numCol="3" spcCol="274320">
            <a:normAutofit/>
          </a:bodyPr>
          <a:lstStyle>
            <a:lvl1pPr marL="0" indent="0">
              <a:lnSpc>
                <a:spcPct val="90000"/>
              </a:lnSpc>
              <a:spcBef>
                <a:spcPts val="1000"/>
              </a:spcBef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950784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90" y="3375457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3532563" y="3375457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6225335" y="3375457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2" hasCustomPrompt="1"/>
          </p:nvPr>
        </p:nvSpPr>
        <p:spPr>
          <a:xfrm>
            <a:off x="8918109" y="3375457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141041" y="1563452"/>
            <a:ext cx="106231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0" i="0" dirty="0">
                <a:solidFill>
                  <a:schemeClr val="bg2"/>
                </a:solidFill>
                <a:latin typeface="Goudy Oldstyle Std Regular" charset="0"/>
                <a:ea typeface="Goudy Oldstyle Std Regular" charset="0"/>
                <a:cs typeface="Goudy Oldstyle Std Regular" charset="0"/>
              </a:rPr>
              <a:t>2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9" y="1415777"/>
            <a:ext cx="2178424" cy="1636776"/>
          </a:xfrm>
          <a:prstGeom prst="ellipse">
            <a:avLst/>
          </a:prstGeom>
          <a:solidFill>
            <a:schemeClr val="tx1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7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3539287" y="1415777"/>
            <a:ext cx="2178424" cy="1636776"/>
          </a:xfrm>
          <a:prstGeom prst="ellipse">
            <a:avLst/>
          </a:prstGeom>
          <a:solidFill>
            <a:srgbClr val="963800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7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6225335" y="1415777"/>
            <a:ext cx="2178424" cy="1636776"/>
          </a:xfrm>
          <a:prstGeom prst="ellipse">
            <a:avLst/>
          </a:prstGeom>
          <a:solidFill>
            <a:schemeClr val="accent4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7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8911384" y="1415777"/>
            <a:ext cx="2178424" cy="1636776"/>
          </a:xfrm>
          <a:prstGeom prst="ellipse">
            <a:avLst/>
          </a:prstGeom>
          <a:solidFill>
            <a:schemeClr val="accent1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7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34106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" y="6553200"/>
            <a:ext cx="10668000" cy="22860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5"/>
            <a:endParaRPr lang="en-US" dirty="0">
              <a:solidFill>
                <a:srgbClr val="32323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0800" y="6476360"/>
            <a:ext cx="609600" cy="305440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5"/>
            <a:fld id="{74EEA10D-E951-474C-8CD0-91078E47E9CB}" type="slidenum">
              <a:rPr lang="en-US" smtClean="0">
                <a:solidFill>
                  <a:srgbClr val="323232"/>
                </a:solidFill>
              </a:rPr>
              <a:pPr defTabSz="914355"/>
              <a:t>‹#›</a:t>
            </a:fld>
            <a:endParaRPr lang="en-US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6906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31851" y="1371509"/>
            <a:ext cx="10597029" cy="3886293"/>
          </a:xfrm>
        </p:spPr>
        <p:txBody>
          <a:bodyPr anchor="ctr" anchorCtr="0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000" baseline="0">
                <a:solidFill>
                  <a:schemeClr val="bg1"/>
                </a:solidFill>
              </a:defRPr>
            </a:lvl1pPr>
            <a:lvl2pPr marL="342900" indent="0">
              <a:buNone/>
              <a:defRPr sz="4500">
                <a:solidFill>
                  <a:schemeClr val="bg1"/>
                </a:solidFill>
              </a:defRPr>
            </a:lvl2pPr>
            <a:lvl3pPr marL="685800" indent="0">
              <a:buNone/>
              <a:defRPr sz="4500">
                <a:solidFill>
                  <a:schemeClr val="bg1"/>
                </a:solidFill>
              </a:defRPr>
            </a:lvl3pPr>
            <a:lvl4pPr marL="1028700" indent="0">
              <a:buNone/>
              <a:defRPr sz="4500">
                <a:solidFill>
                  <a:schemeClr val="bg1"/>
                </a:solidFill>
              </a:defRPr>
            </a:lvl4pPr>
            <a:lvl5pPr marL="1371600" indent="0">
              <a:buNone/>
              <a:defRPr sz="4500">
                <a:solidFill>
                  <a:schemeClr val="bg1"/>
                </a:solidFill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Insert inspiring quote here. Insert inspiring quote here.</a:t>
            </a:r>
          </a:p>
        </p:txBody>
      </p:sp>
      <p:pic>
        <p:nvPicPr>
          <p:cNvPr id="3" name="Picture 2" descr="UTHSA_logo_H_Full-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2001" y="6115419"/>
            <a:ext cx="1840992" cy="47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597368"/>
            <a:ext cx="10515600" cy="806889"/>
          </a:xfrm>
        </p:spPr>
        <p:txBody>
          <a:bodyPr>
            <a:normAutofit/>
          </a:bodyPr>
          <a:lstStyle>
            <a:lvl1pPr>
              <a:defRPr sz="2700" baseline="0"/>
            </a:lvl1pPr>
          </a:lstStyle>
          <a:p>
            <a:r>
              <a:rPr lang="en-US" dirty="0"/>
              <a:t>Click to insert Chart 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839789" y="1567544"/>
            <a:ext cx="10515601" cy="4034038"/>
          </a:xfrm>
        </p:spPr>
        <p:txBody>
          <a:bodyPr anchor="ctr" anchorCtr="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560811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9126073" y="4666131"/>
            <a:ext cx="3065929" cy="21918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438485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29275" y="1929106"/>
            <a:ext cx="7306023" cy="2519510"/>
          </a:xfrm>
        </p:spPr>
        <p:txBody>
          <a:bodyPr>
            <a:normAutofit/>
          </a:bodyPr>
          <a:lstStyle>
            <a:lvl1pPr>
              <a:defRPr sz="5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Insert closing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68669EC-0AEA-E14B-AD48-FE3271BAE7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</a:blip>
          <a:srcRect l="30340" r="33371" b="41106"/>
          <a:stretch/>
        </p:blipFill>
        <p:spPr>
          <a:xfrm>
            <a:off x="-1458656" y="552800"/>
            <a:ext cx="5691989" cy="5678113"/>
          </a:xfrm>
          <a:prstGeom prst="rect">
            <a:avLst/>
          </a:prstGeom>
        </p:spPr>
      </p:pic>
      <p:pic>
        <p:nvPicPr>
          <p:cNvPr id="4" name="Picture 3" descr="UTHSA_logo_H_Full-Wh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2001" y="6115419"/>
            <a:ext cx="1840992" cy="47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007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4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7" y="4056061"/>
            <a:ext cx="12170835" cy="20320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-12700" y="6884990"/>
            <a:ext cx="12200469" cy="3"/>
          </a:xfrm>
          <a:prstGeom prst="line">
            <a:avLst/>
          </a:prstGeom>
          <a:ln w="28575">
            <a:solidFill>
              <a:srgbClr val="161955"/>
            </a:solidFill>
            <a:miter/>
          </a:ln>
        </p:spPr>
        <p:txBody>
          <a:bodyPr lIns="34289" tIns="34289" rIns="34289" bIns="34289"/>
          <a:lstStyle/>
          <a:p>
            <a:pPr defTabSz="457189" hangingPunct="0"/>
            <a:endParaRPr sz="1350" kern="0">
              <a:solidFill>
                <a:srgbClr val="000000"/>
              </a:solidFill>
              <a:cs typeface="Arial" pitchFamily="34" charset="0"/>
              <a:sym typeface="Helvetica"/>
            </a:endParaRPr>
          </a:p>
        </p:txBody>
      </p:sp>
      <p:pic>
        <p:nvPicPr>
          <p:cNvPr id="17" name="image5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0" y="4210052"/>
            <a:ext cx="12192001" cy="82551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Shape 18"/>
          <p:cNvSpPr/>
          <p:nvPr/>
        </p:nvSpPr>
        <p:spPr>
          <a:xfrm>
            <a:off x="-27516" y="6888165"/>
            <a:ext cx="12200471" cy="3"/>
          </a:xfrm>
          <a:prstGeom prst="line">
            <a:avLst/>
          </a:prstGeom>
          <a:ln w="28575">
            <a:solidFill>
              <a:srgbClr val="57649B"/>
            </a:solidFill>
            <a:miter/>
          </a:ln>
        </p:spPr>
        <p:txBody>
          <a:bodyPr lIns="34289" tIns="34289" rIns="34289" bIns="34289"/>
          <a:lstStyle/>
          <a:p>
            <a:pPr defTabSz="457189" hangingPunct="0"/>
            <a:endParaRPr sz="1350" kern="0">
              <a:solidFill>
                <a:srgbClr val="000000"/>
              </a:solidFill>
              <a:cs typeface="Arial" pitchFamily="34" charset="0"/>
              <a:sym typeface="Helvetica"/>
            </a:endParaRPr>
          </a:p>
        </p:txBody>
      </p:sp>
      <p:sp>
        <p:nvSpPr>
          <p:cNvPr id="19" name="Shape 19"/>
          <p:cNvSpPr>
            <a:spLocks noGrp="1"/>
          </p:cNvSpPr>
          <p:nvPr>
            <p:ph type="title"/>
          </p:nvPr>
        </p:nvSpPr>
        <p:spPr>
          <a:xfrm>
            <a:off x="254003" y="2606753"/>
            <a:ext cx="11329260" cy="1449117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anchor="b">
            <a:normAutofit/>
          </a:bodyPr>
          <a:lstStyle>
            <a:lvl1pPr>
              <a:defRPr sz="3300">
                <a:solidFill>
                  <a:srgbClr val="1E217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20" name="Shape 20"/>
          <p:cNvSpPr>
            <a:spLocks noGrp="1"/>
          </p:cNvSpPr>
          <p:nvPr>
            <p:ph type="body" sz="quarter" idx="1"/>
          </p:nvPr>
        </p:nvSpPr>
        <p:spPr>
          <a:xfrm>
            <a:off x="254000" y="4412531"/>
            <a:ext cx="9144000" cy="431628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/>
          </a:bodyPr>
          <a:lstStyle>
            <a:lvl1pPr marL="0" indent="0">
              <a:buSzTx/>
              <a:buFontTx/>
              <a:buNone/>
              <a:defRPr sz="1500">
                <a:solidFill>
                  <a:srgbClr val="1E217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hape 281"/>
          <p:cNvSpPr/>
          <p:nvPr/>
        </p:nvSpPr>
        <p:spPr>
          <a:xfrm>
            <a:off x="0" y="6477000"/>
            <a:ext cx="12192000" cy="381000"/>
          </a:xfrm>
          <a:prstGeom prst="rect">
            <a:avLst/>
          </a:prstGeom>
          <a:solidFill>
            <a:srgbClr val="002060"/>
          </a:solidFill>
          <a:ln w="12700">
            <a:miter lim="400000"/>
          </a:ln>
        </p:spPr>
        <p:txBody>
          <a:bodyPr lIns="34289" rIns="34289" anchor="ctr"/>
          <a:lstStyle/>
          <a:p>
            <a:pPr algn="ctr" defTabSz="457189" hangingPunct="0">
              <a:defRPr>
                <a:solidFill>
                  <a:srgbClr val="FFFFFF"/>
                </a:solidFill>
              </a:defRPr>
            </a:pPr>
            <a:endParaRPr sz="1350" kern="0">
              <a:solidFill>
                <a:srgbClr val="FFFFFF"/>
              </a:solidFill>
              <a:cs typeface="Arial" pitchFamily="34" charset="0"/>
              <a:sym typeface="Helvetic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888207" y="6541891"/>
            <a:ext cx="10415588" cy="279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75" b="1">
                <a:solidFill>
                  <a:schemeClr val="bg1"/>
                </a:solidFill>
              </a:defRPr>
            </a:lvl1pPr>
            <a:lvl2pPr marL="342892" indent="0">
              <a:buNone/>
              <a:defRPr sz="675" b="1">
                <a:solidFill>
                  <a:schemeClr val="bg1"/>
                </a:solidFill>
              </a:defRPr>
            </a:lvl2pPr>
            <a:lvl3pPr marL="685783" indent="0">
              <a:buNone/>
              <a:defRPr sz="675" b="1">
                <a:solidFill>
                  <a:schemeClr val="bg1"/>
                </a:solidFill>
              </a:defRPr>
            </a:lvl3pPr>
            <a:lvl4pPr marL="1028675" indent="0">
              <a:buNone/>
              <a:defRPr sz="675" b="1">
                <a:solidFill>
                  <a:schemeClr val="bg1"/>
                </a:solidFill>
              </a:defRPr>
            </a:lvl4pPr>
            <a:lvl5pPr marL="1371566" indent="0">
              <a:buNone/>
              <a:defRPr sz="675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712881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34188"/>
            <a:ext cx="12192000" cy="42864"/>
          </a:xfrm>
          <a:prstGeom prst="rect">
            <a:avLst/>
          </a:prstGeom>
          <a:ln w="12700">
            <a:miter lim="400000"/>
          </a:ln>
        </p:spPr>
      </p:pic>
      <p:sp>
        <p:nvSpPr>
          <p:cNvPr id="29" name="Shape 29"/>
          <p:cNvSpPr/>
          <p:nvPr/>
        </p:nvSpPr>
        <p:spPr>
          <a:xfrm>
            <a:off x="-12700" y="6813551"/>
            <a:ext cx="12200469" cy="0"/>
          </a:xfrm>
          <a:prstGeom prst="line">
            <a:avLst/>
          </a:prstGeom>
          <a:ln w="28575">
            <a:solidFill>
              <a:srgbClr val="57649B"/>
            </a:solidFill>
            <a:miter/>
          </a:ln>
        </p:spPr>
        <p:txBody>
          <a:bodyPr lIns="34289" tIns="34289" rIns="34289" bIns="34289"/>
          <a:lstStyle/>
          <a:p>
            <a:pPr defTabSz="457189" hangingPunct="0"/>
            <a:endParaRPr sz="1350" kern="0">
              <a:solidFill>
                <a:srgbClr val="000000"/>
              </a:solidFill>
              <a:cs typeface="Arial" pitchFamily="34" charset="0"/>
              <a:sym typeface="Helvetica"/>
            </a:endParaRPr>
          </a:p>
        </p:txBody>
      </p:sp>
      <p:pic>
        <p:nvPicPr>
          <p:cNvPr id="30" name="image2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2700" y="4"/>
            <a:ext cx="12192000" cy="1185863"/>
          </a:xfrm>
          <a:prstGeom prst="rect">
            <a:avLst/>
          </a:prstGeom>
          <a:ln w="12700">
            <a:miter lim="400000"/>
          </a:ln>
        </p:spPr>
      </p:pic>
      <p:sp>
        <p:nvSpPr>
          <p:cNvPr id="32" name="Shape 32"/>
          <p:cNvSpPr>
            <a:spLocks noGrp="1"/>
          </p:cNvSpPr>
          <p:nvPr>
            <p:ph type="title"/>
          </p:nvPr>
        </p:nvSpPr>
        <p:spPr>
          <a:xfrm>
            <a:off x="254000" y="190504"/>
            <a:ext cx="11734800" cy="838199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anchor="b">
            <a:noAutofit/>
          </a:bodyPr>
          <a:lstStyle>
            <a:lvl1pPr>
              <a:def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54002" y="1447802"/>
            <a:ext cx="11595100" cy="4845051"/>
          </a:xfrm>
          <a:prstGeom prst="rect">
            <a:avLst/>
          </a:prstGeom>
        </p:spPr>
        <p:txBody>
          <a:bodyPr/>
          <a:lstStyle>
            <a:lvl1pPr marL="130299" indent="-130299">
              <a:lnSpc>
                <a:spcPct val="100000"/>
              </a:lnSpc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defRPr sz="1500"/>
            </a:lvl1pPr>
            <a:lvl2pPr marL="342892" indent="-171446">
              <a:lnSpc>
                <a:spcPct val="100000"/>
              </a:lnSpc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buFont typeface="Arial" panose="020B0604020202020204" pitchFamily="34" charset="0"/>
              <a:buChar char="–"/>
              <a:defRPr sz="1350"/>
            </a:lvl2pPr>
            <a:lvl3pPr marL="473190" indent="-130299">
              <a:lnSpc>
                <a:spcPct val="100000"/>
              </a:lnSpc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defRPr sz="1200"/>
            </a:lvl3pPr>
            <a:lvl4pPr marL="644636" indent="-130299">
              <a:lnSpc>
                <a:spcPct val="100000"/>
              </a:lnSpc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buFont typeface="Arial" panose="020B0604020202020204" pitchFamily="34" charset="0"/>
              <a:buChar char="–"/>
              <a:defRPr sz="1050"/>
            </a:lvl4pPr>
            <a:lvl5pPr marL="726930" indent="-123441">
              <a:lnSpc>
                <a:spcPct val="100000"/>
              </a:lnSpc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772900" y="6391277"/>
            <a:ext cx="406400" cy="1846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defTabSz="457189" hangingPunct="0"/>
            <a:fld id="{BDC23737-DBEB-4B06-B6D7-44E1230B1939}" type="slidenum">
              <a:rPr lang="en-US" sz="750" kern="0" smtClean="0">
                <a:solidFill>
                  <a:srgbClr val="000000">
                    <a:lumMod val="65000"/>
                    <a:lumOff val="35000"/>
                  </a:srgbClr>
                </a:solidFill>
                <a:cs typeface="Arial" pitchFamily="34" charset="0"/>
                <a:sym typeface="Helvetica"/>
              </a:rPr>
              <a:pPr defTabSz="457189" hangingPunct="0"/>
              <a:t>‹#›</a:t>
            </a:fld>
            <a:endParaRPr lang="en-US" sz="750" kern="0" dirty="0">
              <a:solidFill>
                <a:srgbClr val="000000">
                  <a:lumMod val="65000"/>
                  <a:lumOff val="35000"/>
                </a:srgbClr>
              </a:solidFill>
              <a:cs typeface="Arial" pitchFamily="34" charset="0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699610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 userDrawn="1">
          <p15:clr>
            <a:srgbClr val="FBAE40"/>
          </p15:clr>
        </p15:guide>
        <p15:guide id="2" orient="horz" pos="4176" userDrawn="1">
          <p15:clr>
            <a:srgbClr val="FBAE40"/>
          </p15:clr>
        </p15:guide>
        <p15:guide id="3" pos="5120" userDrawn="1">
          <p15:clr>
            <a:srgbClr val="FBAE40"/>
          </p15:clr>
        </p15:guide>
        <p15:guide id="4" pos="288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576" userDrawn="1">
          <p15:clr>
            <a:srgbClr val="FBAE40"/>
          </p15:clr>
        </p15:guide>
        <p15:guide id="7" orient="horz" pos="1104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_INSTRUC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image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34188"/>
            <a:ext cx="12192000" cy="42864"/>
          </a:xfrm>
          <a:prstGeom prst="rect">
            <a:avLst/>
          </a:prstGeom>
          <a:ln w="12700">
            <a:miter lim="400000"/>
          </a:ln>
        </p:spPr>
      </p:pic>
      <p:sp>
        <p:nvSpPr>
          <p:cNvPr id="55" name="Shape 55"/>
          <p:cNvSpPr/>
          <p:nvPr/>
        </p:nvSpPr>
        <p:spPr>
          <a:xfrm>
            <a:off x="-12700" y="6813551"/>
            <a:ext cx="12200469" cy="0"/>
          </a:xfrm>
          <a:prstGeom prst="line">
            <a:avLst/>
          </a:prstGeom>
          <a:ln w="28575">
            <a:solidFill>
              <a:srgbClr val="57649B"/>
            </a:solidFill>
            <a:miter/>
          </a:ln>
        </p:spPr>
        <p:txBody>
          <a:bodyPr lIns="34289" tIns="34289" rIns="34289" bIns="34289"/>
          <a:lstStyle/>
          <a:p>
            <a:pPr defTabSz="457189" hangingPunct="0"/>
            <a:endParaRPr sz="1350" kern="0">
              <a:solidFill>
                <a:srgbClr val="000000"/>
              </a:solidFill>
              <a:cs typeface="Arial" pitchFamily="34" charset="0"/>
              <a:sym typeface="Helvetica"/>
            </a:endParaRPr>
          </a:p>
        </p:txBody>
      </p:sp>
      <p:pic>
        <p:nvPicPr>
          <p:cNvPr id="56" name="image2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2700" y="4"/>
            <a:ext cx="12192000" cy="1185863"/>
          </a:xfrm>
          <a:prstGeom prst="rect">
            <a:avLst/>
          </a:prstGeom>
          <a:ln w="12700">
            <a:miter lim="400000"/>
          </a:ln>
        </p:spPr>
      </p:pic>
      <p:pic>
        <p:nvPicPr>
          <p:cNvPr id="58" name="image6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"/>
            <a:ext cx="12192000" cy="1185863"/>
          </a:xfrm>
          <a:prstGeom prst="rect">
            <a:avLst/>
          </a:prstGeom>
          <a:ln w="12700">
            <a:miter lim="400000"/>
          </a:ln>
        </p:spPr>
      </p:pic>
      <p:pic>
        <p:nvPicPr>
          <p:cNvPr id="59" name="image7.png"/>
          <p:cNvPicPr>
            <a:picLocks noChangeAspect="1"/>
          </p:cNvPicPr>
          <p:nvPr/>
        </p:nvPicPr>
        <p:blipFill>
          <a:blip r:embed="rId5"/>
          <a:srcRect t="77000" b="9502"/>
          <a:stretch>
            <a:fillRect/>
          </a:stretch>
        </p:blipFill>
        <p:spPr>
          <a:xfrm>
            <a:off x="6353" y="6742117"/>
            <a:ext cx="12192001" cy="142877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xtBox 1"/>
          <p:cNvSpPr txBox="1"/>
          <p:nvPr/>
        </p:nvSpPr>
        <p:spPr>
          <a:xfrm>
            <a:off x="11764888" y="6387533"/>
            <a:ext cx="304800" cy="1846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defTabSz="457189" hangingPunct="0"/>
            <a:fld id="{8B1E516B-7449-4EE9-BC65-F3F6291476BF}" type="slidenum">
              <a:rPr lang="en-US" sz="750" kern="0" smtClean="0">
                <a:solidFill>
                  <a:srgbClr val="000000">
                    <a:lumMod val="65000"/>
                    <a:lumOff val="35000"/>
                  </a:srgbClr>
                </a:solidFill>
                <a:cs typeface="Arial" pitchFamily="34" charset="0"/>
                <a:sym typeface="Helvetica"/>
              </a:rPr>
              <a:pPr defTabSz="457189" hangingPunct="0"/>
              <a:t>‹#›</a:t>
            </a:fld>
            <a:endParaRPr lang="en-US" sz="750" kern="0" dirty="0">
              <a:solidFill>
                <a:srgbClr val="000000">
                  <a:lumMod val="65000"/>
                  <a:lumOff val="35000"/>
                </a:srgbClr>
              </a:solidFill>
              <a:cs typeface="Arial" pitchFamily="34" charset="0"/>
              <a:sym typeface="Helvetica"/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254002" y="1447802"/>
            <a:ext cx="11595100" cy="4845051"/>
          </a:xfrm>
          <a:prstGeom prst="rect">
            <a:avLst/>
          </a:prstGeom>
        </p:spPr>
        <p:txBody>
          <a:bodyPr/>
          <a:lstStyle>
            <a:lvl1pPr marL="130299" indent="-130299">
              <a:lnSpc>
                <a:spcPct val="100000"/>
              </a:lnSpc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defRPr sz="1500"/>
            </a:lvl1pPr>
            <a:lvl2pPr marL="342892" indent="-171446">
              <a:lnSpc>
                <a:spcPct val="100000"/>
              </a:lnSpc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buFont typeface="Arial" panose="020B0604020202020204" pitchFamily="34" charset="0"/>
              <a:buChar char="–"/>
              <a:defRPr sz="1350"/>
            </a:lvl2pPr>
            <a:lvl3pPr marL="473190" indent="-130299">
              <a:lnSpc>
                <a:spcPct val="100000"/>
              </a:lnSpc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defRPr sz="1200"/>
            </a:lvl3pPr>
            <a:lvl4pPr marL="644636" indent="-130299">
              <a:lnSpc>
                <a:spcPct val="100000"/>
              </a:lnSpc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buFont typeface="Arial" panose="020B0604020202020204" pitchFamily="34" charset="0"/>
              <a:buChar char="–"/>
              <a:defRPr sz="1050"/>
            </a:lvl4pPr>
            <a:lvl5pPr marL="726930" indent="-123441">
              <a:lnSpc>
                <a:spcPct val="100000"/>
              </a:lnSpc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Shape 32"/>
          <p:cNvSpPr>
            <a:spLocks noGrp="1"/>
          </p:cNvSpPr>
          <p:nvPr>
            <p:ph type="title"/>
          </p:nvPr>
        </p:nvSpPr>
        <p:spPr>
          <a:xfrm>
            <a:off x="254000" y="190504"/>
            <a:ext cx="11734800" cy="838199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anchor="b">
            <a:noAutofit/>
          </a:bodyPr>
          <a:lstStyle>
            <a:lvl1pPr>
              <a:def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67387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1104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" name="image4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7" y="3802063"/>
            <a:ext cx="12170835" cy="203203"/>
          </a:xfrm>
          <a:prstGeom prst="rect">
            <a:avLst/>
          </a:prstGeom>
          <a:ln w="12700">
            <a:miter lim="400000"/>
          </a:ln>
        </p:spPr>
      </p:pic>
      <p:sp>
        <p:nvSpPr>
          <p:cNvPr id="81" name="Shape 81"/>
          <p:cNvSpPr/>
          <p:nvPr/>
        </p:nvSpPr>
        <p:spPr>
          <a:xfrm>
            <a:off x="-12700" y="6884990"/>
            <a:ext cx="12200469" cy="3"/>
          </a:xfrm>
          <a:prstGeom prst="line">
            <a:avLst/>
          </a:prstGeom>
          <a:ln w="28575">
            <a:solidFill>
              <a:srgbClr val="161955"/>
            </a:solidFill>
            <a:miter/>
          </a:ln>
        </p:spPr>
        <p:txBody>
          <a:bodyPr lIns="34289" tIns="34289" rIns="34289" bIns="34289"/>
          <a:lstStyle/>
          <a:p>
            <a:pPr defTabSz="457189" hangingPunct="0"/>
            <a:endParaRPr sz="1350" kern="0">
              <a:solidFill>
                <a:srgbClr val="000000"/>
              </a:solidFill>
              <a:cs typeface="Arial" pitchFamily="34" charset="0"/>
              <a:sym typeface="Helvetica"/>
            </a:endParaRPr>
          </a:p>
        </p:txBody>
      </p:sp>
      <p:sp>
        <p:nvSpPr>
          <p:cNvPr id="82" name="Shape 82"/>
          <p:cNvSpPr/>
          <p:nvPr/>
        </p:nvSpPr>
        <p:spPr>
          <a:xfrm>
            <a:off x="-27516" y="6888165"/>
            <a:ext cx="12200471" cy="3"/>
          </a:xfrm>
          <a:prstGeom prst="line">
            <a:avLst/>
          </a:prstGeom>
          <a:ln w="28575">
            <a:solidFill>
              <a:srgbClr val="57649B"/>
            </a:solidFill>
            <a:miter/>
          </a:ln>
        </p:spPr>
        <p:txBody>
          <a:bodyPr lIns="34289" tIns="34289" rIns="34289" bIns="34289"/>
          <a:lstStyle/>
          <a:p>
            <a:pPr defTabSz="457189" hangingPunct="0"/>
            <a:endParaRPr sz="1350" kern="0">
              <a:solidFill>
                <a:srgbClr val="000000"/>
              </a:solidFill>
              <a:cs typeface="Arial" pitchFamily="34" charset="0"/>
              <a:sym typeface="Helvetica"/>
            </a:endParaRPr>
          </a:p>
        </p:txBody>
      </p:sp>
      <p:pic>
        <p:nvPicPr>
          <p:cNvPr id="83" name="image5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0" y="3956052"/>
            <a:ext cx="12192001" cy="82551"/>
          </a:xfrm>
          <a:prstGeom prst="rect">
            <a:avLst/>
          </a:prstGeom>
          <a:ln w="12700">
            <a:miter lim="400000"/>
          </a:ln>
        </p:spPr>
      </p:pic>
      <p:sp>
        <p:nvSpPr>
          <p:cNvPr id="84" name="Shape 84"/>
          <p:cNvSpPr>
            <a:spLocks noGrp="1"/>
          </p:cNvSpPr>
          <p:nvPr>
            <p:ph type="title"/>
          </p:nvPr>
        </p:nvSpPr>
        <p:spPr>
          <a:xfrm>
            <a:off x="254003" y="2351117"/>
            <a:ext cx="11329260" cy="1449117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anchor="b">
            <a:normAutofit/>
          </a:bodyPr>
          <a:lstStyle>
            <a:lvl1pPr>
              <a:defRPr sz="3000">
                <a:solidFill>
                  <a:srgbClr val="1E217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85" name="Shape 85"/>
          <p:cNvSpPr>
            <a:spLocks noGrp="1"/>
          </p:cNvSpPr>
          <p:nvPr>
            <p:ph type="body" sz="quarter" idx="1"/>
          </p:nvPr>
        </p:nvSpPr>
        <p:spPr>
          <a:xfrm>
            <a:off x="254000" y="4158531"/>
            <a:ext cx="9144000" cy="431628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>
            <a:normAutofit/>
          </a:bodyPr>
          <a:lstStyle>
            <a:lvl1pPr marL="0" indent="0">
              <a:buSzTx/>
              <a:buFontTx/>
              <a:buNone/>
              <a:defRPr sz="1500">
                <a:solidFill>
                  <a:srgbClr val="1E217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89757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" name="image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34188"/>
            <a:ext cx="12192000" cy="42864"/>
          </a:xfrm>
          <a:prstGeom prst="rect">
            <a:avLst/>
          </a:prstGeom>
          <a:ln w="12700">
            <a:miter lim="400000"/>
          </a:ln>
        </p:spPr>
      </p:pic>
      <p:sp>
        <p:nvSpPr>
          <p:cNvPr id="94" name="Shape 94"/>
          <p:cNvSpPr/>
          <p:nvPr/>
        </p:nvSpPr>
        <p:spPr>
          <a:xfrm>
            <a:off x="-12700" y="6813551"/>
            <a:ext cx="12200469" cy="0"/>
          </a:xfrm>
          <a:prstGeom prst="line">
            <a:avLst/>
          </a:prstGeom>
          <a:ln w="28575">
            <a:solidFill>
              <a:srgbClr val="57649B"/>
            </a:solidFill>
            <a:miter/>
          </a:ln>
        </p:spPr>
        <p:txBody>
          <a:bodyPr lIns="34289" tIns="34289" rIns="34289" bIns="34289"/>
          <a:lstStyle/>
          <a:p>
            <a:pPr defTabSz="457189" hangingPunct="0"/>
            <a:endParaRPr sz="1350" kern="0">
              <a:solidFill>
                <a:srgbClr val="000000"/>
              </a:solidFill>
              <a:cs typeface="Arial" pitchFamily="34" charset="0"/>
              <a:sym typeface="Helvetica"/>
            </a:endParaRPr>
          </a:p>
        </p:txBody>
      </p:sp>
      <p:pic>
        <p:nvPicPr>
          <p:cNvPr id="95" name="image2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2700" y="4"/>
            <a:ext cx="12192000" cy="1185863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Content Placeholder 2"/>
          <p:cNvSpPr>
            <a:spLocks noGrp="1"/>
          </p:cNvSpPr>
          <p:nvPr>
            <p:ph sz="quarter" idx="11"/>
          </p:nvPr>
        </p:nvSpPr>
        <p:spPr>
          <a:xfrm>
            <a:off x="254002" y="1441449"/>
            <a:ext cx="5584825" cy="4845051"/>
          </a:xfrm>
          <a:prstGeom prst="rect">
            <a:avLst/>
          </a:prstGeom>
        </p:spPr>
        <p:txBody>
          <a:bodyPr/>
          <a:lstStyle>
            <a:lvl1pPr marL="130299" indent="-130299">
              <a:lnSpc>
                <a:spcPct val="100000"/>
              </a:lnSpc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defRPr sz="1500"/>
            </a:lvl1pPr>
            <a:lvl2pPr marL="342892" indent="-171446"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buFont typeface="Arial" panose="020B0604020202020204" pitchFamily="34" charset="0"/>
              <a:buChar char="–"/>
              <a:defRPr sz="1350"/>
            </a:lvl2pPr>
            <a:lvl3pPr marL="473190" indent="-130299">
              <a:lnSpc>
                <a:spcPct val="100000"/>
              </a:lnSpc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defRPr sz="1200"/>
            </a:lvl3pPr>
            <a:lvl4pPr marL="699499" indent="-185162"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buFont typeface="Arial" panose="020B0604020202020204" pitchFamily="34" charset="0"/>
              <a:buChar char="–"/>
              <a:defRPr sz="1050"/>
            </a:lvl4pPr>
            <a:lvl5pPr marL="816082" indent="-212593"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6400802" y="1441449"/>
            <a:ext cx="5448300" cy="4845051"/>
          </a:xfrm>
          <a:prstGeom prst="rect">
            <a:avLst/>
          </a:prstGeom>
        </p:spPr>
        <p:txBody>
          <a:bodyPr/>
          <a:lstStyle>
            <a:lvl1pPr marL="130299" indent="-130299">
              <a:lnSpc>
                <a:spcPct val="100000"/>
              </a:lnSpc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defRPr sz="1500"/>
            </a:lvl1pPr>
            <a:lvl2pPr marL="342892" indent="-171446">
              <a:lnSpc>
                <a:spcPct val="100000"/>
              </a:lnSpc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buFont typeface="Arial" panose="020B0604020202020204" pitchFamily="34" charset="0"/>
              <a:buChar char="–"/>
              <a:defRPr sz="1350"/>
            </a:lvl2pPr>
            <a:lvl3pPr marL="473190" indent="-130299">
              <a:lnSpc>
                <a:spcPct val="100000"/>
              </a:lnSpc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defRPr sz="1200"/>
            </a:lvl3pPr>
            <a:lvl4pPr marL="699499" indent="-185162"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buFont typeface="Arial" panose="020B0604020202020204" pitchFamily="34" charset="0"/>
              <a:buChar char="–"/>
              <a:defRPr sz="1050"/>
            </a:lvl4pPr>
            <a:lvl5pPr marL="816082" indent="-212593">
              <a:spcBef>
                <a:spcPts val="900"/>
              </a:spcBef>
              <a:buClr>
                <a:schemeClr val="bg1">
                  <a:lumMod val="65000"/>
                </a:schemeClr>
              </a:buClr>
              <a:buSzPct val="90000"/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11779251" y="6389660"/>
            <a:ext cx="419100" cy="1846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defTabSz="457189" hangingPunct="0"/>
            <a:fld id="{923BB6F8-7B62-4095-9E60-1E3CB36F69DD}" type="slidenum">
              <a:rPr lang="en-US" sz="750" kern="0" smtClean="0">
                <a:solidFill>
                  <a:srgbClr val="000000">
                    <a:lumMod val="65000"/>
                    <a:lumOff val="35000"/>
                  </a:srgbClr>
                </a:solidFill>
                <a:cs typeface="Arial" pitchFamily="34" charset="0"/>
                <a:sym typeface="Helvetica"/>
              </a:rPr>
              <a:pPr defTabSz="457189" hangingPunct="0"/>
              <a:t>‹#›</a:t>
            </a:fld>
            <a:endParaRPr lang="en-US" sz="750" kern="0" dirty="0">
              <a:solidFill>
                <a:srgbClr val="000000">
                  <a:lumMod val="65000"/>
                  <a:lumOff val="35000"/>
                </a:srgbClr>
              </a:solidFill>
              <a:cs typeface="Arial" pitchFamily="34" charset="0"/>
              <a:sym typeface="Helvetica"/>
            </a:endParaRPr>
          </a:p>
        </p:txBody>
      </p:sp>
      <p:sp>
        <p:nvSpPr>
          <p:cNvPr id="17" name="Shape 32"/>
          <p:cNvSpPr>
            <a:spLocks noGrp="1"/>
          </p:cNvSpPr>
          <p:nvPr>
            <p:ph type="title"/>
          </p:nvPr>
        </p:nvSpPr>
        <p:spPr>
          <a:xfrm>
            <a:off x="254000" y="190504"/>
            <a:ext cx="11734800" cy="838199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anchor="b">
            <a:noAutofit/>
          </a:bodyPr>
          <a:lstStyle>
            <a:lvl1pPr>
              <a:def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73103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1104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/>
          </p:cNvSpPr>
          <p:nvPr>
            <p:ph type="sldNum" sz="quarter" idx="2"/>
          </p:nvPr>
        </p:nvSpPr>
        <p:spPr>
          <a:xfrm>
            <a:off x="11812978" y="6409763"/>
            <a:ext cx="209350" cy="20774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lvl1pPr algn="r">
              <a:defRPr sz="75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457189" hangingPunct="0"/>
            <a:fld id="{86CB4B4D-7CA3-9044-876B-883B54F8677D}" type="slidenum">
              <a:rPr lang="en-US" kern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defTabSz="457189" hangingPunct="0"/>
              <a:t>‹#›</a:t>
            </a:fld>
            <a:endParaRPr lang="en-US" kern="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8011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" y="6553200"/>
            <a:ext cx="10668000" cy="228600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5"/>
            <a:endParaRPr lang="en-US" dirty="0">
              <a:solidFill>
                <a:srgbClr val="323232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0800" y="6476360"/>
            <a:ext cx="609600" cy="305440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5"/>
            <a:fld id="{74EEA10D-E951-474C-8CD0-91078E47E9CB}" type="slidenum">
              <a:rPr lang="en-US" smtClean="0">
                <a:solidFill>
                  <a:srgbClr val="323232"/>
                </a:solidFill>
              </a:rPr>
              <a:pPr defTabSz="914355"/>
              <a:t>‹#›</a:t>
            </a:fld>
            <a:endParaRPr lang="en-US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88251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" name="image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34188"/>
            <a:ext cx="12192000" cy="42864"/>
          </a:xfrm>
          <a:prstGeom prst="rect">
            <a:avLst/>
          </a:prstGeom>
          <a:ln w="12700">
            <a:miter lim="400000"/>
          </a:ln>
        </p:spPr>
      </p:pic>
      <p:sp>
        <p:nvSpPr>
          <p:cNvPr id="107" name="Shape 107"/>
          <p:cNvSpPr/>
          <p:nvPr/>
        </p:nvSpPr>
        <p:spPr>
          <a:xfrm>
            <a:off x="-12700" y="6813551"/>
            <a:ext cx="12200469" cy="0"/>
          </a:xfrm>
          <a:prstGeom prst="line">
            <a:avLst/>
          </a:prstGeom>
          <a:ln w="28575">
            <a:solidFill>
              <a:srgbClr val="57649B"/>
            </a:solidFill>
            <a:miter/>
          </a:ln>
        </p:spPr>
        <p:txBody>
          <a:bodyPr lIns="34289" tIns="34289" rIns="34289" bIns="34289"/>
          <a:lstStyle/>
          <a:p>
            <a:pPr defTabSz="457189" hangingPunct="0"/>
            <a:endParaRPr sz="1350" kern="0">
              <a:solidFill>
                <a:srgbClr val="000000"/>
              </a:solidFill>
              <a:cs typeface="Arial" pitchFamily="34" charset="0"/>
              <a:sym typeface="Helvetica"/>
            </a:endParaRPr>
          </a:p>
        </p:txBody>
      </p:sp>
      <p:pic>
        <p:nvPicPr>
          <p:cNvPr id="108" name="image2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2700" y="4"/>
            <a:ext cx="12192000" cy="1185863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extBox 10"/>
          <p:cNvSpPr txBox="1"/>
          <p:nvPr/>
        </p:nvSpPr>
        <p:spPr>
          <a:xfrm>
            <a:off x="11779251" y="6389660"/>
            <a:ext cx="419100" cy="1846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defTabSz="457189" hangingPunct="0"/>
            <a:fld id="{923BB6F8-7B62-4095-9E60-1E3CB36F69DD}" type="slidenum">
              <a:rPr lang="en-US" sz="750" kern="0" smtClean="0">
                <a:solidFill>
                  <a:srgbClr val="000000">
                    <a:lumMod val="65000"/>
                    <a:lumOff val="35000"/>
                  </a:srgbClr>
                </a:solidFill>
                <a:cs typeface="Arial" pitchFamily="34" charset="0"/>
                <a:sym typeface="Helvetica"/>
              </a:rPr>
              <a:pPr defTabSz="457189" hangingPunct="0"/>
              <a:t>‹#›</a:t>
            </a:fld>
            <a:endParaRPr lang="en-US" sz="750" kern="0" dirty="0">
              <a:solidFill>
                <a:srgbClr val="000000">
                  <a:lumMod val="65000"/>
                  <a:lumOff val="35000"/>
                </a:srgbClr>
              </a:solidFill>
              <a:cs typeface="Arial" pitchFamily="34" charset="0"/>
              <a:sym typeface="Helvetica"/>
            </a:endParaRPr>
          </a:p>
        </p:txBody>
      </p:sp>
      <p:sp>
        <p:nvSpPr>
          <p:cNvPr id="13" name="Shape 32"/>
          <p:cNvSpPr>
            <a:spLocks noGrp="1"/>
          </p:cNvSpPr>
          <p:nvPr>
            <p:ph type="title"/>
          </p:nvPr>
        </p:nvSpPr>
        <p:spPr>
          <a:xfrm>
            <a:off x="254000" y="190504"/>
            <a:ext cx="11734800" cy="838199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anchor="b">
            <a:noAutofit/>
          </a:bodyPr>
          <a:lstStyle>
            <a:lvl1pPr>
              <a:def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935613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1" y="3802063"/>
            <a:ext cx="12170833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/>
        </p:nvCxnSpPr>
        <p:spPr>
          <a:xfrm>
            <a:off x="-12700" y="6884988"/>
            <a:ext cx="12200467" cy="0"/>
          </a:xfrm>
          <a:prstGeom prst="line">
            <a:avLst/>
          </a:prstGeom>
          <a:ln w="2857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7" y="3956052"/>
            <a:ext cx="12192000" cy="82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/>
          <p:cNvCxnSpPr/>
          <p:nvPr/>
        </p:nvCxnSpPr>
        <p:spPr>
          <a:xfrm>
            <a:off x="-27517" y="6888163"/>
            <a:ext cx="12200468" cy="0"/>
          </a:xfrm>
          <a:prstGeom prst="line">
            <a:avLst/>
          </a:prstGeom>
          <a:ln w="28575">
            <a:solidFill>
              <a:srgbClr val="5764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4001" y="2352753"/>
            <a:ext cx="11329259" cy="1449115"/>
          </a:xfrm>
          <a:prstGeom prst="rect">
            <a:avLst/>
          </a:prstGeom>
        </p:spPr>
        <p:txBody>
          <a:bodyPr anchor="b"/>
          <a:lstStyle>
            <a:lvl1pPr algn="l">
              <a:defRPr sz="3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4000" y="4158533"/>
            <a:ext cx="9144000" cy="431627"/>
          </a:xfrm>
          <a:prstGeom prst="rect">
            <a:avLst/>
          </a:prstGeom>
        </p:spPr>
        <p:txBody>
          <a:bodyPr lIns="109728"/>
          <a:lstStyle>
            <a:lvl1pPr marL="0" indent="0" algn="l">
              <a:buNone/>
              <a:defRPr sz="135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3244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54001" y="266704"/>
            <a:ext cx="11677651" cy="838199"/>
          </a:xfrm>
          <a:prstGeom prst="rect">
            <a:avLst/>
          </a:prstGeom>
        </p:spPr>
        <p:txBody>
          <a:bodyPr lIns="109728" anchor="b"/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7302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324604"/>
            <a:ext cx="12192000" cy="533399"/>
          </a:xfrm>
          <a:prstGeom prst="rect">
            <a:avLst/>
          </a:prstGeom>
        </p:spPr>
        <p:txBody>
          <a:bodyPr lIns="274320" tIns="137160" rIns="274320" bIns="137160" anchor="b"/>
          <a:lstStyle>
            <a:lvl1pPr marL="0" indent="0">
              <a:buNone/>
              <a:defRPr sz="1050" b="1" baseline="0">
                <a:solidFill>
                  <a:schemeClr val="tx1"/>
                </a:solidFill>
                <a:latin typeface="+mn-lt"/>
                <a:cs typeface="Helvetica" panose="020B0604020202020204" pitchFamily="34" charset="0"/>
              </a:defRPr>
            </a:lvl1pPr>
            <a:lvl2pPr marL="296459" indent="0">
              <a:buNone/>
              <a:defRPr sz="1050" b="1"/>
            </a:lvl2pPr>
            <a:lvl3pPr marL="601251" indent="0">
              <a:buNone/>
              <a:defRPr sz="1050" b="1"/>
            </a:lvl3pPr>
            <a:lvl4pPr marL="897709" indent="0">
              <a:buNone/>
              <a:defRPr sz="1050" b="1"/>
            </a:lvl4pPr>
            <a:lvl5pPr marL="1201310" indent="0">
              <a:buNone/>
              <a:defRPr sz="1050" b="1"/>
            </a:lvl5pPr>
          </a:lstStyle>
          <a:p>
            <a:pPr lvl="0"/>
            <a:r>
              <a:rPr lang="en-US" dirty="0"/>
              <a:t>Reference.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4"/>
          </p:nvPr>
        </p:nvSpPr>
        <p:spPr>
          <a:xfrm>
            <a:off x="609600" y="1566751"/>
            <a:ext cx="10972800" cy="46398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988168C-A2A7-6847-8EE9-F5D27E260C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718289"/>
            <a:ext cx="12192000" cy="699351"/>
          </a:xfrm>
          <a:prstGeom prst="rect">
            <a:avLst/>
          </a:prstGeom>
        </p:spPr>
        <p:txBody>
          <a:bodyPr anchor="ctr"/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4656003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324604"/>
            <a:ext cx="12192000" cy="533399"/>
          </a:xfrm>
          <a:prstGeom prst="rect">
            <a:avLst/>
          </a:prstGeom>
        </p:spPr>
        <p:txBody>
          <a:bodyPr lIns="274320" tIns="137160" rIns="274320" bIns="137160" anchor="b"/>
          <a:lstStyle>
            <a:lvl1pPr marL="0" indent="0">
              <a:buNone/>
              <a:defRPr sz="1050" b="1" baseline="0">
                <a:solidFill>
                  <a:schemeClr val="tx1"/>
                </a:solidFill>
                <a:latin typeface="+mn-lt"/>
                <a:cs typeface="Helvetica" panose="020B0604020202020204" pitchFamily="34" charset="0"/>
              </a:defRPr>
            </a:lvl1pPr>
            <a:lvl2pPr marL="296459" indent="0">
              <a:buNone/>
              <a:defRPr sz="1050" b="1"/>
            </a:lvl2pPr>
            <a:lvl3pPr marL="601251" indent="0">
              <a:buNone/>
              <a:defRPr sz="1050" b="1"/>
            </a:lvl3pPr>
            <a:lvl4pPr marL="897709" indent="0">
              <a:buNone/>
              <a:defRPr sz="1050" b="1"/>
            </a:lvl4pPr>
            <a:lvl5pPr marL="1201310" indent="0">
              <a:buNone/>
              <a:defRPr sz="1050" b="1"/>
            </a:lvl5pPr>
          </a:lstStyle>
          <a:p>
            <a:pPr lvl="0"/>
            <a:r>
              <a:rPr lang="en-US" dirty="0"/>
              <a:t>Reference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599E0C4-358C-864A-A449-7A21861776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718289"/>
            <a:ext cx="12192000" cy="699351"/>
          </a:xfrm>
          <a:prstGeom prst="rect">
            <a:avLst/>
          </a:prstGeom>
        </p:spPr>
        <p:txBody>
          <a:bodyPr anchor="ctr"/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371867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6BAD266-8AD5-EC4A-851F-2390BE4DDC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2000435"/>
            <a:ext cx="12192000" cy="2864528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sz="30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6" name="Subtitle 3">
            <a:extLst>
              <a:ext uri="{FF2B5EF4-FFF2-40B4-BE49-F238E27FC236}">
                <a16:creationId xmlns:a16="http://schemas.microsoft.com/office/drawing/2014/main" id="{07559C55-590A-074C-8F05-A6281154FE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5131493"/>
            <a:ext cx="10972800" cy="96450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Subtext.</a:t>
            </a:r>
          </a:p>
        </p:txBody>
      </p:sp>
    </p:spTree>
    <p:extLst>
      <p:ext uri="{BB962C8B-B14F-4D97-AF65-F5344CB8AC3E}">
        <p14:creationId xmlns:p14="http://schemas.microsoft.com/office/powerpoint/2010/main" val="2345930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2000435"/>
            <a:ext cx="12192000" cy="2864528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sz="30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7" name="Subtitle 3"/>
          <p:cNvSpPr>
            <a:spLocks noGrp="1"/>
          </p:cNvSpPr>
          <p:nvPr>
            <p:ph type="subTitle" idx="1" hasCustomPrompt="1"/>
          </p:nvPr>
        </p:nvSpPr>
        <p:spPr>
          <a:xfrm>
            <a:off x="609600" y="5131493"/>
            <a:ext cx="10972800" cy="43110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resenter’s Name Her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562601"/>
            <a:ext cx="10972800" cy="10068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er’s Affiliation Here</a:t>
            </a:r>
          </a:p>
        </p:txBody>
      </p:sp>
    </p:spTree>
    <p:extLst>
      <p:ext uri="{BB962C8B-B14F-4D97-AF65-F5344CB8AC3E}">
        <p14:creationId xmlns:p14="http://schemas.microsoft.com/office/powerpoint/2010/main" val="73013384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DE321908-BCD4-084E-A597-B013FA49F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2000435"/>
            <a:ext cx="12192000" cy="2864528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sz="30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resentation Title Here</a:t>
            </a:r>
          </a:p>
        </p:txBody>
      </p:sp>
      <p:sp>
        <p:nvSpPr>
          <p:cNvPr id="13" name="Subtitle 3">
            <a:extLst>
              <a:ext uri="{FF2B5EF4-FFF2-40B4-BE49-F238E27FC236}">
                <a16:creationId xmlns:a16="http://schemas.microsoft.com/office/drawing/2014/main" id="{40908CA3-178D-4D48-9A72-979D852367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5131493"/>
            <a:ext cx="4267200" cy="43110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resenter’s Name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F4337D6-1B44-6A4D-AF57-FA4922F87F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562601"/>
            <a:ext cx="4267200" cy="10068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er’s Affiliation Her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EE12EEE7-81E6-CB4B-9AAC-C1242B4C7C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80148" y="5562601"/>
            <a:ext cx="4267200" cy="10068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er’s Affiliation He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DAF0F2D-C054-D248-AD92-E8EC08ACE5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80148" y="5130800"/>
            <a:ext cx="4267200" cy="431800"/>
          </a:xfrm>
          <a:prstGeom prst="rect">
            <a:avLst/>
          </a:prstGeom>
        </p:spPr>
        <p:txBody>
          <a:bodyPr wrap="none"/>
          <a:lstStyle>
            <a:lvl1pPr marL="0" indent="0"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resenter’s Name Here</a:t>
            </a:r>
          </a:p>
        </p:txBody>
      </p:sp>
    </p:spTree>
    <p:extLst>
      <p:ext uri="{BB962C8B-B14F-4D97-AF65-F5344CB8AC3E}">
        <p14:creationId xmlns:p14="http://schemas.microsoft.com/office/powerpoint/2010/main" val="201641947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0" y="718289"/>
            <a:ext cx="12192000" cy="699351"/>
          </a:xfrm>
          <a:prstGeom prst="rect">
            <a:avLst/>
          </a:prstGeom>
        </p:spPr>
        <p:txBody>
          <a:bodyPr anchor="ctr"/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324604"/>
            <a:ext cx="12192000" cy="533399"/>
          </a:xfrm>
          <a:prstGeom prst="rect">
            <a:avLst/>
          </a:prstGeom>
        </p:spPr>
        <p:txBody>
          <a:bodyPr lIns="274320" tIns="137160" rIns="274320" bIns="137160" anchor="b"/>
          <a:lstStyle>
            <a:lvl1pPr marL="0" indent="0">
              <a:buNone/>
              <a:defRPr sz="1050" b="1" baseline="0">
                <a:solidFill>
                  <a:schemeClr val="tx1"/>
                </a:solidFill>
                <a:latin typeface="+mn-lt"/>
                <a:cs typeface="Helvetica" panose="020B0604020202020204" pitchFamily="34" charset="0"/>
              </a:defRPr>
            </a:lvl1pPr>
            <a:lvl2pPr marL="296459" indent="0">
              <a:buNone/>
              <a:defRPr sz="1050" b="1"/>
            </a:lvl2pPr>
            <a:lvl3pPr marL="601251" indent="0">
              <a:buNone/>
              <a:defRPr sz="1050" b="1"/>
            </a:lvl3pPr>
            <a:lvl4pPr marL="897709" indent="0">
              <a:buNone/>
              <a:defRPr sz="1050" b="1"/>
            </a:lvl4pPr>
            <a:lvl5pPr marL="1201310" indent="0">
              <a:buNone/>
              <a:defRPr sz="1050" b="1"/>
            </a:lvl5pPr>
          </a:lstStyle>
          <a:p>
            <a:pPr lvl="0"/>
            <a:r>
              <a:rPr lang="en-US" dirty="0"/>
              <a:t>Reference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609600" y="1566752"/>
            <a:ext cx="5497189" cy="46479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5"/>
          </p:nvPr>
        </p:nvSpPr>
        <p:spPr>
          <a:xfrm>
            <a:off x="6106791" y="1566752"/>
            <a:ext cx="5497189" cy="46479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88898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324604"/>
            <a:ext cx="12192000" cy="533399"/>
          </a:xfrm>
          <a:prstGeom prst="rect">
            <a:avLst/>
          </a:prstGeom>
        </p:spPr>
        <p:txBody>
          <a:bodyPr lIns="274320" tIns="137160" rIns="274320" bIns="137160" anchor="b"/>
          <a:lstStyle>
            <a:lvl1pPr marL="0" indent="0">
              <a:buNone/>
              <a:defRPr sz="1050" b="1" baseline="0">
                <a:solidFill>
                  <a:schemeClr val="tx1"/>
                </a:solidFill>
                <a:latin typeface="+mn-lt"/>
                <a:cs typeface="Helvetica" panose="020B0604020202020204" pitchFamily="34" charset="0"/>
              </a:defRPr>
            </a:lvl1pPr>
            <a:lvl2pPr marL="296459" indent="0">
              <a:buNone/>
              <a:defRPr sz="1050" b="1"/>
            </a:lvl2pPr>
            <a:lvl3pPr marL="601251" indent="0">
              <a:buNone/>
              <a:defRPr sz="1050" b="1"/>
            </a:lvl3pPr>
            <a:lvl4pPr marL="897709" indent="0">
              <a:buNone/>
              <a:defRPr sz="1050" b="1"/>
            </a:lvl4pPr>
            <a:lvl5pPr marL="1201310" indent="0">
              <a:buNone/>
              <a:defRPr sz="1050" b="1"/>
            </a:lvl5pPr>
          </a:lstStyle>
          <a:p>
            <a:pPr lvl="0"/>
            <a:r>
              <a:rPr lang="en-US" dirty="0"/>
              <a:t>Reference.</a:t>
            </a:r>
          </a:p>
        </p:txBody>
      </p:sp>
    </p:spTree>
    <p:extLst>
      <p:ext uri="{BB962C8B-B14F-4D97-AF65-F5344CB8AC3E}">
        <p14:creationId xmlns:p14="http://schemas.microsoft.com/office/powerpoint/2010/main" val="37566827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8">
            <a:extLst>
              <a:ext uri="{FF2B5EF4-FFF2-40B4-BE49-F238E27FC236}">
                <a16:creationId xmlns:a16="http://schemas.microsoft.com/office/drawing/2014/main" id="{2A3051EF-0697-7145-AD4E-0713A24D60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680" t="40515" r="-3983" b="-2901"/>
          <a:stretch>
            <a:fillRect/>
          </a:stretch>
        </p:blipFill>
        <p:spPr bwMode="auto">
          <a:xfrm>
            <a:off x="0" y="371475"/>
            <a:ext cx="121650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8C76EEA-329F-C743-BC10-CF8329FFAB76}"/>
              </a:ext>
            </a:extLst>
          </p:cNvPr>
          <p:cNvSpPr/>
          <p:nvPr/>
        </p:nvSpPr>
        <p:spPr>
          <a:xfrm>
            <a:off x="0" y="6429375"/>
            <a:ext cx="12192000" cy="432000"/>
          </a:xfrm>
          <a:prstGeom prst="rect">
            <a:avLst/>
          </a:prstGeom>
          <a:solidFill>
            <a:srgbClr val="0971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3" tIns="34289" rIns="68543" bIns="34289" anchor="ctr"/>
          <a:lstStyle/>
          <a:p>
            <a:pPr algn="ctr" defTabSz="913815">
              <a:defRPr/>
            </a:pPr>
            <a:endParaRPr lang="en-US" sz="18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42982B-27A8-894F-A9C4-C6B3BB08907A}"/>
              </a:ext>
            </a:extLst>
          </p:cNvPr>
          <p:cNvSpPr/>
          <p:nvPr/>
        </p:nvSpPr>
        <p:spPr>
          <a:xfrm>
            <a:off x="0" y="6342063"/>
            <a:ext cx="12192000" cy="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3" tIns="34289" rIns="68543" bIns="34289" anchor="ctr"/>
          <a:lstStyle/>
          <a:p>
            <a:pPr algn="ctr" defTabSz="913815">
              <a:defRPr/>
            </a:pPr>
            <a:endParaRPr lang="en-US" sz="18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8" name="Picture 19">
            <a:extLst>
              <a:ext uri="{FF2B5EF4-FFF2-40B4-BE49-F238E27FC236}">
                <a16:creationId xmlns:a16="http://schemas.microsoft.com/office/drawing/2014/main" id="{B94DA1ED-0D87-E548-B5B1-B55AA3297B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721" r="37799" b="-6842"/>
          <a:stretch>
            <a:fillRect/>
          </a:stretch>
        </p:blipFill>
        <p:spPr bwMode="auto">
          <a:xfrm>
            <a:off x="8750301" y="40"/>
            <a:ext cx="3436939" cy="620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E07A8BD-5B82-5A42-8B38-9CC7351793E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70019" y="1653158"/>
            <a:ext cx="7180292" cy="2498817"/>
          </a:xfrm>
        </p:spPr>
        <p:txBody>
          <a:bodyPr anchor="b"/>
          <a:lstStyle>
            <a:lvl1pPr algn="l">
              <a:defRPr sz="4500"/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50DBBF-12BD-6D44-95C8-17404AF302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70019" y="4254327"/>
            <a:ext cx="7180292" cy="1003513"/>
          </a:xfrm>
        </p:spPr>
        <p:txBody>
          <a:bodyPr anchor="ctr"/>
          <a:lstStyle>
            <a:lvl1pPr marL="0" indent="0" algn="l">
              <a:buNone/>
              <a:defRPr sz="1800" b="1">
                <a:solidFill>
                  <a:schemeClr val="accent5"/>
                </a:solidFill>
              </a:defRPr>
            </a:lvl1pPr>
            <a:lvl2pPr marL="342668" indent="0" algn="ctr">
              <a:buNone/>
              <a:defRPr sz="1500"/>
            </a:lvl2pPr>
            <a:lvl3pPr marL="685358" indent="0" algn="ctr">
              <a:buNone/>
              <a:defRPr sz="1400"/>
            </a:lvl3pPr>
            <a:lvl4pPr marL="1028037" indent="0" algn="ctr">
              <a:buNone/>
              <a:defRPr sz="1200"/>
            </a:lvl4pPr>
            <a:lvl5pPr marL="1370716" indent="0" algn="ctr">
              <a:buNone/>
              <a:defRPr sz="1200"/>
            </a:lvl5pPr>
            <a:lvl6pPr marL="1713407" indent="0" algn="ctr">
              <a:buNone/>
              <a:defRPr sz="1200"/>
            </a:lvl6pPr>
            <a:lvl7pPr marL="2056073" indent="0" algn="ctr">
              <a:buNone/>
              <a:defRPr sz="1200"/>
            </a:lvl7pPr>
            <a:lvl8pPr marL="2398740" indent="0" algn="ctr">
              <a:buNone/>
              <a:defRPr sz="1200"/>
            </a:lvl8pPr>
            <a:lvl9pPr marL="2741408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034FB477-FDF2-2E45-98F3-A722B2C1ED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01244" y="6473173"/>
            <a:ext cx="2384425" cy="344487"/>
          </a:xfrm>
        </p:spPr>
        <p:txBody>
          <a:bodyPr/>
          <a:lstStyle/>
          <a:p>
            <a:pPr>
              <a:defRPr/>
            </a:pPr>
            <a:fld id="{36A907A4-9C24-40B8-8C27-38446DF375A2}" type="datetime1">
              <a:rPr lang="en-US">
                <a:solidFill>
                  <a:srgbClr val="FFFFFF"/>
                </a:solidFill>
                <a:latin typeface="Calibri"/>
              </a:rPr>
              <a:pPr>
                <a:defRPr/>
              </a:pPr>
              <a:t>11/11/22</a:t>
            </a:fld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B7A649D-EE18-3B4B-B54E-24FBA449E1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27389" y="6463648"/>
            <a:ext cx="5741987" cy="363537"/>
          </a:xfrm>
        </p:spPr>
        <p:txBody>
          <a:bodyPr/>
          <a:lstStyle/>
          <a:p>
            <a:pPr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65DCB8B-298B-0846-B297-3F1D8F3390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8643" y="6468371"/>
            <a:ext cx="2481943" cy="354012"/>
          </a:xfrm>
        </p:spPr>
        <p:txBody>
          <a:bodyPr/>
          <a:lstStyle/>
          <a:p>
            <a:pPr>
              <a:defRPr/>
            </a:pPr>
            <a:fld id="{5BF92C94-257A-7E4A-B809-22B4E6AD3B34}" type="slidenum">
              <a:rPr lang="en-US">
                <a:solidFill>
                  <a:srgbClr val="FFFFFF"/>
                </a:solidFill>
                <a:latin typeface="Calibri"/>
              </a:rPr>
              <a:pPr>
                <a:defRPr/>
              </a:pPr>
              <a:t>‹#›</a:t>
            </a:fld>
            <a:r>
              <a:rPr lang="en-US" dirty="0">
                <a:solidFill>
                  <a:srgbClr val="FFFFFF"/>
                </a:solidFill>
                <a:latin typeface="Calibri"/>
              </a:rPr>
              <a:t> | Strictly Confidentia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C6B0989-9957-4F42-B7ED-BBF291E1C5D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77246" y="493779"/>
            <a:ext cx="5067300" cy="776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018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140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324604"/>
            <a:ext cx="12192000" cy="533399"/>
          </a:xfrm>
          <a:prstGeom prst="rect">
            <a:avLst/>
          </a:prstGeom>
        </p:spPr>
        <p:txBody>
          <a:bodyPr lIns="274320" tIns="137160" rIns="274320" bIns="137160" anchor="b"/>
          <a:lstStyle>
            <a:lvl1pPr marL="0" indent="0">
              <a:buNone/>
              <a:defRPr sz="1050" b="1" baseline="0">
                <a:solidFill>
                  <a:schemeClr val="tx1"/>
                </a:solidFill>
                <a:latin typeface="+mn-lt"/>
                <a:cs typeface="Helvetica" panose="020B0604020202020204" pitchFamily="34" charset="0"/>
              </a:defRPr>
            </a:lvl1pPr>
            <a:lvl2pPr marL="296459" indent="0">
              <a:buNone/>
              <a:defRPr sz="1050" b="1"/>
            </a:lvl2pPr>
            <a:lvl3pPr marL="601251" indent="0">
              <a:buNone/>
              <a:defRPr sz="1050" b="1"/>
            </a:lvl3pPr>
            <a:lvl4pPr marL="897709" indent="0">
              <a:buNone/>
              <a:defRPr sz="1050" b="1"/>
            </a:lvl4pPr>
            <a:lvl5pPr marL="1201310" indent="0">
              <a:buNone/>
              <a:defRPr sz="1050" b="1"/>
            </a:lvl5pPr>
          </a:lstStyle>
          <a:p>
            <a:pPr lvl="0"/>
            <a:r>
              <a:rPr lang="en-US" dirty="0"/>
              <a:t>Reference.</a:t>
            </a:r>
          </a:p>
        </p:txBody>
      </p:sp>
    </p:spTree>
    <p:extLst>
      <p:ext uri="{BB962C8B-B14F-4D97-AF65-F5344CB8AC3E}">
        <p14:creationId xmlns:p14="http://schemas.microsoft.com/office/powerpoint/2010/main" val="34644990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948" y="1313750"/>
            <a:ext cx="5562600" cy="4376510"/>
          </a:xfrm>
        </p:spPr>
        <p:txBody>
          <a:bodyPr/>
          <a:lstStyle>
            <a:lvl1pPr>
              <a:defRPr sz="1750">
                <a:solidFill>
                  <a:srgbClr val="0070C0"/>
                </a:solidFill>
              </a:defRPr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8145" y="1313750"/>
            <a:ext cx="5562600" cy="4376510"/>
          </a:xfrm>
        </p:spPr>
        <p:txBody>
          <a:bodyPr/>
          <a:lstStyle>
            <a:lvl1pPr>
              <a:defRPr sz="1750">
                <a:solidFill>
                  <a:srgbClr val="0070C0"/>
                </a:solidFill>
              </a:defRPr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3999" y="6174952"/>
            <a:ext cx="11201655" cy="435429"/>
          </a:xfrm>
        </p:spPr>
        <p:txBody>
          <a:bodyPr anchor="b">
            <a:noAutofit/>
          </a:bodyPr>
          <a:lstStyle>
            <a:lvl1pPr marL="0" indent="0">
              <a:buNone/>
              <a:defRPr sz="750"/>
            </a:lvl1pPr>
          </a:lstStyle>
          <a:p>
            <a:pPr lvl="0"/>
            <a:r>
              <a:rPr lang="en-US"/>
              <a:t>Referenc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0209" y="6550226"/>
            <a:ext cx="781793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DEC785-F459-40EE-916E-4E467132826C}" type="slidenum">
              <a:rPr lang="en-US" sz="1125" smtClean="0"/>
              <a:pPr algn="r"/>
              <a:t>‹#›</a:t>
            </a:fld>
            <a:endParaRPr lang="en-US" sz="1250"/>
          </a:p>
        </p:txBody>
      </p:sp>
    </p:spTree>
    <p:extLst>
      <p:ext uri="{BB962C8B-B14F-4D97-AF65-F5344CB8AC3E}">
        <p14:creationId xmlns:p14="http://schemas.microsoft.com/office/powerpoint/2010/main" val="92040760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1844" y="1316875"/>
            <a:ext cx="5562600" cy="640292"/>
          </a:xfrm>
        </p:spPr>
        <p:txBody>
          <a:bodyPr anchor="b">
            <a:normAutofit/>
          </a:bodyPr>
          <a:lstStyle>
            <a:lvl1pPr marL="0" indent="0">
              <a:buNone/>
              <a:defRPr sz="1750" b="1">
                <a:solidFill>
                  <a:srgbClr val="0070C0"/>
                </a:solidFill>
              </a:defRPr>
            </a:lvl1pPr>
            <a:lvl2pPr marL="285739" indent="0">
              <a:buNone/>
              <a:defRPr sz="1250" b="1"/>
            </a:lvl2pPr>
            <a:lvl3pPr marL="571478" indent="0">
              <a:buNone/>
              <a:defRPr sz="1125" b="1"/>
            </a:lvl3pPr>
            <a:lvl4pPr marL="857216" indent="0">
              <a:buNone/>
              <a:defRPr sz="1000" b="1"/>
            </a:lvl4pPr>
            <a:lvl5pPr marL="1142954" indent="0">
              <a:buNone/>
              <a:defRPr sz="1000" b="1"/>
            </a:lvl5pPr>
            <a:lvl6pPr marL="1428693" indent="0">
              <a:buNone/>
              <a:defRPr sz="1000" b="1"/>
            </a:lvl6pPr>
            <a:lvl7pPr marL="1714432" indent="0">
              <a:buNone/>
              <a:defRPr sz="1000" b="1"/>
            </a:lvl7pPr>
            <a:lvl8pPr marL="2000170" indent="0">
              <a:buNone/>
              <a:defRPr sz="1000" b="1"/>
            </a:lvl8pPr>
            <a:lvl9pPr marL="2285909" indent="0">
              <a:buNone/>
              <a:defRPr sz="10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1844" y="1957169"/>
            <a:ext cx="5562600" cy="3951553"/>
          </a:xfrm>
        </p:spPr>
        <p:txBody>
          <a:bodyPr/>
          <a:lstStyle>
            <a:lvl1pPr>
              <a:defRPr sz="1500"/>
            </a:lvl1pPr>
            <a:lvl2pPr>
              <a:defRPr sz="1250"/>
            </a:lvl2pPr>
            <a:lvl3pPr>
              <a:defRPr sz="1125"/>
            </a:lvl3pPr>
            <a:lvl4pPr>
              <a:defRPr sz="10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53271" y="1316875"/>
            <a:ext cx="5562600" cy="640292"/>
          </a:xfrm>
        </p:spPr>
        <p:txBody>
          <a:bodyPr anchor="b">
            <a:normAutofit/>
          </a:bodyPr>
          <a:lstStyle>
            <a:lvl1pPr marL="0" indent="0">
              <a:buNone/>
              <a:defRPr sz="1750" b="1">
                <a:solidFill>
                  <a:srgbClr val="0070C0"/>
                </a:solidFill>
              </a:defRPr>
            </a:lvl1pPr>
            <a:lvl2pPr marL="285739" indent="0">
              <a:buNone/>
              <a:defRPr sz="1250" b="1"/>
            </a:lvl2pPr>
            <a:lvl3pPr marL="571478" indent="0">
              <a:buNone/>
              <a:defRPr sz="1125" b="1"/>
            </a:lvl3pPr>
            <a:lvl4pPr marL="857216" indent="0">
              <a:buNone/>
              <a:defRPr sz="1000" b="1"/>
            </a:lvl4pPr>
            <a:lvl5pPr marL="1142954" indent="0">
              <a:buNone/>
              <a:defRPr sz="1000" b="1"/>
            </a:lvl5pPr>
            <a:lvl6pPr marL="1428693" indent="0">
              <a:buNone/>
              <a:defRPr sz="1000" b="1"/>
            </a:lvl6pPr>
            <a:lvl7pPr marL="1714432" indent="0">
              <a:buNone/>
              <a:defRPr sz="1000" b="1"/>
            </a:lvl7pPr>
            <a:lvl8pPr marL="2000170" indent="0">
              <a:buNone/>
              <a:defRPr sz="1000" b="1"/>
            </a:lvl8pPr>
            <a:lvl9pPr marL="2285909" indent="0">
              <a:buNone/>
              <a:defRPr sz="10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53271" y="1957169"/>
            <a:ext cx="5562600" cy="3951553"/>
          </a:xfrm>
        </p:spPr>
        <p:txBody>
          <a:bodyPr/>
          <a:lstStyle>
            <a:lvl1pPr>
              <a:defRPr sz="1500"/>
            </a:lvl1pPr>
            <a:lvl2pPr>
              <a:defRPr sz="1250"/>
            </a:lvl2pPr>
            <a:lvl3pPr>
              <a:defRPr sz="1125"/>
            </a:lvl3pPr>
            <a:lvl4pPr>
              <a:defRPr sz="10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3999" y="6174952"/>
            <a:ext cx="11201655" cy="435429"/>
          </a:xfrm>
        </p:spPr>
        <p:txBody>
          <a:bodyPr anchor="b">
            <a:noAutofit/>
          </a:bodyPr>
          <a:lstStyle>
            <a:lvl1pPr marL="0" indent="0">
              <a:buNone/>
              <a:defRPr sz="750"/>
            </a:lvl1pPr>
          </a:lstStyle>
          <a:p>
            <a:pPr lvl="0"/>
            <a:r>
              <a:rPr lang="en-US"/>
              <a:t>Referenc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410209" y="6550226"/>
            <a:ext cx="781793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DEC785-F459-40EE-916E-4E467132826C}" type="slidenum">
              <a:rPr lang="en-US" sz="1125" smtClean="0"/>
              <a:pPr algn="r"/>
              <a:t>‹#›</a:t>
            </a:fld>
            <a:endParaRPr lang="en-US" sz="1250"/>
          </a:p>
        </p:txBody>
      </p:sp>
    </p:spTree>
    <p:extLst>
      <p:ext uri="{BB962C8B-B14F-4D97-AF65-F5344CB8AC3E}">
        <p14:creationId xmlns:p14="http://schemas.microsoft.com/office/powerpoint/2010/main" val="270789699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3999" y="6174952"/>
            <a:ext cx="11201655" cy="435429"/>
          </a:xfrm>
        </p:spPr>
        <p:txBody>
          <a:bodyPr anchor="b">
            <a:noAutofit/>
          </a:bodyPr>
          <a:lstStyle>
            <a:lvl1pPr marL="0" indent="0">
              <a:buNone/>
              <a:defRPr sz="750"/>
            </a:lvl1pPr>
          </a:lstStyle>
          <a:p>
            <a:pPr lvl="0"/>
            <a:r>
              <a:rPr lang="en-US"/>
              <a:t>Referenc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410209" y="6550226"/>
            <a:ext cx="781793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DEC785-F459-40EE-916E-4E467132826C}" type="slidenum">
              <a:rPr lang="en-US" sz="1125" smtClean="0"/>
              <a:pPr algn="r"/>
              <a:t>‹#›</a:t>
            </a:fld>
            <a:endParaRPr lang="en-US" sz="1250"/>
          </a:p>
        </p:txBody>
      </p:sp>
    </p:spTree>
    <p:extLst>
      <p:ext uri="{BB962C8B-B14F-4D97-AF65-F5344CB8AC3E}">
        <p14:creationId xmlns:p14="http://schemas.microsoft.com/office/powerpoint/2010/main" val="251791639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999" y="1303847"/>
            <a:ext cx="11404005" cy="431714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0070C0"/>
                </a:solidFill>
              </a:defRPr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410209" y="6550226"/>
            <a:ext cx="781793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DEC785-F459-40EE-916E-4E467132826C}" type="slidenum">
              <a:rPr lang="en-US" sz="1125" smtClean="0"/>
              <a:pPr algn="r"/>
              <a:t>‹#›</a:t>
            </a:fld>
            <a:endParaRPr lang="en-US" sz="1250"/>
          </a:p>
        </p:txBody>
      </p:sp>
    </p:spTree>
    <p:extLst>
      <p:ext uri="{BB962C8B-B14F-4D97-AF65-F5344CB8AC3E}">
        <p14:creationId xmlns:p14="http://schemas.microsoft.com/office/powerpoint/2010/main" val="417082003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9445B-CD89-4294-86A9-67D898A7C3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7033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948" y="1313750"/>
            <a:ext cx="5562600" cy="4376510"/>
          </a:xfrm>
        </p:spPr>
        <p:txBody>
          <a:bodyPr/>
          <a:lstStyle>
            <a:lvl1pPr>
              <a:defRPr sz="1750">
                <a:solidFill>
                  <a:srgbClr val="0070C0"/>
                </a:solidFill>
              </a:defRPr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8145" y="1313750"/>
            <a:ext cx="5562600" cy="4376510"/>
          </a:xfrm>
        </p:spPr>
        <p:txBody>
          <a:bodyPr/>
          <a:lstStyle>
            <a:lvl1pPr>
              <a:defRPr sz="1750">
                <a:solidFill>
                  <a:srgbClr val="0070C0"/>
                </a:solidFill>
              </a:defRPr>
            </a:lvl1pPr>
            <a:lvl2pPr>
              <a:defRPr sz="1500"/>
            </a:lvl2pPr>
            <a:lvl3pPr>
              <a:defRPr sz="12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3999" y="6174952"/>
            <a:ext cx="11201655" cy="435429"/>
          </a:xfrm>
        </p:spPr>
        <p:txBody>
          <a:bodyPr anchor="b">
            <a:noAutofit/>
          </a:bodyPr>
          <a:lstStyle>
            <a:lvl1pPr marL="0" indent="0">
              <a:buNone/>
              <a:defRPr sz="750"/>
            </a:lvl1pPr>
          </a:lstStyle>
          <a:p>
            <a:pPr lvl="0"/>
            <a:r>
              <a:rPr lang="en-US" dirty="0"/>
              <a:t>Referenc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0209" y="6550226"/>
            <a:ext cx="781793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DEC785-F459-40EE-916E-4E467132826C}" type="slidenum">
              <a:rPr lang="en-US" sz="1125" smtClean="0"/>
              <a:pPr algn="r"/>
              <a:t>‹#›</a:t>
            </a:fld>
            <a:endParaRPr lang="en-US" sz="1250" dirty="0"/>
          </a:p>
        </p:txBody>
      </p:sp>
    </p:spTree>
    <p:extLst>
      <p:ext uri="{BB962C8B-B14F-4D97-AF65-F5344CB8AC3E}">
        <p14:creationId xmlns:p14="http://schemas.microsoft.com/office/powerpoint/2010/main" val="66540386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1844" y="1316875"/>
            <a:ext cx="5562600" cy="640292"/>
          </a:xfrm>
        </p:spPr>
        <p:txBody>
          <a:bodyPr anchor="b">
            <a:normAutofit/>
          </a:bodyPr>
          <a:lstStyle>
            <a:lvl1pPr marL="0" indent="0">
              <a:buNone/>
              <a:defRPr sz="1750" b="1">
                <a:solidFill>
                  <a:srgbClr val="0070C0"/>
                </a:solidFill>
              </a:defRPr>
            </a:lvl1pPr>
            <a:lvl2pPr marL="285739" indent="0">
              <a:buNone/>
              <a:defRPr sz="1250" b="1"/>
            </a:lvl2pPr>
            <a:lvl3pPr marL="571478" indent="0">
              <a:buNone/>
              <a:defRPr sz="1125" b="1"/>
            </a:lvl3pPr>
            <a:lvl4pPr marL="857216" indent="0">
              <a:buNone/>
              <a:defRPr sz="1000" b="1"/>
            </a:lvl4pPr>
            <a:lvl5pPr marL="1142954" indent="0">
              <a:buNone/>
              <a:defRPr sz="1000" b="1"/>
            </a:lvl5pPr>
            <a:lvl6pPr marL="1428693" indent="0">
              <a:buNone/>
              <a:defRPr sz="1000" b="1"/>
            </a:lvl6pPr>
            <a:lvl7pPr marL="1714432" indent="0">
              <a:buNone/>
              <a:defRPr sz="1000" b="1"/>
            </a:lvl7pPr>
            <a:lvl8pPr marL="2000170" indent="0">
              <a:buNone/>
              <a:defRPr sz="1000" b="1"/>
            </a:lvl8pPr>
            <a:lvl9pPr marL="2285909" indent="0">
              <a:buNone/>
              <a:defRPr sz="10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1844" y="1957169"/>
            <a:ext cx="5562600" cy="3951553"/>
          </a:xfrm>
        </p:spPr>
        <p:txBody>
          <a:bodyPr/>
          <a:lstStyle>
            <a:lvl1pPr>
              <a:defRPr sz="1500"/>
            </a:lvl1pPr>
            <a:lvl2pPr>
              <a:defRPr sz="1250"/>
            </a:lvl2pPr>
            <a:lvl3pPr>
              <a:defRPr sz="1125"/>
            </a:lvl3pPr>
            <a:lvl4pPr>
              <a:defRPr sz="10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53271" y="1316875"/>
            <a:ext cx="5562600" cy="640292"/>
          </a:xfrm>
        </p:spPr>
        <p:txBody>
          <a:bodyPr anchor="b">
            <a:normAutofit/>
          </a:bodyPr>
          <a:lstStyle>
            <a:lvl1pPr marL="0" indent="0">
              <a:buNone/>
              <a:defRPr sz="1750" b="1">
                <a:solidFill>
                  <a:srgbClr val="0070C0"/>
                </a:solidFill>
              </a:defRPr>
            </a:lvl1pPr>
            <a:lvl2pPr marL="285739" indent="0">
              <a:buNone/>
              <a:defRPr sz="1250" b="1"/>
            </a:lvl2pPr>
            <a:lvl3pPr marL="571478" indent="0">
              <a:buNone/>
              <a:defRPr sz="1125" b="1"/>
            </a:lvl3pPr>
            <a:lvl4pPr marL="857216" indent="0">
              <a:buNone/>
              <a:defRPr sz="1000" b="1"/>
            </a:lvl4pPr>
            <a:lvl5pPr marL="1142954" indent="0">
              <a:buNone/>
              <a:defRPr sz="1000" b="1"/>
            </a:lvl5pPr>
            <a:lvl6pPr marL="1428693" indent="0">
              <a:buNone/>
              <a:defRPr sz="1000" b="1"/>
            </a:lvl6pPr>
            <a:lvl7pPr marL="1714432" indent="0">
              <a:buNone/>
              <a:defRPr sz="1000" b="1"/>
            </a:lvl7pPr>
            <a:lvl8pPr marL="2000170" indent="0">
              <a:buNone/>
              <a:defRPr sz="1000" b="1"/>
            </a:lvl8pPr>
            <a:lvl9pPr marL="2285909" indent="0">
              <a:buNone/>
              <a:defRPr sz="10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53271" y="1957169"/>
            <a:ext cx="5562600" cy="3951553"/>
          </a:xfrm>
        </p:spPr>
        <p:txBody>
          <a:bodyPr/>
          <a:lstStyle>
            <a:lvl1pPr>
              <a:defRPr sz="1500"/>
            </a:lvl1pPr>
            <a:lvl2pPr>
              <a:defRPr sz="1250"/>
            </a:lvl2pPr>
            <a:lvl3pPr>
              <a:defRPr sz="1125"/>
            </a:lvl3pPr>
            <a:lvl4pPr>
              <a:defRPr sz="10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3999" y="6174952"/>
            <a:ext cx="11201655" cy="435429"/>
          </a:xfrm>
        </p:spPr>
        <p:txBody>
          <a:bodyPr anchor="b">
            <a:noAutofit/>
          </a:bodyPr>
          <a:lstStyle>
            <a:lvl1pPr marL="0" indent="0">
              <a:buNone/>
              <a:defRPr sz="750"/>
            </a:lvl1pPr>
          </a:lstStyle>
          <a:p>
            <a:pPr lvl="0"/>
            <a:r>
              <a:rPr lang="en-US" dirty="0"/>
              <a:t>Referenc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410209" y="6550226"/>
            <a:ext cx="781793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DEC785-F459-40EE-916E-4E467132826C}" type="slidenum">
              <a:rPr lang="en-US" sz="1125" smtClean="0"/>
              <a:pPr algn="r"/>
              <a:t>‹#›</a:t>
            </a:fld>
            <a:endParaRPr lang="en-US" sz="1250" dirty="0"/>
          </a:p>
        </p:txBody>
      </p:sp>
    </p:spTree>
    <p:extLst>
      <p:ext uri="{BB962C8B-B14F-4D97-AF65-F5344CB8AC3E}">
        <p14:creationId xmlns:p14="http://schemas.microsoft.com/office/powerpoint/2010/main" val="385930009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93999" y="6174952"/>
            <a:ext cx="11201655" cy="435429"/>
          </a:xfrm>
        </p:spPr>
        <p:txBody>
          <a:bodyPr anchor="b">
            <a:noAutofit/>
          </a:bodyPr>
          <a:lstStyle>
            <a:lvl1pPr marL="0" indent="0">
              <a:buNone/>
              <a:defRPr sz="750"/>
            </a:lvl1pPr>
          </a:lstStyle>
          <a:p>
            <a:pPr lvl="0"/>
            <a:r>
              <a:rPr lang="en-US" dirty="0"/>
              <a:t>Referenc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410209" y="6550226"/>
            <a:ext cx="781793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DEC785-F459-40EE-916E-4E467132826C}" type="slidenum">
              <a:rPr lang="en-US" sz="1125" smtClean="0"/>
              <a:pPr algn="r"/>
              <a:t>‹#›</a:t>
            </a:fld>
            <a:endParaRPr lang="en-US" sz="1250" dirty="0"/>
          </a:p>
        </p:txBody>
      </p:sp>
    </p:spTree>
    <p:extLst>
      <p:ext uri="{BB962C8B-B14F-4D97-AF65-F5344CB8AC3E}">
        <p14:creationId xmlns:p14="http://schemas.microsoft.com/office/powerpoint/2010/main" val="261064371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999" y="1303847"/>
            <a:ext cx="11404005" cy="4317140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0070C0"/>
                </a:solidFill>
              </a:defRPr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410209" y="6550226"/>
            <a:ext cx="781793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2DEC785-F459-40EE-916E-4E467132826C}" type="slidenum">
              <a:rPr lang="en-US" sz="1125" smtClean="0"/>
              <a:pPr algn="r"/>
              <a:t>‹#›</a:t>
            </a:fld>
            <a:endParaRPr lang="en-US" sz="1250" dirty="0"/>
          </a:p>
        </p:txBody>
      </p:sp>
    </p:spTree>
    <p:extLst>
      <p:ext uri="{BB962C8B-B14F-4D97-AF65-F5344CB8AC3E}">
        <p14:creationId xmlns:p14="http://schemas.microsoft.com/office/powerpoint/2010/main" val="13168429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C7191D-575A-AE4C-8811-3A5927301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31061B-71D8-6B43-AA15-4E6CFFAC19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F2C19B-B948-1B43-BCB7-DE01452709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01244" y="6479317"/>
            <a:ext cx="2384425" cy="3444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F56FF4-B4D6-469C-A1A5-21984BBDBE7B}" type="datetime1">
              <a:rPr lang="en-US" smtClean="0">
                <a:solidFill>
                  <a:srgbClr val="FFFFFF"/>
                </a:solidFill>
                <a:latin typeface="Calibri"/>
              </a:rPr>
              <a:pPr>
                <a:defRPr/>
              </a:pPr>
              <a:t>11/11/22</a:t>
            </a:fld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919B50-EB69-AB4B-81E1-669A517F13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27389" y="6469792"/>
            <a:ext cx="5741987" cy="3635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9F00FB-EE38-3E42-B30E-C442F050EB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8643" y="6474515"/>
            <a:ext cx="2481943" cy="3540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921FE4-F574-C347-99F5-34E97992E311}" type="slidenum">
              <a:rPr lang="en-US" smtClean="0">
                <a:solidFill>
                  <a:srgbClr val="FFFFFF"/>
                </a:solidFill>
                <a:latin typeface="Calibri"/>
              </a:rPr>
              <a:pPr>
                <a:defRPr/>
              </a:pPr>
              <a:t>‹#›</a:t>
            </a:fld>
            <a:r>
              <a:rPr lang="en-US" dirty="0">
                <a:solidFill>
                  <a:srgbClr val="FFFFFF"/>
                </a:solidFill>
                <a:latin typeface="Calibri"/>
              </a:rPr>
              <a:t> |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80789760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1CA7FE-2B3C-41B1-9E42-B1DA83F43618}" type="datetimeFigureOut">
              <a:rPr lang="en-US" smtClean="0"/>
              <a:t>11/11/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E9445B-CD89-4294-86A9-67D898A7C3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041855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" y="-2"/>
            <a:ext cx="12191999" cy="45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b="0" i="0" dirty="0">
              <a:solidFill>
                <a:schemeClr val="lt1"/>
              </a:solidFill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255214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5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Title</a:t>
            </a:r>
          </a:p>
          <a:p>
            <a:pPr lvl="0"/>
            <a:r>
              <a:rPr lang="en-US" dirty="0"/>
              <a:t>Goes Here</a:t>
            </a:r>
          </a:p>
        </p:txBody>
      </p:sp>
      <p:pic>
        <p:nvPicPr>
          <p:cNvPr id="3" name="Picture 2" descr="PREFERRED_full-color_MAYS-UTH-MDA_h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7520" y="5120640"/>
            <a:ext cx="4620768" cy="117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7985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Blue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" y="0"/>
            <a:ext cx="12191999" cy="45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b="0" i="0" dirty="0"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177157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3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</a:p>
          <a:p>
            <a:pPr lvl="0"/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1688107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Green">
    <p:bg>
      <p:bgPr>
        <a:solidFill>
          <a:schemeClr val="bg1">
            <a:alpha val="3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" y="0"/>
            <a:ext cx="12191999" cy="457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b="0" i="0" dirty="0">
              <a:latin typeface="Goudy Oldstyle Std Regular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57" y="1177158"/>
            <a:ext cx="9718347" cy="2715557"/>
          </a:xfrm>
        </p:spPr>
        <p:txBody>
          <a:bodyPr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3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</a:p>
          <a:p>
            <a:pPr lvl="0"/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2223492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" y="-2"/>
            <a:ext cx="12191999" cy="457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b="0" i="0" dirty="0">
              <a:solidFill>
                <a:schemeClr val="lt1"/>
              </a:solidFill>
              <a:latin typeface="Goudy Oldstyle Std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26592" y="1179576"/>
            <a:ext cx="9729216" cy="2715768"/>
          </a:xfrm>
        </p:spPr>
        <p:txBody>
          <a:bodyPr anchor="b" anchorCtr="0">
            <a:noAutofit/>
          </a:bodyPr>
          <a:lstStyle>
            <a:lvl1pPr>
              <a:defRPr sz="33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line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2521001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4464460"/>
            <a:ext cx="10515600" cy="1063486"/>
          </a:xfrm>
          <a:solidFill>
            <a:schemeClr val="tx1"/>
          </a:solidFill>
          <a:ln>
            <a:noFill/>
          </a:ln>
        </p:spPr>
        <p:txBody>
          <a:bodyPr lIns="182880" tIns="91440" rIns="274320" bIns="274320" anchor="t" anchorCtr="0">
            <a:normAutofit/>
          </a:bodyPr>
          <a:lstStyle>
            <a:lvl1pPr>
              <a:lnSpc>
                <a:spcPct val="100000"/>
              </a:lnSpc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insert photo caption.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838200" y="685835"/>
            <a:ext cx="10515600" cy="3778624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17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Text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597368"/>
            <a:ext cx="10515600" cy="1191092"/>
          </a:xfrm>
        </p:spPr>
        <p:txBody>
          <a:bodyPr>
            <a:normAutofit/>
          </a:bodyPr>
          <a:lstStyle>
            <a:lvl1pPr>
              <a:defRPr sz="3000" baseline="0"/>
            </a:lvl1pPr>
          </a:lstStyle>
          <a:p>
            <a:r>
              <a:rPr lang="en-US" dirty="0"/>
              <a:t>Click to insert Slide Head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9" y="1922930"/>
            <a:ext cx="5157787" cy="4172604"/>
          </a:xfrm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6484937" y="1922930"/>
            <a:ext cx="4870451" cy="3671046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2774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ubhead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5" y="1044076"/>
            <a:ext cx="3352800" cy="569572"/>
          </a:xfrm>
        </p:spPr>
        <p:txBody>
          <a:bodyPr>
            <a:normAutofit/>
          </a:bodyPr>
          <a:lstStyle>
            <a:lvl1pPr>
              <a:defRPr sz="2025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Headline 1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7" y="1775015"/>
            <a:ext cx="3352800" cy="3757657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563"/>
              </a:spcBef>
              <a:buNone/>
              <a:defRPr sz="13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4384353" y="1775015"/>
            <a:ext cx="3352800" cy="3757657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563"/>
              </a:spcBef>
              <a:buNone/>
              <a:defRPr sz="13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7928920" y="1775015"/>
            <a:ext cx="3352800" cy="3757656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563"/>
              </a:spcBef>
              <a:buNone/>
              <a:defRPr sz="13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384351" y="1043609"/>
            <a:ext cx="3352800" cy="569572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025">
                <a:solidFill>
                  <a:schemeClr val="accent1"/>
                </a:solidFill>
              </a:defRPr>
            </a:lvl1pPr>
            <a:lvl2pPr marL="257175" indent="0">
              <a:buNone/>
              <a:defRPr sz="2025">
                <a:solidFill>
                  <a:schemeClr val="accent1"/>
                </a:solidFill>
              </a:defRPr>
            </a:lvl2pPr>
            <a:lvl3pPr marL="514350" indent="0">
              <a:buNone/>
              <a:defRPr sz="2025">
                <a:solidFill>
                  <a:schemeClr val="accent1"/>
                </a:solidFill>
              </a:defRPr>
            </a:lvl3pPr>
            <a:lvl4pPr marL="771525" indent="0">
              <a:buNone/>
              <a:defRPr sz="2025">
                <a:solidFill>
                  <a:schemeClr val="accent1"/>
                </a:solidFill>
              </a:defRPr>
            </a:lvl4pPr>
            <a:lvl5pPr marL="1028700" indent="0">
              <a:buNone/>
              <a:defRPr sz="202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Headline 2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7928919" y="1043065"/>
            <a:ext cx="3352800" cy="569837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025">
                <a:solidFill>
                  <a:schemeClr val="accent1"/>
                </a:solidFill>
              </a:defRPr>
            </a:lvl1pPr>
            <a:lvl2pPr marL="257175" indent="0">
              <a:buNone/>
              <a:defRPr sz="2025">
                <a:solidFill>
                  <a:schemeClr val="accent1"/>
                </a:solidFill>
              </a:defRPr>
            </a:lvl2pPr>
            <a:lvl3pPr marL="514350" indent="0">
              <a:buNone/>
              <a:defRPr sz="2025">
                <a:solidFill>
                  <a:schemeClr val="accent1"/>
                </a:solidFill>
              </a:defRPr>
            </a:lvl3pPr>
            <a:lvl4pPr marL="771525" indent="0">
              <a:buNone/>
              <a:defRPr sz="2025">
                <a:solidFill>
                  <a:schemeClr val="accent1"/>
                </a:solidFill>
              </a:defRPr>
            </a:lvl4pPr>
            <a:lvl5pPr marL="1028700" indent="0">
              <a:buNone/>
              <a:defRPr sz="202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124305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871006"/>
            <a:ext cx="10515600" cy="699379"/>
          </a:xfrm>
        </p:spPr>
        <p:txBody>
          <a:bodyPr>
            <a:normAutofit/>
          </a:bodyPr>
          <a:lstStyle>
            <a:lvl1pPr>
              <a:defRPr sz="3000" baseline="0"/>
            </a:lvl1pPr>
          </a:lstStyle>
          <a:p>
            <a:r>
              <a:rPr lang="en-US" dirty="0"/>
              <a:t>Click to insert Slide Head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8" y="2268590"/>
            <a:ext cx="5050024" cy="3273927"/>
          </a:xfrm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6306672" y="2268590"/>
            <a:ext cx="5048717" cy="3273927"/>
          </a:xfrm>
        </p:spPr>
        <p:txBody>
          <a:bodyPr>
            <a:normAutofit/>
          </a:bodyPr>
          <a:lstStyle>
            <a:lvl1pPr marL="0" indent="0">
              <a:buNone/>
              <a:defRPr sz="16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39789" y="1632479"/>
            <a:ext cx="5049835" cy="544194"/>
          </a:xfrm>
        </p:spPr>
        <p:txBody>
          <a:bodyPr anchor="ctr" anchorCtr="0">
            <a:normAutofit/>
          </a:bodyPr>
          <a:lstStyle>
            <a:lvl1pPr marL="0" indent="0">
              <a:spcBef>
                <a:spcPts val="0"/>
              </a:spcBef>
              <a:buNone/>
              <a:defRPr sz="2025" baseline="0">
                <a:solidFill>
                  <a:schemeClr val="accent1"/>
                </a:solidFill>
              </a:defRPr>
            </a:lvl1pPr>
            <a:lvl2pPr>
              <a:defRPr sz="2025">
                <a:solidFill>
                  <a:schemeClr val="accent1">
                    <a:lumMod val="40000"/>
                    <a:lumOff val="60000"/>
                  </a:schemeClr>
                </a:solidFill>
              </a:defRPr>
            </a:lvl2pPr>
            <a:lvl3pPr>
              <a:defRPr sz="2025">
                <a:solidFill>
                  <a:schemeClr val="accent1">
                    <a:lumMod val="40000"/>
                    <a:lumOff val="60000"/>
                  </a:schemeClr>
                </a:solidFill>
              </a:defRPr>
            </a:lvl3pPr>
            <a:lvl4pPr>
              <a:defRPr sz="2025">
                <a:solidFill>
                  <a:schemeClr val="accent1">
                    <a:lumMod val="40000"/>
                    <a:lumOff val="60000"/>
                  </a:schemeClr>
                </a:solidFill>
              </a:defRPr>
            </a:lvl4pPr>
            <a:lvl5pPr>
              <a:defRPr sz="2025">
                <a:solidFill>
                  <a:schemeClr val="accent1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306672" y="1632852"/>
            <a:ext cx="5048717" cy="544194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025">
                <a:solidFill>
                  <a:schemeClr val="accent1"/>
                </a:solidFill>
              </a:defRPr>
            </a:lvl1pPr>
            <a:lvl2pPr marL="257175" indent="0">
              <a:buNone/>
              <a:defRPr sz="2025">
                <a:solidFill>
                  <a:schemeClr val="accent1"/>
                </a:solidFill>
              </a:defRPr>
            </a:lvl2pPr>
            <a:lvl3pPr marL="514350" indent="0">
              <a:buNone/>
              <a:defRPr sz="2025">
                <a:solidFill>
                  <a:schemeClr val="accent1"/>
                </a:solidFill>
              </a:defRPr>
            </a:lvl3pPr>
            <a:lvl4pPr marL="771525" indent="0">
              <a:buNone/>
              <a:defRPr sz="2025">
                <a:solidFill>
                  <a:schemeClr val="accent1"/>
                </a:solidFill>
              </a:defRPr>
            </a:lvl4pPr>
            <a:lvl5pPr marL="1028700" indent="0">
              <a:buNone/>
              <a:defRPr sz="202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</p:spTree>
    <p:extLst>
      <p:ext uri="{BB962C8B-B14F-4D97-AF65-F5344CB8AC3E}">
        <p14:creationId xmlns:p14="http://schemas.microsoft.com/office/powerpoint/2010/main" val="468368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77816"/>
            <a:ext cx="10515600" cy="696323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0" y="2373023"/>
            <a:ext cx="10515600" cy="3238407"/>
          </a:xfrm>
        </p:spPr>
        <p:txBody>
          <a:bodyPr numCol="3" spcCol="274320">
            <a:normAutofit/>
          </a:bodyPr>
          <a:lstStyle>
            <a:lvl1pPr marL="0" indent="0">
              <a:buNone/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623831"/>
            <a:ext cx="10515600" cy="552839"/>
          </a:xfrm>
        </p:spPr>
        <p:txBody>
          <a:bodyPr anchor="ctr" anchorCtr="0">
            <a:normAutofit/>
          </a:bodyPr>
          <a:lstStyle>
            <a:lvl1pPr marL="0" indent="0">
              <a:spcBef>
                <a:spcPts val="0"/>
              </a:spcBef>
              <a:buNone/>
              <a:defRPr sz="2025" baseline="0">
                <a:solidFill>
                  <a:schemeClr val="accent1"/>
                </a:solidFill>
              </a:defRPr>
            </a:lvl1pPr>
            <a:lvl2pPr>
              <a:defRPr sz="2700">
                <a:solidFill>
                  <a:schemeClr val="accent1">
                    <a:lumMod val="40000"/>
                    <a:lumOff val="60000"/>
                  </a:schemeClr>
                </a:solidFill>
              </a:defRPr>
            </a:lvl2pPr>
            <a:lvl3pPr>
              <a:defRPr sz="2700">
                <a:solidFill>
                  <a:schemeClr val="accent1">
                    <a:lumMod val="40000"/>
                    <a:lumOff val="60000"/>
                  </a:schemeClr>
                </a:solidFill>
              </a:defRPr>
            </a:lvl3pPr>
            <a:lvl4pPr>
              <a:defRPr sz="2700">
                <a:solidFill>
                  <a:schemeClr val="accent1">
                    <a:lumMod val="40000"/>
                    <a:lumOff val="60000"/>
                  </a:schemeClr>
                </a:solidFill>
              </a:defRPr>
            </a:lvl4pPr>
            <a:lvl5pPr>
              <a:defRPr sz="2700">
                <a:solidFill>
                  <a:schemeClr val="accent1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en-US" dirty="0"/>
              <a:t>Insert Subhead</a:t>
            </a:r>
          </a:p>
        </p:txBody>
      </p:sp>
    </p:spTree>
    <p:extLst>
      <p:ext uri="{BB962C8B-B14F-4D97-AF65-F5344CB8AC3E}">
        <p14:creationId xmlns:p14="http://schemas.microsoft.com/office/powerpoint/2010/main" val="327243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8">
            <a:extLst>
              <a:ext uri="{FF2B5EF4-FFF2-40B4-BE49-F238E27FC236}">
                <a16:creationId xmlns:a16="http://schemas.microsoft.com/office/drawing/2014/main" id="{5068C083-0471-DE49-B269-23609A61F0E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duotone>
              <a:prstClr val="black"/>
              <a:srgbClr val="0971CE">
                <a:tint val="45000"/>
                <a:satMod val="400000"/>
              </a:srgbClr>
            </a:duotone>
          </a:blip>
          <a:srcRect l="-73" t="16157" r="73" b="8091"/>
          <a:stretch/>
        </p:blipFill>
        <p:spPr>
          <a:xfrm>
            <a:off x="264923" y="-1"/>
            <a:ext cx="11649456" cy="63032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AC06394-D2DF-6E48-8218-373049C1D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79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C3C095-30B4-C64D-8EBD-D7A498A843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66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3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0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071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340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607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87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140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8D32A1A-624A-9F44-8E8D-834D08D9E7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01244" y="6479317"/>
            <a:ext cx="2384425" cy="344487"/>
          </a:xfrm>
        </p:spPr>
        <p:txBody>
          <a:bodyPr/>
          <a:lstStyle>
            <a:lvl1pPr algn="r">
              <a:defRPr sz="9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8A1C734-815F-4B8B-AFFE-709B39795D99}" type="datetime1">
              <a:rPr lang="en-US">
                <a:solidFill>
                  <a:srgbClr val="FFFFFF"/>
                </a:solidFill>
                <a:latin typeface="Calibri"/>
              </a:rPr>
              <a:pPr>
                <a:defRPr/>
              </a:pPr>
              <a:t>11/11/22</a:t>
            </a:fld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4CD8D31-2CB0-F94D-BB5C-34718ED61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27389" y="6469792"/>
            <a:ext cx="5741987" cy="363537"/>
          </a:xfrm>
        </p:spPr>
        <p:txBody>
          <a:bodyPr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90D4850-77E8-1E44-8049-3C01DAFBB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8643" y="6474515"/>
            <a:ext cx="2481943" cy="354012"/>
          </a:xfrm>
        </p:spPr>
        <p:txBody>
          <a:bodyPr/>
          <a:lstStyle>
            <a:lvl1pPr algn="l">
              <a:defRPr sz="9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ACB2778-B0EE-A64F-8D09-1DDB064F467F}" type="slidenum">
              <a:rPr lang="en-US">
                <a:solidFill>
                  <a:srgbClr val="FFFFFF"/>
                </a:solidFill>
                <a:latin typeface="Calibri"/>
              </a:rPr>
              <a:pPr>
                <a:defRPr/>
              </a:pPr>
              <a:t>‹#›</a:t>
            </a:fld>
            <a:r>
              <a:rPr lang="en-US" dirty="0">
                <a:solidFill>
                  <a:srgbClr val="FFFFFF"/>
                </a:solidFill>
                <a:latin typeface="Calibri"/>
              </a:rPr>
              <a:t> |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430281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Text +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99084"/>
            <a:ext cx="10515600" cy="586992"/>
          </a:xfrm>
        </p:spPr>
        <p:txBody>
          <a:bodyPr>
            <a:normAutofit/>
          </a:bodyPr>
          <a:lstStyle>
            <a:lvl1pPr>
              <a:defRPr sz="202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3" y="1788613"/>
            <a:ext cx="10515599" cy="3111381"/>
          </a:xfrm>
        </p:spPr>
        <p:txBody>
          <a:bodyPr numCol="4" spcCol="274320">
            <a:normAutofit/>
          </a:bodyPr>
          <a:lstStyle>
            <a:lvl1pPr marL="0" indent="0">
              <a:lnSpc>
                <a:spcPct val="90000"/>
              </a:lnSpc>
              <a:spcBef>
                <a:spcPts val="750"/>
              </a:spcBef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2" y="5874029"/>
            <a:ext cx="7852087" cy="728397"/>
          </a:xfrm>
        </p:spPr>
        <p:txBody>
          <a:bodyPr anchor="t" anchorCtr="0">
            <a:normAutofit/>
          </a:bodyPr>
          <a:lstStyle>
            <a:lvl1pPr>
              <a:lnSpc>
                <a:spcPct val="110000"/>
              </a:lnSpc>
              <a:defRPr sz="825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defRPr sz="1125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125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125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125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insert footer content. </a:t>
            </a:r>
          </a:p>
        </p:txBody>
      </p:sp>
    </p:spTree>
    <p:extLst>
      <p:ext uri="{BB962C8B-B14F-4D97-AF65-F5344CB8AC3E}">
        <p14:creationId xmlns:p14="http://schemas.microsoft.com/office/powerpoint/2010/main" val="3840700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04491"/>
            <a:ext cx="10515600" cy="586991"/>
          </a:xfrm>
        </p:spPr>
        <p:txBody>
          <a:bodyPr>
            <a:normAutofit/>
          </a:bodyPr>
          <a:lstStyle>
            <a:lvl1pPr>
              <a:defRPr sz="202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8203" y="1788662"/>
            <a:ext cx="10515599" cy="3628167"/>
          </a:xfrm>
        </p:spPr>
        <p:txBody>
          <a:bodyPr numCol="3" spcCol="274320">
            <a:normAutofit/>
          </a:bodyPr>
          <a:lstStyle>
            <a:lvl1pPr marL="0" indent="0">
              <a:lnSpc>
                <a:spcPct val="90000"/>
              </a:lnSpc>
              <a:spcBef>
                <a:spcPts val="750"/>
              </a:spcBef>
              <a:buNone/>
              <a:defRPr sz="13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750787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91" y="3375459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125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3532563" y="3375459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125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6225335" y="3375459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125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2" hasCustomPrompt="1"/>
          </p:nvPr>
        </p:nvSpPr>
        <p:spPr>
          <a:xfrm>
            <a:off x="8918110" y="3375459"/>
            <a:ext cx="2404316" cy="1963269"/>
          </a:xfrm>
        </p:spPr>
        <p:txBody>
          <a:bodyPr>
            <a:normAutofit/>
          </a:bodyPr>
          <a:lstStyle>
            <a:lvl1pPr marL="0" indent="0">
              <a:buNone/>
              <a:defRPr sz="1125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short paragraph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141042" y="1563452"/>
            <a:ext cx="1062319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950" b="0" i="0" dirty="0">
                <a:solidFill>
                  <a:schemeClr val="bg2"/>
                </a:solidFill>
                <a:latin typeface="Goudy Oldstyle Std Regular" charset="0"/>
                <a:ea typeface="Goudy Oldstyle Std Regular" charset="0"/>
                <a:cs typeface="Goudy Oldstyle Std Regular" charset="0"/>
              </a:rPr>
              <a:t>2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839789" y="1415777"/>
            <a:ext cx="2178424" cy="1636776"/>
          </a:xfrm>
          <a:prstGeom prst="ellipse">
            <a:avLst/>
          </a:prstGeom>
          <a:solidFill>
            <a:schemeClr val="accent4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25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3539287" y="1415777"/>
            <a:ext cx="2178424" cy="1636776"/>
          </a:xfrm>
          <a:prstGeom prst="ellipse">
            <a:avLst/>
          </a:prstGeom>
          <a:solidFill>
            <a:schemeClr val="accent2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25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6225335" y="1415777"/>
            <a:ext cx="2178424" cy="1636776"/>
          </a:xfrm>
          <a:prstGeom prst="ellipse">
            <a:avLst/>
          </a:prstGeom>
          <a:solidFill>
            <a:schemeClr val="accent1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25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8911384" y="1415777"/>
            <a:ext cx="2178424" cy="1636776"/>
          </a:xfrm>
          <a:prstGeom prst="ellipse">
            <a:avLst/>
          </a:prstGeom>
          <a:solidFill>
            <a:schemeClr val="accent3"/>
          </a:solidFill>
          <a:effectLst/>
        </p:spPr>
        <p:txBody>
          <a:bodyPr lIns="274320" tIns="274320" rIns="274320" bIns="274320" anchor="ctr" anchorCtr="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525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947481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31852" y="1371511"/>
            <a:ext cx="10597029" cy="3886293"/>
          </a:xfrm>
        </p:spPr>
        <p:txBody>
          <a:bodyPr anchor="ctr" anchorCtr="0">
            <a:normAutofit/>
          </a:bodyPr>
          <a:lstStyle>
            <a:lvl1pPr marL="0" marR="0" indent="0" algn="l" defTabSz="514350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4500" baseline="0">
                <a:solidFill>
                  <a:schemeClr val="bg1"/>
                </a:solidFill>
              </a:defRPr>
            </a:lvl1pPr>
            <a:lvl2pPr marL="257175" indent="0">
              <a:buNone/>
              <a:defRPr sz="3375">
                <a:solidFill>
                  <a:schemeClr val="bg1"/>
                </a:solidFill>
              </a:defRPr>
            </a:lvl2pPr>
            <a:lvl3pPr marL="514350" indent="0">
              <a:buNone/>
              <a:defRPr sz="3375">
                <a:solidFill>
                  <a:schemeClr val="bg1"/>
                </a:solidFill>
              </a:defRPr>
            </a:lvl3pPr>
            <a:lvl4pPr marL="771525" indent="0">
              <a:buNone/>
              <a:defRPr sz="3375">
                <a:solidFill>
                  <a:schemeClr val="bg1"/>
                </a:solidFill>
              </a:defRPr>
            </a:lvl4pPr>
            <a:lvl5pPr marL="1028700" indent="0">
              <a:buNone/>
              <a:defRPr sz="3375">
                <a:solidFill>
                  <a:schemeClr val="bg1"/>
                </a:solidFill>
              </a:defRPr>
            </a:lvl5pPr>
          </a:lstStyle>
          <a:p>
            <a:pPr marL="0" marR="0" lvl="0" indent="0" algn="l" defTabSz="514350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Insert inspiring quote here. Insert inspiring quote here.</a:t>
            </a:r>
          </a:p>
        </p:txBody>
      </p:sp>
      <p:pic>
        <p:nvPicPr>
          <p:cNvPr id="2" name="Picture 1" descr="PREFERRED_full-reverse_MAYS-UTH-MDA-h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3804" y="5852163"/>
            <a:ext cx="2609088" cy="662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886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597368"/>
            <a:ext cx="10515600" cy="806889"/>
          </a:xfrm>
        </p:spPr>
        <p:txBody>
          <a:bodyPr>
            <a:normAutofit/>
          </a:bodyPr>
          <a:lstStyle>
            <a:lvl1pPr>
              <a:defRPr sz="2025" baseline="0"/>
            </a:lvl1pPr>
          </a:lstStyle>
          <a:p>
            <a:r>
              <a:rPr lang="en-US" dirty="0"/>
              <a:t>Click to insert Chart 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839790" y="1567544"/>
            <a:ext cx="10515601" cy="4034038"/>
          </a:xfrm>
        </p:spPr>
        <p:txBody>
          <a:bodyPr anchor="ctr" anchorCtr="0"/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4096857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9126074" y="4666133"/>
            <a:ext cx="3065929" cy="21918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</p:spTree>
    <p:extLst>
      <p:ext uri="{BB962C8B-B14F-4D97-AF65-F5344CB8AC3E}">
        <p14:creationId xmlns:p14="http://schemas.microsoft.com/office/powerpoint/2010/main" val="1756477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2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90422-FAC2-1B47-B696-15B7C4FF0E2E}" type="datetime1">
              <a:rPr lang="en-US" smtClean="0"/>
              <a:pPr/>
              <a:t>11/11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ABAB64-726D-C943-9B15-2E81C6025A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490456"/>
            <a:ext cx="10972800" cy="713539"/>
          </a:xfr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368925"/>
            <a:ext cx="10972800" cy="4947903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614887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DA7E4252-9FC0-4914-A2C0-12B2E25756A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9741" y="1565236"/>
            <a:ext cx="10521951" cy="4098969"/>
          </a:xfrm>
          <a:prstGeom prst="rect">
            <a:avLst/>
          </a:prstGeom>
        </p:spPr>
        <p:txBody>
          <a:bodyPr/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>
              <a:buClr>
                <a:srgbClr val="C00000"/>
              </a:buClr>
              <a:buSzPct val="120000"/>
            </a:pPr>
            <a:r>
              <a:rPr lang="en-US" dirty="0"/>
              <a:t>Edit Master text styles</a:t>
            </a:r>
          </a:p>
          <a:p>
            <a:pPr lvl="1">
              <a:buSzPct val="90000"/>
              <a:buFont typeface="Courier New" panose="02070309020205020404" pitchFamily="49" charset="0"/>
              <a:buChar char="o"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A89C7A-4E2A-4A29-8C30-F3AAEF9AC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045" y="320680"/>
            <a:ext cx="10515600" cy="450889"/>
          </a:xfrm>
          <a:prstGeom prst="rect">
            <a:avLst/>
          </a:prstGeom>
        </p:spPr>
        <p:txBody>
          <a:bodyPr anchor="b"/>
          <a:lstStyle/>
          <a:p>
            <a:r>
              <a:rPr lang="en-US" sz="1575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Headline style and text for interior slides single lin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49FABF1-AFAD-4607-84F1-06E305EDBC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3045" y="5664201"/>
            <a:ext cx="5772955" cy="7747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5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991219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s Spe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hapter Title</a:t>
            </a:r>
            <a:endParaRPr lang="de-AT" dirty="0"/>
          </a:p>
        </p:txBody>
      </p:sp>
      <p:sp>
        <p:nvSpPr>
          <p:cNvPr id="23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6385084" y="1628781"/>
            <a:ext cx="4992000" cy="4608513"/>
          </a:xfrm>
        </p:spPr>
        <p:txBody>
          <a:bodyPr/>
          <a:lstStyle>
            <a:lvl1pPr>
              <a:lnSpc>
                <a:spcPts val="1800"/>
              </a:lnSpc>
              <a:defRPr sz="1800">
                <a:solidFill>
                  <a:schemeClr val="accent1">
                    <a:lumMod val="10000"/>
                  </a:schemeClr>
                </a:solidFill>
              </a:defRPr>
            </a:lvl1pPr>
            <a:lvl2pPr marL="0" indent="0">
              <a:buClr>
                <a:schemeClr val="bg1"/>
              </a:buClr>
              <a:buSzPct val="25000"/>
              <a:defRPr>
                <a:solidFill>
                  <a:srgbClr val="7F7F7F"/>
                </a:solidFill>
              </a:defRPr>
            </a:lvl2pPr>
            <a:lvl3pPr marL="0" indent="0">
              <a:buClr>
                <a:schemeClr val="bg1"/>
              </a:buClr>
              <a:buSzPct val="25000"/>
              <a:buFont typeface="Arial" panose="020B0604020202020204" pitchFamily="34" charset="0"/>
              <a:buChar char="•"/>
              <a:defRPr i="1">
                <a:solidFill>
                  <a:schemeClr val="accent1">
                    <a:lumMod val="10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10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10000"/>
                  </a:schemeClr>
                </a:solidFill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</a:p>
          <a:p>
            <a:pPr lvl="1"/>
            <a:r>
              <a:rPr lang="fr-FR" dirty="0"/>
              <a:t>“</a:t>
            </a:r>
            <a:r>
              <a:rPr lang="fr-FR" dirty="0" err="1"/>
              <a:t>Aenean</a:t>
            </a:r>
            <a:r>
              <a:rPr lang="fr-FR" dirty="0"/>
              <a:t> massa. 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“</a:t>
            </a: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814924" y="6381328"/>
            <a:ext cx="10562167" cy="0"/>
          </a:xfrm>
          <a:prstGeom prst="line">
            <a:avLst/>
          </a:prstGeom>
          <a:ln w="3175">
            <a:solidFill>
              <a:srgbClr val="695E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814916" y="1628781"/>
            <a:ext cx="4992000" cy="4608513"/>
          </a:xfrm>
        </p:spPr>
        <p:txBody>
          <a:bodyPr/>
          <a:lstStyle>
            <a:lvl1pPr marL="257175" indent="-257175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  <a:defRPr>
                <a:solidFill>
                  <a:schemeClr val="accent1">
                    <a:lumMod val="10000"/>
                  </a:schemeClr>
                </a:solidFill>
              </a:defRPr>
            </a:lvl1pPr>
            <a:lvl2pPr marL="407194" indent="-271463">
              <a:lnSpc>
                <a:spcPct val="100000"/>
              </a:lnSpc>
              <a:spcBef>
                <a:spcPts val="0"/>
              </a:spcBef>
              <a:defRPr>
                <a:solidFill>
                  <a:schemeClr val="accent1">
                    <a:lumMod val="10000"/>
                  </a:schemeClr>
                </a:solidFill>
              </a:defRPr>
            </a:lvl2pPr>
            <a:lvl3pPr marL="607219" indent="-335756">
              <a:lnSpc>
                <a:spcPct val="100000"/>
              </a:lnSpc>
              <a:spcBef>
                <a:spcPts val="0"/>
              </a:spcBef>
              <a:defRPr baseline="0">
                <a:solidFill>
                  <a:schemeClr val="accent1">
                    <a:lumMod val="10000"/>
                  </a:schemeClr>
                </a:solidFill>
              </a:defRPr>
            </a:lvl3pPr>
            <a:lvl4pPr marL="742950" indent="-335756">
              <a:lnSpc>
                <a:spcPct val="100000"/>
              </a:lnSpc>
              <a:spcBef>
                <a:spcPts val="0"/>
              </a:spcBef>
              <a:defRPr>
                <a:solidFill>
                  <a:schemeClr val="accent1">
                    <a:lumMod val="10000"/>
                  </a:schemeClr>
                </a:solidFill>
              </a:defRPr>
            </a:lvl4pPr>
            <a:lvl5pPr marL="871538" indent="-335756">
              <a:lnSpc>
                <a:spcPct val="100000"/>
              </a:lnSpc>
              <a:spcBef>
                <a:spcPts val="0"/>
              </a:spcBef>
              <a:defRPr>
                <a:solidFill>
                  <a:schemeClr val="accent1">
                    <a:lumMod val="10000"/>
                  </a:schemeClr>
                </a:solidFill>
              </a:defRPr>
            </a:lvl5pPr>
            <a:lvl6pPr marL="1007269" indent="-264319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/>
            </a:lvl6pPr>
            <a:lvl7pPr marL="1214438" indent="-271463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tabLst/>
              <a:defRPr/>
            </a:lvl7pPr>
            <a:lvl8pPr marL="1414463" indent="-271463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defRPr/>
            </a:lvl8pPr>
            <a:lvl9pPr marL="1614488" indent="-271463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defRPr/>
            </a:lvl9pPr>
          </a:lstStyle>
          <a:p>
            <a:pPr lvl="0"/>
            <a:r>
              <a:rPr lang="de-DE" dirty="0"/>
              <a:t>Level 1</a:t>
            </a:r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</a:p>
          <a:p>
            <a:pPr lvl="5"/>
            <a:r>
              <a:rPr lang="de-DE" dirty="0"/>
              <a:t>Level 6</a:t>
            </a:r>
          </a:p>
          <a:p>
            <a:pPr lvl="6"/>
            <a:r>
              <a:rPr lang="de-DE" dirty="0"/>
              <a:t>Level 7</a:t>
            </a:r>
          </a:p>
          <a:p>
            <a:pPr lvl="7"/>
            <a:r>
              <a:rPr lang="de-DE" dirty="0"/>
              <a:t>Level 8</a:t>
            </a:r>
          </a:p>
          <a:p>
            <a:pPr lvl="8"/>
            <a:r>
              <a:rPr lang="de-DE" dirty="0"/>
              <a:t>Level 9</a:t>
            </a:r>
          </a:p>
        </p:txBody>
      </p:sp>
    </p:spTree>
    <p:extLst>
      <p:ext uri="{BB962C8B-B14F-4D97-AF65-F5344CB8AC3E}">
        <p14:creationId xmlns:p14="http://schemas.microsoft.com/office/powerpoint/2010/main" val="11269579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8817" y="414342"/>
            <a:ext cx="10086623" cy="4247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vert="horz" lIns="91376" tIns="45688" rIns="91376" bIns="45688" rtlCol="0" anchor="ctr"/>
          <a:lstStyle>
            <a:lvl1pPr>
              <a:defRPr lang="en-US" smtClean="0"/>
            </a:lvl1pPr>
          </a:lstStyle>
          <a:p>
            <a:pPr algn="r"/>
            <a:fld id="{CC611C88-BB67-448E-AF0C-E7770D6CC1F7}" type="slidenum">
              <a:rPr>
                <a:solidFill>
                  <a:srgbClr val="BABABA">
                    <a:lumMod val="75000"/>
                  </a:srgbClr>
                </a:solidFill>
              </a:rPr>
              <a:pPr algn="r"/>
              <a:t>‹#›</a:t>
            </a:fld>
            <a:endParaRPr>
              <a:solidFill>
                <a:srgbClr val="BABABA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>
              <a:solidFill>
                <a:srgbClr val="BABAB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557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image" Target="../media/image26.png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24" Type="http://schemas.openxmlformats.org/officeDocument/2006/relationships/theme" Target="../theme/theme10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slideLayout" Target="../slideLayouts/slideLayout12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26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slideLayout" Target="../slideLayouts/slideLayout150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slideLayout" Target="../slideLayouts/slideLayout147.xml"/><Relationship Id="rId27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153.xml"/><Relationship Id="rId16" Type="http://schemas.openxmlformats.org/officeDocument/2006/relationships/theme" Target="../theme/theme12.xml"/><Relationship Id="rId20" Type="http://schemas.openxmlformats.org/officeDocument/2006/relationships/image" Target="../media/image32.emf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6.xml"/><Relationship Id="rId10" Type="http://schemas.openxmlformats.org/officeDocument/2006/relationships/slideLayout" Target="../slideLayouts/slideLayout161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image" Target="../media/image39.png"/><Relationship Id="rId10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slideLayout" Target="../slideLayouts/slideLayout192.xml"/><Relationship Id="rId18" Type="http://schemas.openxmlformats.org/officeDocument/2006/relationships/slideLayout" Target="../slideLayouts/slideLayout197.xml"/><Relationship Id="rId3" Type="http://schemas.openxmlformats.org/officeDocument/2006/relationships/slideLayout" Target="../slideLayouts/slideLayout182.xml"/><Relationship Id="rId7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1.xml"/><Relationship Id="rId17" Type="http://schemas.openxmlformats.org/officeDocument/2006/relationships/slideLayout" Target="../slideLayouts/slideLayout196.xml"/><Relationship Id="rId2" Type="http://schemas.openxmlformats.org/officeDocument/2006/relationships/slideLayout" Target="../slideLayouts/slideLayout181.xml"/><Relationship Id="rId16" Type="http://schemas.openxmlformats.org/officeDocument/2006/relationships/slideLayout" Target="../slideLayouts/slideLayout195.xml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84.xml"/><Relationship Id="rId15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89.xml"/><Relationship Id="rId19" Type="http://schemas.openxmlformats.org/officeDocument/2006/relationships/theme" Target="../theme/theme14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13" Type="http://schemas.openxmlformats.org/officeDocument/2006/relationships/slideLayout" Target="../slideLayouts/slideLayout210.xml"/><Relationship Id="rId18" Type="http://schemas.openxmlformats.org/officeDocument/2006/relationships/slideLayout" Target="../slideLayouts/slideLayout215.xml"/><Relationship Id="rId3" Type="http://schemas.openxmlformats.org/officeDocument/2006/relationships/slideLayout" Target="../slideLayouts/slideLayout200.xml"/><Relationship Id="rId21" Type="http://schemas.openxmlformats.org/officeDocument/2006/relationships/slideLayout" Target="../slideLayouts/slideLayout218.xml"/><Relationship Id="rId7" Type="http://schemas.openxmlformats.org/officeDocument/2006/relationships/slideLayout" Target="../slideLayouts/slideLayout204.xml"/><Relationship Id="rId12" Type="http://schemas.openxmlformats.org/officeDocument/2006/relationships/slideLayout" Target="../slideLayouts/slideLayout209.xml"/><Relationship Id="rId17" Type="http://schemas.openxmlformats.org/officeDocument/2006/relationships/slideLayout" Target="../slideLayouts/slideLayout214.xml"/><Relationship Id="rId2" Type="http://schemas.openxmlformats.org/officeDocument/2006/relationships/slideLayout" Target="../slideLayouts/slideLayout199.xml"/><Relationship Id="rId16" Type="http://schemas.openxmlformats.org/officeDocument/2006/relationships/slideLayout" Target="../slideLayouts/slideLayout213.xml"/><Relationship Id="rId20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202.xml"/><Relationship Id="rId15" Type="http://schemas.openxmlformats.org/officeDocument/2006/relationships/slideLayout" Target="../slideLayouts/slideLayout212.xml"/><Relationship Id="rId23" Type="http://schemas.openxmlformats.org/officeDocument/2006/relationships/image" Target="../media/image26.png"/><Relationship Id="rId10" Type="http://schemas.openxmlformats.org/officeDocument/2006/relationships/slideLayout" Target="../slideLayouts/slideLayout207.xml"/><Relationship Id="rId19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Relationship Id="rId14" Type="http://schemas.openxmlformats.org/officeDocument/2006/relationships/slideLayout" Target="../slideLayouts/slideLayout211.xml"/><Relationship Id="rId22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g"/><Relationship Id="rId3" Type="http://schemas.openxmlformats.org/officeDocument/2006/relationships/slideLayout" Target="../slideLayouts/slideLayout221.xml"/><Relationship Id="rId7" Type="http://schemas.openxmlformats.org/officeDocument/2006/relationships/theme" Target="../theme/theme16.xml"/><Relationship Id="rId2" Type="http://schemas.openxmlformats.org/officeDocument/2006/relationships/slideLayout" Target="../slideLayouts/slideLayout220.xml"/><Relationship Id="rId1" Type="http://schemas.openxmlformats.org/officeDocument/2006/relationships/slideLayout" Target="../slideLayouts/slideLayout219.xml"/><Relationship Id="rId6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22.xml"/><Relationship Id="rId9" Type="http://schemas.openxmlformats.org/officeDocument/2006/relationships/image" Target="../media/image46.png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7.xml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theme" Target="../theme/theme17.xml"/><Relationship Id="rId5" Type="http://schemas.openxmlformats.org/officeDocument/2006/relationships/slideLayout" Target="../slideLayouts/slideLayout229.xml"/><Relationship Id="rId4" Type="http://schemas.openxmlformats.org/officeDocument/2006/relationships/slideLayout" Target="../slideLayouts/slideLayout22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7.xml"/><Relationship Id="rId13" Type="http://schemas.openxmlformats.org/officeDocument/2006/relationships/slideLayout" Target="../slideLayouts/slideLayout242.xml"/><Relationship Id="rId18" Type="http://schemas.openxmlformats.org/officeDocument/2006/relationships/slideLayout" Target="../slideLayouts/slideLayout247.xml"/><Relationship Id="rId26" Type="http://schemas.openxmlformats.org/officeDocument/2006/relationships/slideLayout" Target="../slideLayouts/slideLayout255.xml"/><Relationship Id="rId3" Type="http://schemas.openxmlformats.org/officeDocument/2006/relationships/slideLayout" Target="../slideLayouts/slideLayout232.xml"/><Relationship Id="rId21" Type="http://schemas.openxmlformats.org/officeDocument/2006/relationships/slideLayout" Target="../slideLayouts/slideLayout250.xml"/><Relationship Id="rId7" Type="http://schemas.openxmlformats.org/officeDocument/2006/relationships/slideLayout" Target="../slideLayouts/slideLayout236.xml"/><Relationship Id="rId12" Type="http://schemas.openxmlformats.org/officeDocument/2006/relationships/slideLayout" Target="../slideLayouts/slideLayout241.xml"/><Relationship Id="rId17" Type="http://schemas.openxmlformats.org/officeDocument/2006/relationships/slideLayout" Target="../slideLayouts/slideLayout246.xml"/><Relationship Id="rId25" Type="http://schemas.openxmlformats.org/officeDocument/2006/relationships/slideLayout" Target="../slideLayouts/slideLayout254.xml"/><Relationship Id="rId2" Type="http://schemas.openxmlformats.org/officeDocument/2006/relationships/slideLayout" Target="../slideLayouts/slideLayout231.xml"/><Relationship Id="rId16" Type="http://schemas.openxmlformats.org/officeDocument/2006/relationships/slideLayout" Target="../slideLayouts/slideLayout245.xml"/><Relationship Id="rId20" Type="http://schemas.openxmlformats.org/officeDocument/2006/relationships/slideLayout" Target="../slideLayouts/slideLayout249.xml"/><Relationship Id="rId29" Type="http://schemas.openxmlformats.org/officeDocument/2006/relationships/theme" Target="../theme/theme18.xml"/><Relationship Id="rId1" Type="http://schemas.openxmlformats.org/officeDocument/2006/relationships/slideLayout" Target="../slideLayouts/slideLayout230.xml"/><Relationship Id="rId6" Type="http://schemas.openxmlformats.org/officeDocument/2006/relationships/slideLayout" Target="../slideLayouts/slideLayout235.xml"/><Relationship Id="rId11" Type="http://schemas.openxmlformats.org/officeDocument/2006/relationships/slideLayout" Target="../slideLayouts/slideLayout240.xml"/><Relationship Id="rId24" Type="http://schemas.openxmlformats.org/officeDocument/2006/relationships/slideLayout" Target="../slideLayouts/slideLayout253.xml"/><Relationship Id="rId5" Type="http://schemas.openxmlformats.org/officeDocument/2006/relationships/slideLayout" Target="../slideLayouts/slideLayout234.xml"/><Relationship Id="rId15" Type="http://schemas.openxmlformats.org/officeDocument/2006/relationships/slideLayout" Target="../slideLayouts/slideLayout244.xml"/><Relationship Id="rId23" Type="http://schemas.openxmlformats.org/officeDocument/2006/relationships/slideLayout" Target="../slideLayouts/slideLayout252.xml"/><Relationship Id="rId28" Type="http://schemas.openxmlformats.org/officeDocument/2006/relationships/slideLayout" Target="../slideLayouts/slideLayout257.xml"/><Relationship Id="rId10" Type="http://schemas.openxmlformats.org/officeDocument/2006/relationships/slideLayout" Target="../slideLayouts/slideLayout239.xml"/><Relationship Id="rId19" Type="http://schemas.openxmlformats.org/officeDocument/2006/relationships/slideLayout" Target="../slideLayouts/slideLayout248.xml"/><Relationship Id="rId4" Type="http://schemas.openxmlformats.org/officeDocument/2006/relationships/slideLayout" Target="../slideLayouts/slideLayout233.xml"/><Relationship Id="rId9" Type="http://schemas.openxmlformats.org/officeDocument/2006/relationships/slideLayout" Target="../slideLayouts/slideLayout238.xml"/><Relationship Id="rId14" Type="http://schemas.openxmlformats.org/officeDocument/2006/relationships/slideLayout" Target="../slideLayouts/slideLayout243.xml"/><Relationship Id="rId22" Type="http://schemas.openxmlformats.org/officeDocument/2006/relationships/slideLayout" Target="../slideLayouts/slideLayout251.xml"/><Relationship Id="rId27" Type="http://schemas.openxmlformats.org/officeDocument/2006/relationships/slideLayout" Target="../slideLayouts/slideLayout256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0.xml"/><Relationship Id="rId2" Type="http://schemas.openxmlformats.org/officeDocument/2006/relationships/slideLayout" Target="../slideLayouts/slideLayout259.xml"/><Relationship Id="rId1" Type="http://schemas.openxmlformats.org/officeDocument/2006/relationships/slideLayout" Target="../slideLayouts/slideLayout258.xml"/><Relationship Id="rId6" Type="http://schemas.openxmlformats.org/officeDocument/2006/relationships/theme" Target="../theme/theme19.xml"/><Relationship Id="rId5" Type="http://schemas.openxmlformats.org/officeDocument/2006/relationships/slideLayout" Target="../slideLayouts/slideLayout262.xml"/><Relationship Id="rId4" Type="http://schemas.openxmlformats.org/officeDocument/2006/relationships/slideLayout" Target="../slideLayouts/slideLayout26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0.xml"/><Relationship Id="rId13" Type="http://schemas.openxmlformats.org/officeDocument/2006/relationships/slideLayout" Target="../slideLayouts/slideLayout275.xml"/><Relationship Id="rId18" Type="http://schemas.openxmlformats.org/officeDocument/2006/relationships/slideLayout" Target="../slideLayouts/slideLayout280.xml"/><Relationship Id="rId3" Type="http://schemas.openxmlformats.org/officeDocument/2006/relationships/slideLayout" Target="../slideLayouts/slideLayout265.xml"/><Relationship Id="rId21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69.xml"/><Relationship Id="rId12" Type="http://schemas.openxmlformats.org/officeDocument/2006/relationships/slideLayout" Target="../slideLayouts/slideLayout274.xml"/><Relationship Id="rId17" Type="http://schemas.openxmlformats.org/officeDocument/2006/relationships/slideLayout" Target="../slideLayouts/slideLayout279.xml"/><Relationship Id="rId2" Type="http://schemas.openxmlformats.org/officeDocument/2006/relationships/slideLayout" Target="../slideLayouts/slideLayout264.xml"/><Relationship Id="rId16" Type="http://schemas.openxmlformats.org/officeDocument/2006/relationships/slideLayout" Target="../slideLayouts/slideLayout278.xml"/><Relationship Id="rId20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63.xml"/><Relationship Id="rId6" Type="http://schemas.openxmlformats.org/officeDocument/2006/relationships/slideLayout" Target="../slideLayouts/slideLayout268.xml"/><Relationship Id="rId11" Type="http://schemas.openxmlformats.org/officeDocument/2006/relationships/slideLayout" Target="../slideLayouts/slideLayout273.xml"/><Relationship Id="rId5" Type="http://schemas.openxmlformats.org/officeDocument/2006/relationships/slideLayout" Target="../slideLayouts/slideLayout267.xml"/><Relationship Id="rId15" Type="http://schemas.openxmlformats.org/officeDocument/2006/relationships/slideLayout" Target="../slideLayouts/slideLayout277.xml"/><Relationship Id="rId23" Type="http://schemas.openxmlformats.org/officeDocument/2006/relationships/image" Target="../media/image49.png"/><Relationship Id="rId10" Type="http://schemas.openxmlformats.org/officeDocument/2006/relationships/slideLayout" Target="../slideLayouts/slideLayout272.xml"/><Relationship Id="rId19" Type="http://schemas.openxmlformats.org/officeDocument/2006/relationships/slideLayout" Target="../slideLayouts/slideLayout281.xml"/><Relationship Id="rId4" Type="http://schemas.openxmlformats.org/officeDocument/2006/relationships/slideLayout" Target="../slideLayouts/slideLayout266.xml"/><Relationship Id="rId9" Type="http://schemas.openxmlformats.org/officeDocument/2006/relationships/slideLayout" Target="../slideLayouts/slideLayout271.xml"/><Relationship Id="rId14" Type="http://schemas.openxmlformats.org/officeDocument/2006/relationships/slideLayout" Target="../slideLayouts/slideLayout276.xml"/><Relationship Id="rId22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6.xml"/><Relationship Id="rId18" Type="http://schemas.openxmlformats.org/officeDocument/2006/relationships/slideLayout" Target="../slideLayouts/slideLayout301.xml"/><Relationship Id="rId3" Type="http://schemas.openxmlformats.org/officeDocument/2006/relationships/slideLayout" Target="../slideLayouts/slideLayout286.xml"/><Relationship Id="rId21" Type="http://schemas.openxmlformats.org/officeDocument/2006/relationships/slideLayout" Target="../slideLayouts/slideLayout304.xml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17" Type="http://schemas.openxmlformats.org/officeDocument/2006/relationships/slideLayout" Target="../slideLayouts/slideLayout300.xml"/><Relationship Id="rId2" Type="http://schemas.openxmlformats.org/officeDocument/2006/relationships/slideLayout" Target="../slideLayouts/slideLayout285.xml"/><Relationship Id="rId16" Type="http://schemas.openxmlformats.org/officeDocument/2006/relationships/slideLayout" Target="../slideLayouts/slideLayout299.xml"/><Relationship Id="rId20" Type="http://schemas.openxmlformats.org/officeDocument/2006/relationships/slideLayout" Target="../slideLayouts/slideLayout303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5" Type="http://schemas.openxmlformats.org/officeDocument/2006/relationships/slideLayout" Target="../slideLayouts/slideLayout288.xml"/><Relationship Id="rId15" Type="http://schemas.openxmlformats.org/officeDocument/2006/relationships/slideLayout" Target="../slideLayouts/slideLayout298.xml"/><Relationship Id="rId23" Type="http://schemas.openxmlformats.org/officeDocument/2006/relationships/image" Target="../media/image52.png"/><Relationship Id="rId10" Type="http://schemas.openxmlformats.org/officeDocument/2006/relationships/slideLayout" Target="../slideLayouts/slideLayout293.xml"/><Relationship Id="rId19" Type="http://schemas.openxmlformats.org/officeDocument/2006/relationships/slideLayout" Target="../slideLayouts/slideLayout302.xml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slideLayout" Target="../slideLayouts/slideLayout297.xml"/><Relationship Id="rId22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2.xml"/><Relationship Id="rId3" Type="http://schemas.openxmlformats.org/officeDocument/2006/relationships/slideLayout" Target="../slideLayouts/slideLayout307.xml"/><Relationship Id="rId7" Type="http://schemas.openxmlformats.org/officeDocument/2006/relationships/slideLayout" Target="../slideLayouts/slideLayout311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306.xml"/><Relationship Id="rId1" Type="http://schemas.openxmlformats.org/officeDocument/2006/relationships/slideLayout" Target="../slideLayouts/slideLayout305.xml"/><Relationship Id="rId6" Type="http://schemas.openxmlformats.org/officeDocument/2006/relationships/slideLayout" Target="../slideLayouts/slideLayout310.xml"/><Relationship Id="rId11" Type="http://schemas.openxmlformats.org/officeDocument/2006/relationships/slideLayout" Target="../slideLayouts/slideLayout315.xml"/><Relationship Id="rId5" Type="http://schemas.openxmlformats.org/officeDocument/2006/relationships/slideLayout" Target="../slideLayouts/slideLayout309.xml"/><Relationship Id="rId10" Type="http://schemas.openxmlformats.org/officeDocument/2006/relationships/slideLayout" Target="../slideLayouts/slideLayout314.xml"/><Relationship Id="rId4" Type="http://schemas.openxmlformats.org/officeDocument/2006/relationships/slideLayout" Target="../slideLayouts/slideLayout308.xml"/><Relationship Id="rId9" Type="http://schemas.openxmlformats.org/officeDocument/2006/relationships/slideLayout" Target="../slideLayouts/slideLayout313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3.xml"/><Relationship Id="rId13" Type="http://schemas.openxmlformats.org/officeDocument/2006/relationships/slideLayout" Target="../slideLayouts/slideLayout328.xml"/><Relationship Id="rId18" Type="http://schemas.openxmlformats.org/officeDocument/2006/relationships/theme" Target="../theme/theme23.xml"/><Relationship Id="rId3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322.xml"/><Relationship Id="rId12" Type="http://schemas.openxmlformats.org/officeDocument/2006/relationships/slideLayout" Target="../slideLayouts/slideLayout327.xml"/><Relationship Id="rId17" Type="http://schemas.openxmlformats.org/officeDocument/2006/relationships/slideLayout" Target="../slideLayouts/slideLayout332.xml"/><Relationship Id="rId2" Type="http://schemas.openxmlformats.org/officeDocument/2006/relationships/slideLayout" Target="../slideLayouts/slideLayout317.xml"/><Relationship Id="rId16" Type="http://schemas.openxmlformats.org/officeDocument/2006/relationships/slideLayout" Target="../slideLayouts/slideLayout331.xml"/><Relationship Id="rId1" Type="http://schemas.openxmlformats.org/officeDocument/2006/relationships/slideLayout" Target="../slideLayouts/slideLayout316.xml"/><Relationship Id="rId6" Type="http://schemas.openxmlformats.org/officeDocument/2006/relationships/slideLayout" Target="../slideLayouts/slideLayout321.xml"/><Relationship Id="rId11" Type="http://schemas.openxmlformats.org/officeDocument/2006/relationships/slideLayout" Target="../slideLayouts/slideLayout326.xml"/><Relationship Id="rId5" Type="http://schemas.openxmlformats.org/officeDocument/2006/relationships/slideLayout" Target="../slideLayouts/slideLayout320.xml"/><Relationship Id="rId15" Type="http://schemas.openxmlformats.org/officeDocument/2006/relationships/slideLayout" Target="../slideLayouts/slideLayout330.xml"/><Relationship Id="rId10" Type="http://schemas.openxmlformats.org/officeDocument/2006/relationships/slideLayout" Target="../slideLayouts/slideLayout325.xml"/><Relationship Id="rId19" Type="http://schemas.openxmlformats.org/officeDocument/2006/relationships/image" Target="../media/image54.png"/><Relationship Id="rId4" Type="http://schemas.openxmlformats.org/officeDocument/2006/relationships/slideLayout" Target="../slideLayouts/slideLayout319.xml"/><Relationship Id="rId9" Type="http://schemas.openxmlformats.org/officeDocument/2006/relationships/slideLayout" Target="../slideLayouts/slideLayout324.xml"/><Relationship Id="rId14" Type="http://schemas.openxmlformats.org/officeDocument/2006/relationships/slideLayout" Target="../slideLayouts/slideLayout3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7.jpg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6.jp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6.jp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7.jp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image" Target="../media/image13.pn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image" Target="../media/image17.png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63.xml"/><Relationship Id="rId19" Type="http://schemas.openxmlformats.org/officeDocument/2006/relationships/image" Target="../media/image16.png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3.xml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75.xml"/><Relationship Id="rId4" Type="http://schemas.openxmlformats.org/officeDocument/2006/relationships/slideLayout" Target="../slideLayouts/slideLayout74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.xml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image" Target="../media/image26.png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theme" Target="../theme/theme9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"/>
            <a:ext cx="12192000" cy="11525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51587"/>
            <a:ext cx="10972800" cy="792163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95403"/>
            <a:ext cx="10972800" cy="4830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" y="6553200"/>
            <a:ext cx="10668000" cy="228600"/>
          </a:xfrm>
          <a:prstGeom prst="rect">
            <a:avLst/>
          </a:prstGeom>
        </p:spPr>
        <p:txBody>
          <a:bodyPr anchor="ctr"/>
          <a:lstStyle>
            <a:lvl1pPr>
              <a:defRPr sz="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5"/>
            <a:endParaRPr lang="en-US" dirty="0">
              <a:solidFill>
                <a:srgbClr val="323232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0800" y="6476360"/>
            <a:ext cx="609600" cy="305440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5"/>
            <a:fld id="{74EEA10D-E951-474C-8CD0-91078E47E9CB}" type="slidenum">
              <a:rPr lang="en-US" smtClean="0">
                <a:solidFill>
                  <a:srgbClr val="323232"/>
                </a:solidFill>
              </a:rPr>
              <a:pPr defTabSz="914355"/>
              <a:t>‹#›</a:t>
            </a:fld>
            <a:endParaRPr lang="en-US" dirty="0">
              <a:solidFill>
                <a:srgbClr val="323232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1152525"/>
            <a:ext cx="12192000" cy="0"/>
          </a:xfrm>
          <a:prstGeom prst="line">
            <a:avLst/>
          </a:prstGeom>
          <a:ln w="28575">
            <a:solidFill>
              <a:srgbClr val="84B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794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</p:sldLayoutIdLst>
  <p:hf hdr="0" ftr="0" dt="0"/>
  <p:txStyles>
    <p:titleStyle>
      <a:lvl1pPr algn="l" defTabSz="914355" rtl="0" eaLnBrk="1" latinLnBrk="0" hangingPunct="1">
        <a:spcBef>
          <a:spcPct val="0"/>
        </a:spcBef>
        <a:buNone/>
        <a:defRPr lang="en-US" sz="28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30177" indent="-230177" algn="l" defTabSz="914355" rtl="0" eaLnBrk="1" latinLnBrk="0" hangingPunct="1">
        <a:spcBef>
          <a:spcPts val="1000"/>
        </a:spcBef>
        <a:buClr>
          <a:schemeClr val="accent3"/>
        </a:buClr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25" indent="-227001" algn="l" defTabSz="914355" rtl="0" eaLnBrk="1" latinLnBrk="0" hangingPunct="1">
        <a:spcBef>
          <a:spcPts val="1000"/>
        </a:spcBef>
        <a:buClr>
          <a:schemeClr val="accent3"/>
        </a:buClr>
        <a:buFont typeface="Arial" panose="020B0604020202020204" pitchFamily="34" charset="0"/>
        <a:buChar char="–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96885" indent="-228588" algn="l" defTabSz="1314384" rtl="0" eaLnBrk="1" latinLnBrk="0" hangingPunct="1">
        <a:spcBef>
          <a:spcPts val="1000"/>
        </a:spcBef>
        <a:buClr>
          <a:schemeClr val="accent3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6117" indent="-228588" algn="l" defTabSz="914355" rtl="0" eaLnBrk="1" latinLnBrk="0" hangingPunct="1">
        <a:spcBef>
          <a:spcPts val="1000"/>
        </a:spcBef>
        <a:buClr>
          <a:schemeClr val="accent3"/>
        </a:buClr>
        <a:buFont typeface="Arial" panose="020B0604020202020204" pitchFamily="34" charset="0"/>
        <a:buChar char="–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427091" indent="-228588" algn="l" defTabSz="914355" rtl="0" eaLnBrk="1" latinLnBrk="0" hangingPunct="1">
        <a:spcBef>
          <a:spcPts val="1000"/>
        </a:spcBef>
        <a:buClr>
          <a:schemeClr val="accent3"/>
        </a:buClr>
        <a:buFont typeface="Arial" panose="020B0604020202020204" pitchFamily="34" charset="0"/>
        <a:buChar char="»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474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645461"/>
            <a:ext cx="10515600" cy="10452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37464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pic>
        <p:nvPicPr>
          <p:cNvPr id="4" name="Picture 3" descr="PREFERRED_full-color_MAYS-UTH-MDA_h.png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2620" y="5852160"/>
            <a:ext cx="2268393" cy="66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761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1" r:id="rId1"/>
    <p:sldLayoutId id="2147484702" r:id="rId2"/>
    <p:sldLayoutId id="2147484703" r:id="rId3"/>
    <p:sldLayoutId id="2147484704" r:id="rId4"/>
    <p:sldLayoutId id="2147484705" r:id="rId5"/>
    <p:sldLayoutId id="2147484706" r:id="rId6"/>
    <p:sldLayoutId id="2147484707" r:id="rId7"/>
    <p:sldLayoutId id="2147484708" r:id="rId8"/>
    <p:sldLayoutId id="2147484709" r:id="rId9"/>
    <p:sldLayoutId id="2147484710" r:id="rId10"/>
    <p:sldLayoutId id="2147484711" r:id="rId11"/>
    <p:sldLayoutId id="2147484712" r:id="rId12"/>
    <p:sldLayoutId id="2147484713" r:id="rId13"/>
    <p:sldLayoutId id="2147484714" r:id="rId14"/>
    <p:sldLayoutId id="2147484715" r:id="rId15"/>
    <p:sldLayoutId id="2147484718" r:id="rId16"/>
    <p:sldLayoutId id="2147484719" r:id="rId17"/>
    <p:sldLayoutId id="2147484720" r:id="rId18"/>
    <p:sldLayoutId id="2147484722" r:id="rId19"/>
    <p:sldLayoutId id="2147484723" r:id="rId20"/>
    <p:sldLayoutId id="2147484724" r:id="rId21"/>
    <p:sldLayoutId id="2147484725" r:id="rId22"/>
    <p:sldLayoutId id="2147484735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/>
        <a:buNone/>
        <a:defRPr sz="1800" b="0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342900" indent="0" algn="l" defTabSz="685800" rtl="0" eaLnBrk="1" latinLnBrk="0" hangingPunct="1">
        <a:lnSpc>
          <a:spcPct val="90000"/>
        </a:lnSpc>
        <a:spcBef>
          <a:spcPts val="375"/>
        </a:spcBef>
        <a:buFont typeface="Arial"/>
        <a:buNone/>
        <a:defRPr sz="180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2pPr>
      <a:lvl3pPr marL="685800" indent="0" algn="l" defTabSz="685800" rtl="0" eaLnBrk="1" latinLnBrk="0" hangingPunct="1">
        <a:lnSpc>
          <a:spcPct val="90000"/>
        </a:lnSpc>
        <a:spcBef>
          <a:spcPts val="375"/>
        </a:spcBef>
        <a:buFont typeface="Arial"/>
        <a:buNone/>
        <a:defRPr sz="150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3pPr>
      <a:lvl4pPr marL="1028700" indent="0" algn="l" defTabSz="685800" rtl="0" eaLnBrk="1" latinLnBrk="0" hangingPunct="1">
        <a:lnSpc>
          <a:spcPct val="90000"/>
        </a:lnSpc>
        <a:spcBef>
          <a:spcPts val="375"/>
        </a:spcBef>
        <a:buFont typeface="Arial"/>
        <a:buNone/>
        <a:defRPr sz="135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4pPr>
      <a:lvl5pPr marL="1371600" indent="0" algn="l" defTabSz="685800" rtl="0" eaLnBrk="1" latinLnBrk="0" hangingPunct="1">
        <a:lnSpc>
          <a:spcPct val="90000"/>
        </a:lnSpc>
        <a:spcBef>
          <a:spcPts val="375"/>
        </a:spcBef>
        <a:buFont typeface="Arial"/>
        <a:buNone/>
        <a:defRPr sz="135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0" cy="1085088"/>
          </a:xfrm>
          <a:prstGeom prst="rect">
            <a:avLst/>
          </a:prstGeom>
          <a:gradFill>
            <a:gsLst>
              <a:gs pos="16000">
                <a:srgbClr val="232C3D"/>
              </a:gs>
              <a:gs pos="100000">
                <a:srgbClr val="525F7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524256" y="1341442"/>
            <a:ext cx="11161776" cy="47164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02FF0C5-A667-5144-84A0-151212437B98}"/>
              </a:ext>
            </a:extLst>
          </p:cNvPr>
          <p:cNvSpPr txBox="1"/>
          <p:nvPr userDrawn="1"/>
        </p:nvSpPr>
        <p:spPr>
          <a:xfrm>
            <a:off x="664363" y="6642556"/>
            <a:ext cx="10863276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b="0" i="0" dirty="0">
                <a:solidFill>
                  <a:srgbClr val="7F7F7F"/>
                </a:solidFill>
                <a:latin typeface="Proxima Nova Rg" panose="02000506030000020004" pitchFamily="2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1120801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6" r:id="rId1"/>
    <p:sldLayoutId id="2147484997" r:id="rId2"/>
    <p:sldLayoutId id="2147484998" r:id="rId3"/>
    <p:sldLayoutId id="2147484999" r:id="rId4"/>
    <p:sldLayoutId id="2147485000" r:id="rId5"/>
    <p:sldLayoutId id="2147485001" r:id="rId6"/>
    <p:sldLayoutId id="2147485002" r:id="rId7"/>
    <p:sldLayoutId id="2147485003" r:id="rId8"/>
    <p:sldLayoutId id="2147485004" r:id="rId9"/>
    <p:sldLayoutId id="2147485005" r:id="rId10"/>
    <p:sldLayoutId id="2147485006" r:id="rId11"/>
    <p:sldLayoutId id="2147485007" r:id="rId12"/>
    <p:sldLayoutId id="2147485008" r:id="rId13"/>
    <p:sldLayoutId id="2147485009" r:id="rId14"/>
    <p:sldLayoutId id="2147485010" r:id="rId15"/>
    <p:sldLayoutId id="2147485011" r:id="rId16"/>
    <p:sldLayoutId id="2147485012" r:id="rId17"/>
    <p:sldLayoutId id="2147485013" r:id="rId18"/>
    <p:sldLayoutId id="2147485014" r:id="rId19"/>
    <p:sldLayoutId id="2147485015" r:id="rId20"/>
    <p:sldLayoutId id="2147485016" r:id="rId21"/>
    <p:sldLayoutId id="2147485017" r:id="rId22"/>
    <p:sldLayoutId id="2147485018" r:id="rId23"/>
    <p:sldLayoutId id="2147485019" r:id="rId24"/>
    <p:sldLayoutId id="2147485020" r:id="rId25"/>
    <p:sldLayoutId id="2147485021" r:id="rId26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700" kern="1200" cap="none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20000"/>
        </a:lnSpc>
        <a:spcBef>
          <a:spcPts val="0"/>
        </a:spcBef>
        <a:spcAft>
          <a:spcPts val="1350"/>
        </a:spcAft>
        <a:buFontTx/>
        <a:buNone/>
        <a:defRPr sz="15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135000" algn="l" defTabSz="685800" rtl="0" eaLnBrk="1" latinLnBrk="0" hangingPunct="1">
        <a:lnSpc>
          <a:spcPct val="120000"/>
        </a:lnSpc>
        <a:spcBef>
          <a:spcPts val="0"/>
        </a:spcBef>
        <a:spcAft>
          <a:spcPts val="450"/>
        </a:spcAft>
        <a:buClr>
          <a:schemeClr val="accent6"/>
        </a:buClr>
        <a:buFont typeface="Wingdings" panose="05000000000000000000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405000" indent="-135000" algn="l" defTabSz="685800" rtl="0" eaLnBrk="1" latinLnBrk="0" hangingPunct="1">
        <a:lnSpc>
          <a:spcPct val="120000"/>
        </a:lnSpc>
        <a:spcBef>
          <a:spcPts val="0"/>
        </a:spcBef>
        <a:spcAft>
          <a:spcPts val="450"/>
        </a:spcAft>
        <a:buClr>
          <a:srgbClr val="FFC000"/>
        </a:buClr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35000" algn="l" defTabSz="685800" rtl="0" eaLnBrk="1" latinLnBrk="0" hangingPunct="1">
        <a:lnSpc>
          <a:spcPct val="120000"/>
        </a:lnSpc>
        <a:spcBef>
          <a:spcPts val="0"/>
        </a:spcBef>
        <a:spcAft>
          <a:spcPts val="450"/>
        </a:spcAft>
        <a:buClr>
          <a:schemeClr val="accent2"/>
        </a:buClr>
        <a:buFont typeface="Proxima Nova Rg" panose="02000506030000020004" pitchFamily="50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75000" indent="-135000" algn="l" defTabSz="685800" rtl="0" eaLnBrk="1" latinLnBrk="0" hangingPunct="1">
        <a:lnSpc>
          <a:spcPct val="120000"/>
        </a:lnSpc>
        <a:spcBef>
          <a:spcPts val="0"/>
        </a:spcBef>
        <a:spcAft>
          <a:spcPts val="450"/>
        </a:spcAft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04" userDrawn="1">
          <p15:clr>
            <a:srgbClr val="F26B43"/>
          </p15:clr>
        </p15:guide>
        <p15:guide id="2" orient="horz" pos="663" userDrawn="1">
          <p15:clr>
            <a:srgbClr val="F26B43"/>
          </p15:clr>
        </p15:guide>
        <p15:guide id="3" pos="9636" userDrawn="1">
          <p15:clr>
            <a:srgbClr val="F26B43"/>
          </p15:clr>
        </p15:guide>
        <p15:guide id="4" orient="horz" pos="3816" userDrawn="1">
          <p15:clr>
            <a:srgbClr val="F26B43"/>
          </p15:clr>
        </p15:guide>
        <p15:guide id="5" orient="horz" pos="845" userDrawn="1">
          <p15:clr>
            <a:srgbClr val="F26B43"/>
          </p15:clr>
        </p15:guide>
        <p15:guide id="6" orient="horz" pos="595" userDrawn="1">
          <p15:clr>
            <a:srgbClr val="F26B43"/>
          </p15:clr>
        </p15:guide>
        <p15:guide id="7" orient="horz" pos="73" userDrawn="1">
          <p15:clr>
            <a:srgbClr val="F26B43"/>
          </p15:clr>
        </p15:guide>
        <p15:guide id="8" orient="horz" pos="1139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16B7650-4238-4832-AD68-F2ACBAAB76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41212550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16B7650-4238-4832-AD68-F2ACBAAB76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AA92485-1B1A-7248-AF77-961FAAFDC1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0603" y="0"/>
            <a:ext cx="9463197" cy="128156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D83171-61CB-8B4C-9334-C0EBE0A0CF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81515" y="1535663"/>
            <a:ext cx="947228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1"/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40DCAC1-51E2-B24D-BCCD-B998700CCF63}"/>
              </a:ext>
            </a:extLst>
          </p:cNvPr>
          <p:cNvCxnSpPr/>
          <p:nvPr userDrawn="1"/>
        </p:nvCxnSpPr>
        <p:spPr>
          <a:xfrm>
            <a:off x="2" y="6797675"/>
            <a:ext cx="12188951" cy="0"/>
          </a:xfrm>
          <a:prstGeom prst="line">
            <a:avLst/>
          </a:prstGeom>
          <a:ln w="133350">
            <a:solidFill>
              <a:schemeClr val="accent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754F1876-F559-4F4A-816C-31EF6E6820EF}"/>
              </a:ext>
            </a:extLst>
          </p:cNvPr>
          <p:cNvSpPr/>
          <p:nvPr userDrawn="1"/>
        </p:nvSpPr>
        <p:spPr>
          <a:xfrm>
            <a:off x="0" y="6625072"/>
            <a:ext cx="12192000" cy="2385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Calibri" panose="020F050202020403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881514" y="6141106"/>
            <a:ext cx="9472285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spcBef>
                <a:spcPts val="450"/>
              </a:spcBef>
              <a:defRPr sz="675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12026" y="6327191"/>
            <a:ext cx="776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D7FB36D3-C3B6-4730-932D-29B82D2178E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859CB3E-FB36-4312-9EF8-0007CDC7072D}"/>
              </a:ext>
            </a:extLst>
          </p:cNvPr>
          <p:cNvSpPr/>
          <p:nvPr userDrawn="1"/>
        </p:nvSpPr>
        <p:spPr>
          <a:xfrm>
            <a:off x="0" y="6604599"/>
            <a:ext cx="12192000" cy="219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25" b="1" spc="-8" dirty="0">
                <a:solidFill>
                  <a:schemeClr val="bg1"/>
                </a:solidFill>
                <a:latin typeface="+mn-lt"/>
              </a:rPr>
              <a:t>Please see additional Important Safety Information throughout and accompanying full Prescribing Information, including Boxed Warning.</a:t>
            </a:r>
          </a:p>
        </p:txBody>
      </p:sp>
    </p:spTree>
    <p:extLst>
      <p:ext uri="{BB962C8B-B14F-4D97-AF65-F5344CB8AC3E}">
        <p14:creationId xmlns:p14="http://schemas.microsoft.com/office/powerpoint/2010/main" val="2856259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0" r:id="rId1"/>
    <p:sldLayoutId id="2147485071" r:id="rId2"/>
    <p:sldLayoutId id="2147485072" r:id="rId3"/>
    <p:sldLayoutId id="2147485073" r:id="rId4"/>
    <p:sldLayoutId id="2147485074" r:id="rId5"/>
    <p:sldLayoutId id="2147485075" r:id="rId6"/>
    <p:sldLayoutId id="2147485076" r:id="rId7"/>
    <p:sldLayoutId id="2147485077" r:id="rId8"/>
    <p:sldLayoutId id="2147485078" r:id="rId9"/>
    <p:sldLayoutId id="2147485079" r:id="rId10"/>
    <p:sldLayoutId id="2147485080" r:id="rId11"/>
    <p:sldLayoutId id="2147485081" r:id="rId12"/>
    <p:sldLayoutId id="2147485082" r:id="rId13"/>
    <p:sldLayoutId id="2147485083" r:id="rId14"/>
    <p:sldLayoutId id="2147485084" r:id="rId15"/>
  </p:sldLayoutIdLst>
  <mc:AlternateContent xmlns:mc="http://schemas.openxmlformats.org/markup-compatibility/2006" xmlns:p14="http://schemas.microsoft.com/office/powerpoint/2010/main">
    <mc:Choice Requires="p14">
      <p:transition spd="slow" p14:dur="1250" advTm="1000">
        <p14:switch dir="r"/>
      </p:transition>
    </mc:Choice>
    <mc:Fallback xmlns="">
      <p:transition spd="slow" advTm="1000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accent1"/>
          </a:solidFill>
          <a:latin typeface="Calibri" panose="020F050202020403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050" b="1" i="0" kern="1200">
          <a:solidFill>
            <a:schemeClr val="accent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714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Arial" panose="020B0604020202020204" pitchFamily="34" charset="0"/>
        <a:buChar char="•"/>
        <a:defRPr sz="1200" b="0" i="0" kern="1200">
          <a:solidFill>
            <a:schemeClr val="tx1">
              <a:lumMod val="50000"/>
            </a:schemeClr>
          </a:solidFill>
          <a:latin typeface="Calibri" panose="020F0502020204030204" pitchFamily="34" charset="0"/>
          <a:ea typeface="+mn-ea"/>
          <a:cs typeface="+mn-cs"/>
        </a:defRPr>
      </a:lvl2pPr>
      <a:lvl3pPr marL="34290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Arial" panose="020B0604020202020204" pitchFamily="34" charset="0"/>
        <a:buChar char="•"/>
        <a:defRPr sz="1050" b="0" i="0" kern="1200">
          <a:solidFill>
            <a:schemeClr val="tx1">
              <a:lumMod val="50000"/>
            </a:schemeClr>
          </a:solidFill>
          <a:latin typeface="Calibri" panose="020F0502020204030204" pitchFamily="34" charset="0"/>
          <a:ea typeface="+mn-ea"/>
          <a:cs typeface="+mn-cs"/>
        </a:defRPr>
      </a:lvl3pPr>
      <a:lvl4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3"/>
        </a:buClr>
        <a:buFont typeface="Arial" panose="020B0604020202020204" pitchFamily="34" charset="0"/>
        <a:buChar char="•"/>
        <a:defRPr lang="en-US" sz="900" b="0" i="0" kern="1200" dirty="0" smtClean="0">
          <a:solidFill>
            <a:schemeClr val="tx1">
              <a:lumMod val="50000"/>
            </a:schemeClr>
          </a:solidFill>
          <a:latin typeface="Calibri" panose="020F050202020403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84D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28602"/>
            <a:ext cx="12192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186" y="4921099"/>
            <a:ext cx="2373575" cy="23735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3627282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99" r:id="rId1"/>
    <p:sldLayoutId id="2147485100" r:id="rId2"/>
    <p:sldLayoutId id="2147485101" r:id="rId3"/>
    <p:sldLayoutId id="2147485102" r:id="rId4"/>
    <p:sldLayoutId id="2147485103" r:id="rId5"/>
    <p:sldLayoutId id="2147485104" r:id="rId6"/>
    <p:sldLayoutId id="2147485105" r:id="rId7"/>
    <p:sldLayoutId id="2147485106" r:id="rId8"/>
    <p:sldLayoutId id="2147485107" r:id="rId9"/>
    <p:sldLayoutId id="2147485108" r:id="rId10"/>
    <p:sldLayoutId id="2147485109" r:id="rId11"/>
    <p:sldLayoutId id="2147485111" r:id="rId12"/>
    <p:sldLayoutId id="2147485112" r:id="rId13"/>
  </p:sldLayoutIdLst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sz="4050" kern="1200" cap="none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1938" indent="-261938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34290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-"/>
        <a:defRPr sz="3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28700" indent="-34290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-34290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714500" indent="-34290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645461"/>
            <a:ext cx="10515600" cy="10452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37464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pic>
        <p:nvPicPr>
          <p:cNvPr id="4" name="Picture 3" descr="PREFERRED_full-color_MAYS-UTH-MDA_h.png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9760" y="5852160"/>
            <a:ext cx="2291253" cy="66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795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4" r:id="rId1"/>
    <p:sldLayoutId id="2147485115" r:id="rId2"/>
    <p:sldLayoutId id="2147485116" r:id="rId3"/>
    <p:sldLayoutId id="2147485117" r:id="rId4"/>
    <p:sldLayoutId id="2147485118" r:id="rId5"/>
    <p:sldLayoutId id="2147485119" r:id="rId6"/>
    <p:sldLayoutId id="2147485120" r:id="rId7"/>
    <p:sldLayoutId id="2147485121" r:id="rId8"/>
    <p:sldLayoutId id="2147485122" r:id="rId9"/>
    <p:sldLayoutId id="2147485123" r:id="rId10"/>
    <p:sldLayoutId id="2147485124" r:id="rId11"/>
    <p:sldLayoutId id="2147485125" r:id="rId12"/>
    <p:sldLayoutId id="2147485126" r:id="rId13"/>
    <p:sldLayoutId id="2147485127" r:id="rId14"/>
    <p:sldLayoutId id="2147485128" r:id="rId15"/>
    <p:sldLayoutId id="2147485132" r:id="rId16"/>
    <p:sldLayoutId id="2147485133" r:id="rId17"/>
    <p:sldLayoutId id="2147485134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/>
        <a:buNone/>
        <a:defRPr sz="1800" b="0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342900" indent="0" algn="l" defTabSz="685800" rtl="0" eaLnBrk="1" latinLnBrk="0" hangingPunct="1">
        <a:lnSpc>
          <a:spcPct val="90000"/>
        </a:lnSpc>
        <a:spcBef>
          <a:spcPts val="375"/>
        </a:spcBef>
        <a:buFont typeface="Arial"/>
        <a:buNone/>
        <a:defRPr sz="180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2pPr>
      <a:lvl3pPr marL="685800" indent="0" algn="l" defTabSz="685800" rtl="0" eaLnBrk="1" latinLnBrk="0" hangingPunct="1">
        <a:lnSpc>
          <a:spcPct val="90000"/>
        </a:lnSpc>
        <a:spcBef>
          <a:spcPts val="375"/>
        </a:spcBef>
        <a:buFont typeface="Arial"/>
        <a:buNone/>
        <a:defRPr sz="150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3pPr>
      <a:lvl4pPr marL="1028700" indent="0" algn="l" defTabSz="685800" rtl="0" eaLnBrk="1" latinLnBrk="0" hangingPunct="1">
        <a:lnSpc>
          <a:spcPct val="90000"/>
        </a:lnSpc>
        <a:spcBef>
          <a:spcPts val="375"/>
        </a:spcBef>
        <a:buFont typeface="Arial"/>
        <a:buNone/>
        <a:defRPr sz="135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4pPr>
      <a:lvl5pPr marL="1371600" indent="0" algn="l" defTabSz="685800" rtl="0" eaLnBrk="1" latinLnBrk="0" hangingPunct="1">
        <a:lnSpc>
          <a:spcPct val="90000"/>
        </a:lnSpc>
        <a:spcBef>
          <a:spcPts val="375"/>
        </a:spcBef>
        <a:buFont typeface="Arial"/>
        <a:buNone/>
        <a:defRPr sz="135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645465"/>
            <a:ext cx="10515600" cy="10452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8"/>
            <a:ext cx="10515600" cy="37464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pic>
        <p:nvPicPr>
          <p:cNvPr id="4" name="Picture 3" descr="PREFERRED_full-color_MAYS-UTH-MDA_h.png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9665" y="5852160"/>
            <a:ext cx="2601351" cy="66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414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8" r:id="rId1"/>
    <p:sldLayoutId id="2147485139" r:id="rId2"/>
    <p:sldLayoutId id="2147485140" r:id="rId3"/>
    <p:sldLayoutId id="2147485141" r:id="rId4"/>
    <p:sldLayoutId id="2147485142" r:id="rId5"/>
    <p:sldLayoutId id="2147485143" r:id="rId6"/>
    <p:sldLayoutId id="2147485144" r:id="rId7"/>
    <p:sldLayoutId id="2147485145" r:id="rId8"/>
    <p:sldLayoutId id="2147485146" r:id="rId9"/>
    <p:sldLayoutId id="2147485147" r:id="rId10"/>
    <p:sldLayoutId id="2147485148" r:id="rId11"/>
    <p:sldLayoutId id="2147485149" r:id="rId12"/>
    <p:sldLayoutId id="2147485150" r:id="rId13"/>
    <p:sldLayoutId id="2147485151" r:id="rId14"/>
    <p:sldLayoutId id="2147485152" r:id="rId15"/>
    <p:sldLayoutId id="2147485153" r:id="rId16"/>
    <p:sldLayoutId id="2147485154" r:id="rId17"/>
    <p:sldLayoutId id="2147485155" r:id="rId18"/>
    <p:sldLayoutId id="2147485156" r:id="rId19"/>
    <p:sldLayoutId id="2147485157" r:id="rId20"/>
    <p:sldLayoutId id="2147485158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385763" rtl="0" eaLnBrk="1" latinLnBrk="0" hangingPunct="1">
        <a:lnSpc>
          <a:spcPct val="90000"/>
        </a:lnSpc>
        <a:spcBef>
          <a:spcPct val="0"/>
        </a:spcBef>
        <a:buNone/>
        <a:defRPr sz="1856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85763" rtl="0" eaLnBrk="1" latinLnBrk="0" hangingPunct="1">
        <a:lnSpc>
          <a:spcPct val="90000"/>
        </a:lnSpc>
        <a:spcBef>
          <a:spcPts val="422"/>
        </a:spcBef>
        <a:buFont typeface="Arial"/>
        <a:buNone/>
        <a:defRPr sz="1013" b="0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192881" indent="0" algn="l" defTabSz="385763" rtl="0" eaLnBrk="1" latinLnBrk="0" hangingPunct="1">
        <a:lnSpc>
          <a:spcPct val="90000"/>
        </a:lnSpc>
        <a:spcBef>
          <a:spcPts val="211"/>
        </a:spcBef>
        <a:buFont typeface="Arial"/>
        <a:buNone/>
        <a:defRPr sz="1013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2pPr>
      <a:lvl3pPr marL="385763" indent="0" algn="l" defTabSz="385763" rtl="0" eaLnBrk="1" latinLnBrk="0" hangingPunct="1">
        <a:lnSpc>
          <a:spcPct val="90000"/>
        </a:lnSpc>
        <a:spcBef>
          <a:spcPts val="211"/>
        </a:spcBef>
        <a:buFont typeface="Arial"/>
        <a:buNone/>
        <a:defRPr sz="844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3pPr>
      <a:lvl4pPr marL="578644" indent="0" algn="l" defTabSz="385763" rtl="0" eaLnBrk="1" latinLnBrk="0" hangingPunct="1">
        <a:lnSpc>
          <a:spcPct val="90000"/>
        </a:lnSpc>
        <a:spcBef>
          <a:spcPts val="211"/>
        </a:spcBef>
        <a:buFont typeface="Arial"/>
        <a:buNone/>
        <a:defRPr sz="76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4pPr>
      <a:lvl5pPr marL="771525" indent="0" algn="l" defTabSz="385763" rtl="0" eaLnBrk="1" latinLnBrk="0" hangingPunct="1">
        <a:lnSpc>
          <a:spcPct val="90000"/>
        </a:lnSpc>
        <a:spcBef>
          <a:spcPts val="211"/>
        </a:spcBef>
        <a:buFont typeface="Arial"/>
        <a:buNone/>
        <a:defRPr sz="76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5pPr>
      <a:lvl6pPr marL="1060847" indent="-96441" algn="l" defTabSz="385763" rtl="0" eaLnBrk="1" latinLnBrk="0" hangingPunct="1">
        <a:lnSpc>
          <a:spcPct val="90000"/>
        </a:lnSpc>
        <a:spcBef>
          <a:spcPts val="211"/>
        </a:spcBef>
        <a:buFont typeface="Arial"/>
        <a:buChar char="•"/>
        <a:defRPr sz="760" kern="1200">
          <a:solidFill>
            <a:schemeClr val="tx1"/>
          </a:solidFill>
          <a:latin typeface="+mn-lt"/>
          <a:ea typeface="+mn-ea"/>
          <a:cs typeface="+mn-cs"/>
        </a:defRPr>
      </a:lvl6pPr>
      <a:lvl7pPr marL="1253729" indent="-96441" algn="l" defTabSz="385763" rtl="0" eaLnBrk="1" latinLnBrk="0" hangingPunct="1">
        <a:lnSpc>
          <a:spcPct val="90000"/>
        </a:lnSpc>
        <a:spcBef>
          <a:spcPts val="211"/>
        </a:spcBef>
        <a:buFont typeface="Arial"/>
        <a:buChar char="•"/>
        <a:defRPr sz="760" kern="1200">
          <a:solidFill>
            <a:schemeClr val="tx1"/>
          </a:solidFill>
          <a:latin typeface="+mn-lt"/>
          <a:ea typeface="+mn-ea"/>
          <a:cs typeface="+mn-cs"/>
        </a:defRPr>
      </a:lvl7pPr>
      <a:lvl8pPr marL="1446610" indent="-96441" algn="l" defTabSz="385763" rtl="0" eaLnBrk="1" latinLnBrk="0" hangingPunct="1">
        <a:lnSpc>
          <a:spcPct val="90000"/>
        </a:lnSpc>
        <a:spcBef>
          <a:spcPts val="211"/>
        </a:spcBef>
        <a:buFont typeface="Arial"/>
        <a:buChar char="•"/>
        <a:defRPr sz="760" kern="1200">
          <a:solidFill>
            <a:schemeClr val="tx1"/>
          </a:solidFill>
          <a:latin typeface="+mn-lt"/>
          <a:ea typeface="+mn-ea"/>
          <a:cs typeface="+mn-cs"/>
        </a:defRPr>
      </a:lvl8pPr>
      <a:lvl9pPr marL="1639491" indent="-96441" algn="l" defTabSz="385763" rtl="0" eaLnBrk="1" latinLnBrk="0" hangingPunct="1">
        <a:lnSpc>
          <a:spcPct val="90000"/>
        </a:lnSpc>
        <a:spcBef>
          <a:spcPts val="211"/>
        </a:spcBef>
        <a:buFont typeface="Arial"/>
        <a:buChar char="•"/>
        <a:defRPr sz="7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1pPr>
      <a:lvl2pPr marL="192881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2pPr>
      <a:lvl3pPr marL="385763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3pPr>
      <a:lvl4pPr marL="578644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4pPr>
      <a:lvl5pPr marL="771525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5pPr>
      <a:lvl6pPr marL="964406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6pPr>
      <a:lvl7pPr marL="1157288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7pPr>
      <a:lvl8pPr marL="1350169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8pPr>
      <a:lvl9pPr marL="1543050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EF31981-6BB9-77B9-440C-048892140C99}"/>
              </a:ext>
            </a:extLst>
          </p:cNvPr>
          <p:cNvSpPr txBox="1"/>
          <p:nvPr userDrawn="1"/>
        </p:nvSpPr>
        <p:spPr>
          <a:xfrm>
            <a:off x="441885" y="6547224"/>
            <a:ext cx="10917656" cy="129249"/>
          </a:xfrm>
          <a:prstGeom prst="rect">
            <a:avLst/>
          </a:prstGeom>
          <a:noFill/>
        </p:spPr>
        <p:txBody>
          <a:bodyPr wrap="square" lIns="50909" tIns="25455" rIns="50909" bIns="25455" rtlCol="0" anchor="ctr">
            <a:spAutoFit/>
          </a:bodyPr>
          <a:lstStyle/>
          <a:p>
            <a:pPr marL="0" marR="0" indent="0" algn="l" defTabSz="233259" rtl="0" eaLnBrk="1" fontAlgn="auto" latinLnBrk="0" hangingPunct="1">
              <a:lnSpc>
                <a:spcPct val="100000"/>
              </a:lnSpc>
              <a:spcBef>
                <a:spcPts val="4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6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 cut-off 10 Sep 21	EHA 2022 Abstract S198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F23CC79-8BE9-4A4B-A16F-4F3D7CFA4AC9}"/>
              </a:ext>
            </a:extLst>
          </p:cNvPr>
          <p:cNvSpPr/>
          <p:nvPr userDrawn="1"/>
        </p:nvSpPr>
        <p:spPr>
          <a:xfrm>
            <a:off x="47328" y="644693"/>
            <a:ext cx="12001333" cy="48005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 sz="1350"/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1117078"/>
            <a:ext cx="1097280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nl-NL" alt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2109615"/>
            <a:ext cx="10972800" cy="425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E75595-E3A0-4244-A6AA-686B66515D2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" y="4"/>
            <a:ext cx="12191992" cy="988141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F124B06-A80B-70FC-6F6F-38BB9455B498}"/>
              </a:ext>
            </a:extLst>
          </p:cNvPr>
          <p:cNvCxnSpPr/>
          <p:nvPr userDrawn="1"/>
        </p:nvCxnSpPr>
        <p:spPr bwMode="gray">
          <a:xfrm>
            <a:off x="534026" y="6504567"/>
            <a:ext cx="11125763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47EC2FE-9D2B-0056-BC9A-512B52D7C772}"/>
              </a:ext>
            </a:extLst>
          </p:cNvPr>
          <p:cNvSpPr txBox="1"/>
          <p:nvPr userDrawn="1"/>
        </p:nvSpPr>
        <p:spPr>
          <a:xfrm>
            <a:off x="5128414" y="6484011"/>
            <a:ext cx="6323271" cy="1701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06" err="1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elabresib</a:t>
            </a:r>
            <a:r>
              <a:rPr lang="en-US" sz="506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(CPI-0610) is an investigational new drug and has not been approved by any regulatory authority</a:t>
            </a:r>
          </a:p>
        </p:txBody>
      </p:sp>
    </p:spTree>
    <p:extLst>
      <p:ext uri="{BB962C8B-B14F-4D97-AF65-F5344CB8AC3E}">
        <p14:creationId xmlns:p14="http://schemas.microsoft.com/office/powerpoint/2010/main" val="3697385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7" r:id="rId1"/>
    <p:sldLayoutId id="2147485208" r:id="rId2"/>
    <p:sldLayoutId id="2147485209" r:id="rId3"/>
    <p:sldLayoutId id="2147485210" r:id="rId4"/>
    <p:sldLayoutId id="2147485211" r:id="rId5"/>
    <p:sldLayoutId id="2147485212" r:id="rId6"/>
  </p:sldLayoutIdLst>
  <p:txStyles>
    <p:titleStyle>
      <a:lvl1pPr algn="r" rtl="0" eaLnBrk="1" fontAlgn="base" hangingPunct="1">
        <a:spcBef>
          <a:spcPct val="0"/>
        </a:spcBef>
        <a:spcAft>
          <a:spcPct val="0"/>
        </a:spcAft>
        <a:defRPr sz="2025" b="1" kern="12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</a:defRPr>
      </a:lvl5pPr>
      <a:lvl6pPr marL="342892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784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675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566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103585" indent="-103585" algn="l" rtl="0" eaLnBrk="1" fontAlgn="base" hangingPunct="1">
        <a:spcBef>
          <a:spcPct val="20000"/>
        </a:spcBef>
        <a:spcAft>
          <a:spcPct val="0"/>
        </a:spcAft>
        <a:buFont typeface="Calibri" pitchFamily="34" charset="0"/>
        <a:buChar char="‒"/>
        <a:tabLst/>
        <a:defRPr sz="1125" kern="1200">
          <a:solidFill>
            <a:schemeClr val="tx2"/>
          </a:solidFill>
          <a:latin typeface="Calibri" panose="020F0502020204030204" pitchFamily="34" charset="0"/>
          <a:ea typeface="+mn-ea"/>
          <a:cs typeface="+mn-cs"/>
        </a:defRPr>
      </a:lvl1pPr>
      <a:lvl2pPr marL="200918" indent="-97334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tabLst/>
        <a:defRPr sz="1125" kern="1200">
          <a:solidFill>
            <a:schemeClr val="tx2"/>
          </a:solidFill>
          <a:latin typeface="Calibri" panose="020F0502020204030204" pitchFamily="34" charset="0"/>
          <a:ea typeface="+mn-ea"/>
          <a:cs typeface="+mn-cs"/>
        </a:defRPr>
      </a:lvl2pPr>
      <a:lvl3pPr marL="857229" indent="-171446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1" indent="-171446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4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C2B42D5E-9AC0-4105-A5C1-EE3C5663594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B95FF1B3-37DE-4E19-B477-EA9BAE29F25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A4688D-8F70-4BE7-B3F5-26E98F2A90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675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61C9644-4C7F-40FB-8B16-20AB5EDBD655}" type="datetime1">
              <a:rPr lang="en-US" smtClean="0"/>
              <a:pPr>
                <a:defRPr/>
              </a:pPr>
              <a:t>11/11/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D8A6F2-B466-43C6-AC27-2041969E3F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675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98B61C-5C8B-4178-AE0F-4C63DC3630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675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533F668-E6A1-4423-A05E-FC5667E9D8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368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4" r:id="rId1"/>
    <p:sldLayoutId id="2147485215" r:id="rId2"/>
    <p:sldLayoutId id="2147485216" r:id="rId3"/>
    <p:sldLayoutId id="2147485217" r:id="rId4"/>
    <p:sldLayoutId id="2147485218" r:id="rId5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75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25717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anose="020F0302020204030204" pitchFamily="34" charset="0"/>
        </a:defRPr>
      </a:lvl6pPr>
      <a:lvl7pPr marL="51435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anose="020F0302020204030204" pitchFamily="34" charset="0"/>
        </a:defRPr>
      </a:lvl7pPr>
      <a:lvl8pPr marL="771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anose="020F0302020204030204" pitchFamily="34" charset="0"/>
        </a:defRPr>
      </a:lvl8pPr>
      <a:lvl9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28588" indent="-128588" algn="l" rtl="0" eaLnBrk="1" fontAlgn="base" hangingPunct="1">
        <a:lnSpc>
          <a:spcPct val="90000"/>
        </a:lnSpc>
        <a:spcBef>
          <a:spcPts val="563"/>
        </a:spcBef>
        <a:spcAft>
          <a:spcPct val="0"/>
        </a:spcAft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85763" indent="-128588" algn="l" rtl="0" eaLnBrk="1" fontAlgn="base" hangingPunct="1">
        <a:lnSpc>
          <a:spcPct val="90000"/>
        </a:lnSpc>
        <a:spcBef>
          <a:spcPts val="281"/>
        </a:spcBef>
        <a:spcAft>
          <a:spcPct val="0"/>
        </a:spcAft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2938" indent="-128588" algn="l" rtl="0" eaLnBrk="1" fontAlgn="base" hangingPunct="1">
        <a:lnSpc>
          <a:spcPct val="90000"/>
        </a:lnSpc>
        <a:spcBef>
          <a:spcPts val="281"/>
        </a:spcBef>
        <a:spcAft>
          <a:spcPct val="0"/>
        </a:spcAft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00113" indent="-128588" algn="l" rtl="0" eaLnBrk="1" fontAlgn="base" hangingPunct="1">
        <a:lnSpc>
          <a:spcPct val="90000"/>
        </a:lnSpc>
        <a:spcBef>
          <a:spcPts val="281"/>
        </a:spcBef>
        <a:spcAft>
          <a:spcPct val="0"/>
        </a:spcAft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57288" indent="-128588" algn="l" rtl="0" eaLnBrk="1" fontAlgn="base" hangingPunct="1">
        <a:lnSpc>
          <a:spcPct val="90000"/>
        </a:lnSpc>
        <a:spcBef>
          <a:spcPts val="281"/>
        </a:spcBef>
        <a:spcAft>
          <a:spcPct val="0"/>
        </a:spcAft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645463"/>
            <a:ext cx="10515600" cy="10452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8"/>
            <a:ext cx="10515600" cy="37464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509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0" r:id="rId1"/>
    <p:sldLayoutId id="2147485221" r:id="rId2"/>
    <p:sldLayoutId id="2147485222" r:id="rId3"/>
    <p:sldLayoutId id="2147485223" r:id="rId4"/>
    <p:sldLayoutId id="2147485224" r:id="rId5"/>
    <p:sldLayoutId id="2147485225" r:id="rId6"/>
    <p:sldLayoutId id="2147485226" r:id="rId7"/>
    <p:sldLayoutId id="2147485227" r:id="rId8"/>
    <p:sldLayoutId id="2147485228" r:id="rId9"/>
    <p:sldLayoutId id="2147485229" r:id="rId10"/>
    <p:sldLayoutId id="2147485230" r:id="rId11"/>
    <p:sldLayoutId id="2147485231" r:id="rId12"/>
    <p:sldLayoutId id="2147485232" r:id="rId13"/>
    <p:sldLayoutId id="2147485233" r:id="rId14"/>
    <p:sldLayoutId id="2147485234" r:id="rId15"/>
    <p:sldLayoutId id="2147485235" r:id="rId16"/>
    <p:sldLayoutId id="2147485236" r:id="rId17"/>
    <p:sldLayoutId id="2147485237" r:id="rId18"/>
    <p:sldLayoutId id="2147485238" r:id="rId19"/>
    <p:sldLayoutId id="2147485239" r:id="rId20"/>
    <p:sldLayoutId id="2147485240" r:id="rId21"/>
    <p:sldLayoutId id="2147485241" r:id="rId22"/>
    <p:sldLayoutId id="2147485242" r:id="rId23"/>
    <p:sldLayoutId id="2147485243" r:id="rId24"/>
    <p:sldLayoutId id="2147485244" r:id="rId25"/>
    <p:sldLayoutId id="2147485245" r:id="rId26"/>
    <p:sldLayoutId id="2147485246" r:id="rId27"/>
    <p:sldLayoutId id="2147485247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385763" rtl="0" eaLnBrk="1" latinLnBrk="0" hangingPunct="1">
        <a:lnSpc>
          <a:spcPct val="90000"/>
        </a:lnSpc>
        <a:spcBef>
          <a:spcPct val="0"/>
        </a:spcBef>
        <a:buNone/>
        <a:defRPr sz="1856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85763" rtl="0" eaLnBrk="1" latinLnBrk="0" hangingPunct="1">
        <a:lnSpc>
          <a:spcPct val="90000"/>
        </a:lnSpc>
        <a:spcBef>
          <a:spcPts val="422"/>
        </a:spcBef>
        <a:buFont typeface="Arial"/>
        <a:buNone/>
        <a:defRPr sz="1013" b="0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192881" indent="0" algn="l" defTabSz="385763" rtl="0" eaLnBrk="1" latinLnBrk="0" hangingPunct="1">
        <a:lnSpc>
          <a:spcPct val="90000"/>
        </a:lnSpc>
        <a:spcBef>
          <a:spcPts val="211"/>
        </a:spcBef>
        <a:buFont typeface="Arial"/>
        <a:buNone/>
        <a:defRPr sz="1013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2pPr>
      <a:lvl3pPr marL="385763" indent="0" algn="l" defTabSz="385763" rtl="0" eaLnBrk="1" latinLnBrk="0" hangingPunct="1">
        <a:lnSpc>
          <a:spcPct val="90000"/>
        </a:lnSpc>
        <a:spcBef>
          <a:spcPts val="211"/>
        </a:spcBef>
        <a:buFont typeface="Arial"/>
        <a:buNone/>
        <a:defRPr sz="844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3pPr>
      <a:lvl4pPr marL="578644" indent="0" algn="l" defTabSz="385763" rtl="0" eaLnBrk="1" latinLnBrk="0" hangingPunct="1">
        <a:lnSpc>
          <a:spcPct val="90000"/>
        </a:lnSpc>
        <a:spcBef>
          <a:spcPts val="211"/>
        </a:spcBef>
        <a:buFont typeface="Arial"/>
        <a:buNone/>
        <a:defRPr sz="76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4pPr>
      <a:lvl5pPr marL="771525" indent="0" algn="l" defTabSz="385763" rtl="0" eaLnBrk="1" latinLnBrk="0" hangingPunct="1">
        <a:lnSpc>
          <a:spcPct val="90000"/>
        </a:lnSpc>
        <a:spcBef>
          <a:spcPts val="211"/>
        </a:spcBef>
        <a:buFont typeface="Arial"/>
        <a:buNone/>
        <a:defRPr sz="76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5pPr>
      <a:lvl6pPr marL="1060847" indent="-96441" algn="l" defTabSz="385763" rtl="0" eaLnBrk="1" latinLnBrk="0" hangingPunct="1">
        <a:lnSpc>
          <a:spcPct val="90000"/>
        </a:lnSpc>
        <a:spcBef>
          <a:spcPts val="211"/>
        </a:spcBef>
        <a:buFont typeface="Arial"/>
        <a:buChar char="•"/>
        <a:defRPr sz="760" kern="1200">
          <a:solidFill>
            <a:schemeClr val="tx1"/>
          </a:solidFill>
          <a:latin typeface="+mn-lt"/>
          <a:ea typeface="+mn-ea"/>
          <a:cs typeface="+mn-cs"/>
        </a:defRPr>
      </a:lvl6pPr>
      <a:lvl7pPr marL="1253729" indent="-96441" algn="l" defTabSz="385763" rtl="0" eaLnBrk="1" latinLnBrk="0" hangingPunct="1">
        <a:lnSpc>
          <a:spcPct val="90000"/>
        </a:lnSpc>
        <a:spcBef>
          <a:spcPts val="211"/>
        </a:spcBef>
        <a:buFont typeface="Arial"/>
        <a:buChar char="•"/>
        <a:defRPr sz="760" kern="1200">
          <a:solidFill>
            <a:schemeClr val="tx1"/>
          </a:solidFill>
          <a:latin typeface="+mn-lt"/>
          <a:ea typeface="+mn-ea"/>
          <a:cs typeface="+mn-cs"/>
        </a:defRPr>
      </a:lvl7pPr>
      <a:lvl8pPr marL="1446610" indent="-96441" algn="l" defTabSz="385763" rtl="0" eaLnBrk="1" latinLnBrk="0" hangingPunct="1">
        <a:lnSpc>
          <a:spcPct val="90000"/>
        </a:lnSpc>
        <a:spcBef>
          <a:spcPts val="211"/>
        </a:spcBef>
        <a:buFont typeface="Arial"/>
        <a:buChar char="•"/>
        <a:defRPr sz="760" kern="1200">
          <a:solidFill>
            <a:schemeClr val="tx1"/>
          </a:solidFill>
          <a:latin typeface="+mn-lt"/>
          <a:ea typeface="+mn-ea"/>
          <a:cs typeface="+mn-cs"/>
        </a:defRPr>
      </a:lvl8pPr>
      <a:lvl9pPr marL="1639491" indent="-96441" algn="l" defTabSz="385763" rtl="0" eaLnBrk="1" latinLnBrk="0" hangingPunct="1">
        <a:lnSpc>
          <a:spcPct val="90000"/>
        </a:lnSpc>
        <a:spcBef>
          <a:spcPts val="211"/>
        </a:spcBef>
        <a:buFont typeface="Arial"/>
        <a:buChar char="•"/>
        <a:defRPr sz="7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1pPr>
      <a:lvl2pPr marL="192881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2pPr>
      <a:lvl3pPr marL="385763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3pPr>
      <a:lvl4pPr marL="578644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4pPr>
      <a:lvl5pPr marL="771525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5pPr>
      <a:lvl6pPr marL="964406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6pPr>
      <a:lvl7pPr marL="1157288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7pPr>
      <a:lvl8pPr marL="1350169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8pPr>
      <a:lvl9pPr marL="1543050" algn="l" defTabSz="385763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C2B42D5E-9AC0-4105-A5C1-EE3C5663594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7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B95FF1B3-37DE-4E19-B477-EA9BAE29F25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A4688D-8F70-4BE7-B3F5-26E98F2A90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61C9644-4C7F-40FB-8B16-20AB5EDBD655}" type="datetime1">
              <a:rPr lang="en-US" smtClean="0"/>
              <a:pPr>
                <a:defRPr/>
              </a:pPr>
              <a:t>11/11/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D8A6F2-B466-43C6-AC27-2041969E3F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98B61C-5C8B-4178-AE0F-4C63DC3630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533F668-E6A1-4423-A05E-FC5667E9D8A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076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9" r:id="rId1"/>
    <p:sldLayoutId id="2147485250" r:id="rId2"/>
    <p:sldLayoutId id="2147485251" r:id="rId3"/>
    <p:sldLayoutId id="2147485252" r:id="rId4"/>
    <p:sldLayoutId id="2147485253" r:id="rId5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401D58-73BC-7F44-9911-2A024FA36447}"/>
              </a:ext>
            </a:extLst>
          </p:cNvPr>
          <p:cNvSpPr/>
          <p:nvPr/>
        </p:nvSpPr>
        <p:spPr>
          <a:xfrm>
            <a:off x="0" y="6429375"/>
            <a:ext cx="12192000" cy="432000"/>
          </a:xfrm>
          <a:prstGeom prst="rect">
            <a:avLst/>
          </a:prstGeom>
          <a:solidFill>
            <a:srgbClr val="0971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3" tIns="34289" rIns="68543" bIns="34289" anchor="ctr"/>
          <a:lstStyle/>
          <a:p>
            <a:pPr algn="ctr" defTabSz="913815">
              <a:defRPr/>
            </a:pPr>
            <a:endParaRPr lang="en-US" sz="18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3FD706-1905-094E-A78A-C7D7162C65C2}"/>
              </a:ext>
            </a:extLst>
          </p:cNvPr>
          <p:cNvSpPr/>
          <p:nvPr/>
        </p:nvSpPr>
        <p:spPr>
          <a:xfrm>
            <a:off x="0" y="6342063"/>
            <a:ext cx="12192000" cy="7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3" tIns="34289" rIns="68543" bIns="34289" anchor="ctr"/>
          <a:lstStyle/>
          <a:p>
            <a:pPr algn="ctr" defTabSz="913815">
              <a:defRPr/>
            </a:pPr>
            <a:endParaRPr lang="en-US" sz="18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53" name="Title Placeholder 1">
            <a:extLst>
              <a:ext uri="{FF2B5EF4-FFF2-40B4-BE49-F238E27FC236}">
                <a16:creationId xmlns:a16="http://schemas.microsoft.com/office/drawing/2014/main" id="{8074E15D-D637-1841-9682-CF0B841B64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676278"/>
            <a:ext cx="10515600" cy="101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43" tIns="34289" rIns="68543" bIns="3428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4" name="Text Placeholder 2">
            <a:extLst>
              <a:ext uri="{FF2B5EF4-FFF2-40B4-BE49-F238E27FC236}">
                <a16:creationId xmlns:a16="http://schemas.microsoft.com/office/drawing/2014/main" id="{E1711BB8-7722-124F-BB10-E57AE780F67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20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43" tIns="34289" rIns="68543" bIns="342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BF8D7355-271B-AD4F-AA7D-C31909CBCA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01244" y="6473173"/>
            <a:ext cx="2384425" cy="344487"/>
          </a:xfrm>
          <a:prstGeom prst="rect">
            <a:avLst/>
          </a:prstGeom>
        </p:spPr>
        <p:txBody>
          <a:bodyPr vert="horz" lIns="68543" tIns="34289" rIns="68543" bIns="34289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bg1"/>
                </a:solidFill>
                <a:latin typeface="+mn-lt"/>
              </a:defRPr>
            </a:lvl1pPr>
          </a:lstStyle>
          <a:p>
            <a:pPr defTabSz="913815">
              <a:defRPr/>
            </a:pPr>
            <a:fld id="{7A377061-DE41-4E14-AA1F-D7DD63305CA4}" type="datetime1">
              <a:rPr lang="en-US" smtClean="0">
                <a:solidFill>
                  <a:srgbClr val="FFFFFF"/>
                </a:solidFill>
              </a:rPr>
              <a:pPr defTabSz="913815">
                <a:defRPr/>
              </a:pPr>
              <a:t>11/11/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68CED641-05F5-8742-B56E-105C409A39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27389" y="6463648"/>
            <a:ext cx="5741987" cy="363537"/>
          </a:xfrm>
          <a:prstGeom prst="rect">
            <a:avLst/>
          </a:prstGeom>
        </p:spPr>
        <p:txBody>
          <a:bodyPr vert="horz" lIns="68543" tIns="34289" rIns="68543" bIns="34289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 defTabSz="913815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0F45E11-5575-0249-A472-E52F21587D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8643" y="6468371"/>
            <a:ext cx="2481943" cy="354012"/>
          </a:xfrm>
          <a:prstGeom prst="rect">
            <a:avLst/>
          </a:prstGeom>
        </p:spPr>
        <p:txBody>
          <a:bodyPr vert="horz" lIns="68543" tIns="34289" rIns="68543" bIns="34289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bg1"/>
                </a:solidFill>
                <a:latin typeface="+mn-lt"/>
              </a:defRPr>
            </a:lvl1pPr>
          </a:lstStyle>
          <a:p>
            <a:pPr defTabSz="913815">
              <a:defRPr/>
            </a:pPr>
            <a:fld id="{5BF92C94-257A-7E4A-B809-22B4E6AD3B34}" type="slidenum">
              <a:rPr lang="en-US" smtClean="0">
                <a:solidFill>
                  <a:srgbClr val="FFFFFF"/>
                </a:solidFill>
              </a:rPr>
              <a:pPr defTabSz="913815"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| Strictly Confidential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FD8F9FD-3D99-984F-8B20-B1B72BA2F29B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02928" y="201208"/>
            <a:ext cx="2913063" cy="44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910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</p:sldLayoutIdLst>
  <p:hf hdr="0" ft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b="1" kern="120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Calibri" panose="020F05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Calibri" panose="020F05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Calibri" panose="020F05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Calibri" panose="020F0502020204030204" pitchFamily="34" charset="0"/>
        </a:defRPr>
      </a:lvl5pPr>
      <a:lvl6pPr marL="3426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Calibri" panose="020F0502020204030204" pitchFamily="34" charset="0"/>
        </a:defRPr>
      </a:lvl6pPr>
      <a:lvl7pPr marL="68535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Calibri" panose="020F0502020204030204" pitchFamily="34" charset="0"/>
        </a:defRPr>
      </a:lvl7pPr>
      <a:lvl8pPr marL="102803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Calibri" panose="020F0502020204030204" pitchFamily="34" charset="0"/>
        </a:defRPr>
      </a:lvl8pPr>
      <a:lvl9pPr marL="137071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171346" indent="-171346" algn="l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037" indent="-171346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6703" indent="-171346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370" indent="-171346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2038" indent="-171346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4728" indent="-171346" algn="l" defTabSz="68535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407" indent="-171346" algn="l" defTabSz="68535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086" indent="-171346" algn="l" defTabSz="68535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2777" indent="-171346" algn="l" defTabSz="68535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668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358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037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716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407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073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740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408" algn="l" defTabSz="68535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209211" cy="6867144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79169" y="-4120"/>
            <a:ext cx="11846299" cy="68704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67" b="0" i="0" u="none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6448" y="207525"/>
            <a:ext cx="10497928" cy="73152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449" y="1331917"/>
            <a:ext cx="10988803" cy="4654549"/>
          </a:xfrm>
          <a:prstGeom prst="rect">
            <a:avLst/>
          </a:prstGeom>
        </p:spPr>
        <p:txBody>
          <a:bodyPr vert="horz" lIns="73152" tIns="36576" rIns="73152" bIns="3657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6449" y="6029891"/>
            <a:ext cx="10226803" cy="60422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rgbClr val="75757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25254" y="6535272"/>
            <a:ext cx="635959" cy="26904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 rot="10800000" flipH="1" flipV="1">
            <a:off x="541376" y="1027784"/>
            <a:ext cx="10741152" cy="27432"/>
          </a:xfrm>
          <a:prstGeom prst="rect">
            <a:avLst/>
          </a:prstGeom>
          <a:gradFill flip="none" rotWithShape="1">
            <a:gsLst>
              <a:gs pos="0">
                <a:srgbClr val="66CC00"/>
              </a:gs>
              <a:gs pos="12000">
                <a:srgbClr val="66CC00"/>
              </a:gs>
              <a:gs pos="100000">
                <a:srgbClr val="66CC00">
                  <a:alpha val="0"/>
                </a:srgb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lvl="0" algn="ctr"/>
            <a:endParaRPr lang="en-US" sz="1867" dirty="0"/>
          </a:p>
        </p:txBody>
      </p:sp>
    </p:spTree>
    <p:extLst>
      <p:ext uri="{BB962C8B-B14F-4D97-AF65-F5344CB8AC3E}">
        <p14:creationId xmlns:p14="http://schemas.microsoft.com/office/powerpoint/2010/main" val="3136120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5" r:id="rId1"/>
    <p:sldLayoutId id="2147485256" r:id="rId2"/>
    <p:sldLayoutId id="2147485257" r:id="rId3"/>
    <p:sldLayoutId id="2147485258" r:id="rId4"/>
    <p:sldLayoutId id="2147485259" r:id="rId5"/>
    <p:sldLayoutId id="2147485260" r:id="rId6"/>
    <p:sldLayoutId id="2147485261" r:id="rId7"/>
    <p:sldLayoutId id="2147485262" r:id="rId8"/>
    <p:sldLayoutId id="2147485263" r:id="rId9"/>
    <p:sldLayoutId id="2147485264" r:id="rId10"/>
    <p:sldLayoutId id="2147485265" r:id="rId11"/>
    <p:sldLayoutId id="2147485266" r:id="rId12"/>
    <p:sldLayoutId id="2147485267" r:id="rId13"/>
    <p:sldLayoutId id="2147485268" r:id="rId14"/>
    <p:sldLayoutId id="2147485269" r:id="rId15"/>
    <p:sldLayoutId id="2147485270" r:id="rId16"/>
    <p:sldLayoutId id="2147485271" r:id="rId17"/>
    <p:sldLayoutId id="2147485272" r:id="rId18"/>
    <p:sldLayoutId id="2147485273" r:id="rId19"/>
    <p:sldLayoutId id="2147485274" r:id="rId20"/>
    <p:sldLayoutId id="2147485275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78" rtl="0" eaLnBrk="1" latinLnBrk="0" hangingPunct="1">
        <a:lnSpc>
          <a:spcPct val="90000"/>
        </a:lnSpc>
        <a:spcBef>
          <a:spcPct val="0"/>
        </a:spcBef>
        <a:buNone/>
        <a:defRPr sz="2400" b="0" i="0" u="none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876" indent="-182876" algn="l" defTabSz="914378" rtl="0" eaLnBrk="1" latinLnBrk="0" hangingPunct="1">
        <a:spcBef>
          <a:spcPts val="300"/>
        </a:spcBef>
        <a:buClr>
          <a:schemeClr val="accent2"/>
        </a:buClr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+mn-lt"/>
          <a:ea typeface="+mn-ea"/>
          <a:cs typeface="+mn-cs"/>
        </a:defRPr>
      </a:lvl1pPr>
      <a:lvl2pPr marL="448045" indent="-182876" algn="l" defTabSz="914378" rtl="0" eaLnBrk="1" latinLnBrk="0" hangingPunct="1">
        <a:spcBef>
          <a:spcPts val="300"/>
        </a:spcBef>
        <a:buFont typeface="Arial" panose="020B0604020202020204" pitchFamily="34" charset="0"/>
        <a:buChar char="–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640064" indent="-147635" algn="l" defTabSz="914378" rtl="0" eaLnBrk="1" latinLnBrk="0" hangingPunct="1">
        <a:spcBef>
          <a:spcPts val="300"/>
        </a:spcBef>
        <a:buFont typeface="Wingdings" panose="05000000000000000000" pitchFamily="2" charset="2"/>
        <a:buChar char="§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822940" indent="-119060" algn="l" defTabSz="914378" rtl="0" eaLnBrk="1" latinLnBrk="0" hangingPunct="1">
        <a:spcBef>
          <a:spcPts val="300"/>
        </a:spcBef>
        <a:buFont typeface="Arial" panose="020B0604020202020204" pitchFamily="34" charset="0"/>
        <a:buChar char="-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487451" indent="-111122" algn="l" defTabSz="914378" rtl="0" eaLnBrk="1" latinLnBrk="0" hangingPunct="1">
        <a:spcBef>
          <a:spcPts val="300"/>
        </a:spcBef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6" userDrawn="1">
          <p15:clr>
            <a:srgbClr val="F26B43"/>
          </p15:clr>
        </p15:guide>
        <p15:guide id="2" pos="443" userDrawn="1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1/11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55"/>
            <a:endParaRPr lang="en-US" dirty="0">
              <a:solidFill>
                <a:srgbClr val="32323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55"/>
            <a:fld id="{74EEA10D-E951-474C-8CD0-91078E47E9CB}" type="slidenum">
              <a:rPr lang="en-US" smtClean="0">
                <a:solidFill>
                  <a:srgbClr val="323232"/>
                </a:solidFill>
              </a:rPr>
              <a:pPr defTabSz="914355"/>
              <a:t>‹#›</a:t>
            </a:fld>
            <a:endParaRPr lang="en-US" dirty="0">
              <a:solidFill>
                <a:srgbClr val="323232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022F89-F473-A448-BD7F-4BD48143C245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223000"/>
            <a:ext cx="12192000" cy="635000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A9DA018-CA29-9A43-B391-56C3C6A888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6" y="217034"/>
            <a:ext cx="11664951" cy="937896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8D36DDE-F728-544B-9DCC-1C61ADA87B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3526" y="1332066"/>
            <a:ext cx="11664951" cy="4516921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21D86C0-7227-5847-84EC-A0B19816A5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83565" y="217036"/>
            <a:ext cx="874487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00" b="0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0A65ED-CC5E-734C-887A-EAAD75B33914}"/>
              </a:ext>
            </a:extLst>
          </p:cNvPr>
          <p:cNvSpPr txBox="1"/>
          <p:nvPr userDrawn="1"/>
        </p:nvSpPr>
        <p:spPr>
          <a:xfrm>
            <a:off x="3441700" y="6400134"/>
            <a:ext cx="696547" cy="69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50" b="1">
                <a:solidFill>
                  <a:srgbClr val="002557"/>
                </a:solidFill>
              </a:rPr>
              <a:t>PRESENTED BY: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C8EB0DC-6F54-8C4E-AFFB-B6022A868C42}"/>
              </a:ext>
            </a:extLst>
          </p:cNvPr>
          <p:cNvCxnSpPr>
            <a:cxnSpLocks/>
          </p:cNvCxnSpPr>
          <p:nvPr userDrawn="1"/>
        </p:nvCxnSpPr>
        <p:spPr>
          <a:xfrm>
            <a:off x="0" y="6211956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3273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7" r:id="rId1"/>
    <p:sldLayoutId id="2147485278" r:id="rId2"/>
    <p:sldLayoutId id="2147485279" r:id="rId3"/>
    <p:sldLayoutId id="2147485280" r:id="rId4"/>
    <p:sldLayoutId id="2147485281" r:id="rId5"/>
    <p:sldLayoutId id="2147485282" r:id="rId6"/>
    <p:sldLayoutId id="2147485283" r:id="rId7"/>
    <p:sldLayoutId id="2147485284" r:id="rId8"/>
    <p:sldLayoutId id="2147485285" r:id="rId9"/>
    <p:sldLayoutId id="2147485286" r:id="rId10"/>
    <p:sldLayoutId id="2147485287" r:id="rId11"/>
    <p:sldLayoutId id="2147485288" r:id="rId12"/>
    <p:sldLayoutId id="2147485289" r:id="rId13"/>
    <p:sldLayoutId id="2147485290" r:id="rId14"/>
    <p:sldLayoutId id="2147485291" r:id="rId15"/>
    <p:sldLayoutId id="2147485292" r:id="rId16"/>
    <p:sldLayoutId id="2147485293" r:id="rId17"/>
    <p:sldLayoutId id="2147485294" r:id="rId18"/>
    <p:sldLayoutId id="2147485202" r:id="rId19"/>
    <p:sldLayoutId id="2147485204" r:id="rId20"/>
    <p:sldLayoutId id="2147485205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1" userDrawn="1">
          <p15:clr>
            <a:srgbClr val="F26B43"/>
          </p15:clr>
        </p15:guide>
        <p15:guide id="2" pos="10019" userDrawn="1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1/11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55"/>
            <a:endParaRPr lang="en-US" dirty="0">
              <a:solidFill>
                <a:srgbClr val="32323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55"/>
            <a:fld id="{74EEA10D-E951-474C-8CD0-91078E47E9CB}" type="slidenum">
              <a:rPr lang="en-US" smtClean="0">
                <a:solidFill>
                  <a:srgbClr val="323232"/>
                </a:solidFill>
              </a:rPr>
              <a:pPr defTabSz="914355"/>
              <a:t>‹#›</a:t>
            </a:fld>
            <a:endParaRPr lang="en-US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372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6" r:id="rId1"/>
    <p:sldLayoutId id="2147485297" r:id="rId2"/>
    <p:sldLayoutId id="2147485298" r:id="rId3"/>
    <p:sldLayoutId id="2147485299" r:id="rId4"/>
    <p:sldLayoutId id="2147485300" r:id="rId5"/>
    <p:sldLayoutId id="2147485301" r:id="rId6"/>
    <p:sldLayoutId id="2147485302" r:id="rId7"/>
    <p:sldLayoutId id="2147485303" r:id="rId8"/>
    <p:sldLayoutId id="2147485304" r:id="rId9"/>
    <p:sldLayoutId id="2147485305" r:id="rId10"/>
    <p:sldLayoutId id="214748530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2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227013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6" y="1416053"/>
            <a:ext cx="10358967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4CCBE2E-CAAE-B74A-AD06-6C8F94F20E4C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992" y="6156880"/>
            <a:ext cx="650240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998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8" r:id="rId1"/>
    <p:sldLayoutId id="2147485309" r:id="rId2"/>
    <p:sldLayoutId id="2147485310" r:id="rId3"/>
    <p:sldLayoutId id="2147485311" r:id="rId4"/>
    <p:sldLayoutId id="2147485312" r:id="rId5"/>
    <p:sldLayoutId id="2147485313" r:id="rId6"/>
    <p:sldLayoutId id="2147485314" r:id="rId7"/>
    <p:sldLayoutId id="2147485315" r:id="rId8"/>
    <p:sldLayoutId id="2147485316" r:id="rId9"/>
    <p:sldLayoutId id="2147485317" r:id="rId10"/>
    <p:sldLayoutId id="2147485318" r:id="rId11"/>
    <p:sldLayoutId id="2147485319" r:id="rId12"/>
    <p:sldLayoutId id="2147485320" r:id="rId13"/>
    <p:sldLayoutId id="2147485321" r:id="rId14"/>
    <p:sldLayoutId id="2147485322" r:id="rId15"/>
    <p:sldLayoutId id="2147485323" r:id="rId16"/>
    <p:sldLayoutId id="2147485324" r:id="rId17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xStyles>
    <p:titleStyle>
      <a:lvl1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000" b="1">
          <a:solidFill>
            <a:srgbClr val="3333FF"/>
          </a:solidFill>
          <a:latin typeface="Calibri"/>
          <a:ea typeface="MS PGothic" pitchFamily="34" charset="-128"/>
          <a:cs typeface="Calibri"/>
        </a:defRPr>
      </a:lvl1pPr>
      <a:lvl2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5pPr>
      <a:lvl6pPr marL="153622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6pPr>
      <a:lvl7pPr marL="199328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7pPr>
      <a:lvl8pPr marL="245033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8pPr>
      <a:lvl9pPr marL="290739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9pPr>
    </p:titleStyle>
    <p:bodyStyle>
      <a:lvl1pPr marL="390525" indent="-292100" algn="l" defTabSz="412750" rtl="0" eaLnBrk="0" fontAlgn="base" hangingPunct="0">
        <a:lnSpc>
          <a:spcPct val="105000"/>
        </a:lnSpc>
        <a:spcBef>
          <a:spcPct val="30000"/>
        </a:spcBef>
        <a:spcAft>
          <a:spcPts val="800"/>
        </a:spcAft>
        <a:buClr>
          <a:srgbClr val="000000"/>
        </a:buClr>
        <a:buSzPct val="100000"/>
        <a:buFont typeface="Arial" pitchFamily="-72" charset="0"/>
        <a:buChar char="•"/>
        <a:defRPr sz="2900" b="1">
          <a:solidFill>
            <a:srgbClr val="000000"/>
          </a:solidFill>
          <a:latin typeface="Calibri" charset="0"/>
          <a:ea typeface="MS PGothic" pitchFamily="34" charset="-128"/>
          <a:cs typeface="MS PGothic" charset="0"/>
        </a:defRPr>
      </a:lvl1pPr>
      <a:lvl2pPr marL="782638" indent="-260350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600" b="1">
          <a:solidFill>
            <a:srgbClr val="000000"/>
          </a:solidFill>
          <a:latin typeface="Calibri" charset="0"/>
          <a:ea typeface="MS PGothic" pitchFamily="34" charset="-128"/>
        </a:defRPr>
      </a:lvl2pPr>
      <a:lvl3pPr marL="1173163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400" b="1">
          <a:solidFill>
            <a:srgbClr val="000000"/>
          </a:solidFill>
          <a:latin typeface="Calibri" charset="0"/>
          <a:ea typeface="ＭＳ Ｐゴシック" pitchFamily="-123" charset="-128"/>
          <a:cs typeface="ＭＳ Ｐゴシック" pitchFamily="-72" charset="-128"/>
        </a:defRPr>
      </a:lvl3pPr>
      <a:lvl4pPr marL="1565275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200" b="1">
          <a:solidFill>
            <a:srgbClr val="000000"/>
          </a:solidFill>
          <a:latin typeface="Calibri" charset="0"/>
          <a:ea typeface="ＭＳ Ｐゴシック" pitchFamily="-123" charset="-128"/>
        </a:defRPr>
      </a:lvl4pPr>
      <a:lvl5pPr marL="1957388" indent="-195263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000" b="1">
          <a:solidFill>
            <a:srgbClr val="000000"/>
          </a:solidFill>
          <a:latin typeface="Calibri" charset="0"/>
          <a:ea typeface="ＭＳ Ｐゴシック" pitchFamily="-123" charset="-128"/>
        </a:defRPr>
      </a:lvl5pPr>
      <a:lvl6pPr marL="2615386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6pPr>
      <a:lvl7pPr marL="3072444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7pPr>
      <a:lvl8pPr marL="3529502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8pPr>
      <a:lvl9pPr marL="3986559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1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3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1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89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47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0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2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508787"/>
            <a:ext cx="10363200" cy="419248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6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5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253968"/>
            <a:ext cx="11277600" cy="89911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DEF417D-782D-BF4C-AD97-BA445507843D}"/>
              </a:ext>
            </a:extLst>
          </p:cNvPr>
          <p:cNvSpPr/>
          <p:nvPr userDrawn="1"/>
        </p:nvSpPr>
        <p:spPr bwMode="auto">
          <a:xfrm>
            <a:off x="0" y="3932"/>
            <a:ext cx="12192000" cy="192021"/>
          </a:xfrm>
          <a:prstGeom prst="rect">
            <a:avLst/>
          </a:prstGeom>
          <a:solidFill>
            <a:srgbClr val="0F376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3C2A86B-1062-BD4E-8B1A-2A0430ECDF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t="50486"/>
          <a:stretch/>
        </p:blipFill>
        <p:spPr>
          <a:xfrm>
            <a:off x="11000654" y="3917"/>
            <a:ext cx="553893" cy="39248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694F77A-6EFF-DB45-93AF-D35AED5EED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l="84641" t="-1" b="-2655"/>
          <a:stretch/>
        </p:blipFill>
        <p:spPr>
          <a:xfrm>
            <a:off x="10320470" y="6362874"/>
            <a:ext cx="1872596" cy="49512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6952B98-158D-3745-9BC0-A5BF77D53383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rcRect/>
          <a:stretch/>
        </p:blipFill>
        <p:spPr>
          <a:xfrm>
            <a:off x="256880" y="6176036"/>
            <a:ext cx="5888648" cy="55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785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  <p:sldLayoutId id="2147483921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 i="0">
          <a:solidFill>
            <a:schemeClr val="bg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508787"/>
            <a:ext cx="10363200" cy="419248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6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205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253968"/>
            <a:ext cx="11277600" cy="89911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DEF417D-782D-BF4C-AD97-BA445507843D}"/>
              </a:ext>
            </a:extLst>
          </p:cNvPr>
          <p:cNvSpPr/>
          <p:nvPr userDrawn="1"/>
        </p:nvSpPr>
        <p:spPr bwMode="auto">
          <a:xfrm>
            <a:off x="0" y="3932"/>
            <a:ext cx="12192000" cy="192021"/>
          </a:xfrm>
          <a:prstGeom prst="rect">
            <a:avLst/>
          </a:prstGeom>
          <a:solidFill>
            <a:srgbClr val="0F376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3C2A86B-1062-BD4E-8B1A-2A0430ECDF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t="50486"/>
          <a:stretch/>
        </p:blipFill>
        <p:spPr>
          <a:xfrm>
            <a:off x="11000654" y="3917"/>
            <a:ext cx="553893" cy="39248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694F77A-6EFF-DB45-93AF-D35AED5EED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84641" t="-1" b="-2655"/>
          <a:stretch/>
        </p:blipFill>
        <p:spPr>
          <a:xfrm>
            <a:off x="10320470" y="6362874"/>
            <a:ext cx="1872596" cy="49512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6952B98-158D-3745-9BC0-A5BF77D53383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256880" y="6176036"/>
            <a:ext cx="5888648" cy="55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980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7" r:id="rId8"/>
    <p:sldLayoutId id="2147483938" r:id="rId9"/>
    <p:sldLayoutId id="2147483939" r:id="rId10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 i="0">
          <a:solidFill>
            <a:schemeClr val="bg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645461"/>
            <a:ext cx="10515600" cy="10452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37464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9652002" y="6723530"/>
            <a:ext cx="2539999" cy="134470"/>
          </a:xfrm>
          <a:prstGeom prst="rect">
            <a:avLst/>
          </a:prstGeom>
          <a:solidFill>
            <a:srgbClr val="D45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Goudy Oldstyle Std Regular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1AC0D1-8EAE-F24F-B824-BD583BAE0403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9652003" y="6115420"/>
            <a:ext cx="1846727" cy="47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502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059" r:id="rId12"/>
    <p:sldLayoutId id="2147484060" r:id="rId13"/>
    <p:sldLayoutId id="2147484061" r:id="rId14"/>
    <p:sldLayoutId id="2147484062" r:id="rId15"/>
    <p:sldLayoutId id="2147484063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/>
        <a:buNone/>
        <a:defRPr sz="1800" b="0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342900" indent="0" algn="l" defTabSz="685800" rtl="0" eaLnBrk="1" latinLnBrk="0" hangingPunct="1">
        <a:lnSpc>
          <a:spcPct val="90000"/>
        </a:lnSpc>
        <a:spcBef>
          <a:spcPts val="375"/>
        </a:spcBef>
        <a:buFont typeface="Arial"/>
        <a:buNone/>
        <a:defRPr sz="180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2pPr>
      <a:lvl3pPr marL="685800" indent="0" algn="l" defTabSz="685800" rtl="0" eaLnBrk="1" latinLnBrk="0" hangingPunct="1">
        <a:lnSpc>
          <a:spcPct val="90000"/>
        </a:lnSpc>
        <a:spcBef>
          <a:spcPts val="375"/>
        </a:spcBef>
        <a:buFont typeface="Arial"/>
        <a:buNone/>
        <a:defRPr sz="150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3pPr>
      <a:lvl4pPr marL="1028700" indent="0" algn="l" defTabSz="685800" rtl="0" eaLnBrk="1" latinLnBrk="0" hangingPunct="1">
        <a:lnSpc>
          <a:spcPct val="90000"/>
        </a:lnSpc>
        <a:spcBef>
          <a:spcPts val="375"/>
        </a:spcBef>
        <a:buFont typeface="Arial"/>
        <a:buNone/>
        <a:defRPr sz="135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4pPr>
      <a:lvl5pPr marL="1371600" indent="0" algn="l" defTabSz="685800" rtl="0" eaLnBrk="1" latinLnBrk="0" hangingPunct="1">
        <a:lnSpc>
          <a:spcPct val="90000"/>
        </a:lnSpc>
        <a:spcBef>
          <a:spcPts val="375"/>
        </a:spcBef>
        <a:buFont typeface="Arial"/>
        <a:buNone/>
        <a:defRPr sz="135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1.pn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0" y="6834192"/>
            <a:ext cx="12192000" cy="42863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Shape 4"/>
          <p:cNvSpPr/>
          <p:nvPr/>
        </p:nvSpPr>
        <p:spPr>
          <a:xfrm>
            <a:off x="2" y="6804556"/>
            <a:ext cx="12200468" cy="0"/>
          </a:xfrm>
          <a:prstGeom prst="line">
            <a:avLst/>
          </a:prstGeom>
          <a:ln w="28575">
            <a:solidFill>
              <a:srgbClr val="57649B"/>
            </a:solidFill>
            <a:miter/>
          </a:ln>
        </p:spPr>
        <p:txBody>
          <a:bodyPr lIns="34289" tIns="34289" rIns="34289" bIns="34289"/>
          <a:lstStyle/>
          <a:p>
            <a:pPr defTabSz="457189" hangingPunct="0"/>
            <a:endParaRPr sz="1350" kern="0">
              <a:solidFill>
                <a:srgbClr val="000000"/>
              </a:solidFill>
              <a:cs typeface="Arial" pitchFamily="34" charset="0"/>
              <a:sym typeface="Helvetica"/>
            </a:endParaRPr>
          </a:p>
        </p:txBody>
      </p:sp>
      <p:pic>
        <p:nvPicPr>
          <p:cNvPr id="5" name="image2.pn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-12700" y="4"/>
            <a:ext cx="12192000" cy="1185863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/>
          <p:cNvSpPr txBox="1"/>
          <p:nvPr/>
        </p:nvSpPr>
        <p:spPr>
          <a:xfrm>
            <a:off x="11772900" y="6391277"/>
            <a:ext cx="406400" cy="1846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defTabSz="457189" hangingPunct="0"/>
            <a:fld id="{03EC0E6C-2131-4D46-BFFE-97DA108921A1}" type="slidenum">
              <a:rPr lang="en-US" sz="750" kern="0" smtClean="0">
                <a:solidFill>
                  <a:srgbClr val="000000">
                    <a:lumMod val="65000"/>
                    <a:lumOff val="35000"/>
                  </a:srgbClr>
                </a:solidFill>
                <a:cs typeface="Arial" pitchFamily="34" charset="0"/>
                <a:sym typeface="Helvetica"/>
              </a:rPr>
              <a:pPr defTabSz="457189" hangingPunct="0"/>
              <a:t>‹#›</a:t>
            </a:fld>
            <a:endParaRPr lang="en-US" sz="750" kern="0" dirty="0">
              <a:solidFill>
                <a:srgbClr val="000000">
                  <a:lumMod val="65000"/>
                  <a:lumOff val="35000"/>
                </a:srgbClr>
              </a:solidFill>
              <a:cs typeface="Arial" pitchFamily="34" charset="0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067240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5" r:id="rId3"/>
    <p:sldLayoutId id="2147484186" r:id="rId4"/>
    <p:sldLayoutId id="2147484187" r:id="rId5"/>
    <p:sldLayoutId id="2147484188" r:id="rId6"/>
    <p:sldLayoutId id="2147484189" r:id="rId7"/>
    <p:sldLayoutId id="2147484190" r:id="rId8"/>
    <p:sldLayoutId id="2147484191" r:id="rId9"/>
    <p:sldLayoutId id="2147484192" r:id="rId10"/>
    <p:sldLayoutId id="2147484193" r:id="rId11"/>
    <p:sldLayoutId id="2147484194" r:id="rId12"/>
    <p:sldLayoutId id="2147484195" r:id="rId13"/>
    <p:sldLayoutId id="2147484196" r:id="rId14"/>
    <p:sldLayoutId id="2147484197" r:id="rId15"/>
    <p:sldLayoutId id="2147484198" r:id="rId16"/>
    <p:sldLayoutId id="2147484199" r:id="rId17"/>
  </p:sldLayoutIdLst>
  <p:txStyles>
    <p:titleStyle>
      <a:lvl1pPr marL="0" marR="0" indent="0" algn="l" defTabSz="685783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0" algn="l" defTabSz="685783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685783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685783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685783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685783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685783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685783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685783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171446" marR="0" indent="-171446" algn="l" defTabSz="685783" rtl="0" eaLnBrk="1" latinLnBrk="0" hangingPunct="1">
        <a:lnSpc>
          <a:spcPct val="9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21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542912" marR="0" indent="-200020" algn="l" defTabSz="685783" rtl="0" eaLnBrk="1" latinLnBrk="0" hangingPunct="1">
        <a:lnSpc>
          <a:spcPct val="9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21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925806" marR="0" indent="-240023" algn="l" defTabSz="685783" rtl="0" eaLnBrk="1" latinLnBrk="0" hangingPunct="1">
        <a:lnSpc>
          <a:spcPct val="9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21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1295368" marR="0" indent="-266693" algn="l" defTabSz="685783" rtl="0" eaLnBrk="1" latinLnBrk="0" hangingPunct="1">
        <a:lnSpc>
          <a:spcPct val="9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21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1638259" marR="0" indent="-266693" algn="l" defTabSz="685783" rtl="0" eaLnBrk="1" latinLnBrk="0" hangingPunct="1">
        <a:lnSpc>
          <a:spcPct val="9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21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1981151" marR="0" indent="-266693" algn="l" defTabSz="685783" rtl="0" eaLnBrk="1" latinLnBrk="0" hangingPunct="1">
        <a:lnSpc>
          <a:spcPct val="9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21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2324042" marR="0" indent="-266693" algn="l" defTabSz="685783" rtl="0" eaLnBrk="1" latinLnBrk="0" hangingPunct="1">
        <a:lnSpc>
          <a:spcPct val="9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21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2666933" marR="0" indent="-266693" algn="l" defTabSz="685783" rtl="0" eaLnBrk="1" latinLnBrk="0" hangingPunct="1">
        <a:lnSpc>
          <a:spcPct val="9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21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3009825" marR="0" indent="-266693" algn="l" defTabSz="685783" rtl="0" eaLnBrk="1" latinLnBrk="0" hangingPunct="1">
        <a:lnSpc>
          <a:spcPct val="90000"/>
        </a:lnSpc>
        <a:spcBef>
          <a:spcPts val="750"/>
        </a:spcBef>
        <a:spcAft>
          <a:spcPts val="0"/>
        </a:spcAft>
        <a:buClrTx/>
        <a:buSzPct val="100000"/>
        <a:buFont typeface="Arial"/>
        <a:buChar char="•"/>
        <a:tabLst/>
        <a:defRPr sz="21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r" defTabSz="6857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5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342892" algn="r" defTabSz="6857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5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685783" algn="r" defTabSz="6857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5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028675" algn="r" defTabSz="6857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5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371566" algn="r" defTabSz="6857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5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1714457" algn="r" defTabSz="6857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5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2057348" algn="r" defTabSz="6857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5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2400240" algn="r" defTabSz="6857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5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2743132" algn="r" defTabSz="6857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5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120" userDrawn="1">
          <p15:clr>
            <a:srgbClr val="F26B43"/>
          </p15:clr>
        </p15:guide>
        <p15:guide id="2" pos="8544" userDrawn="1">
          <p15:clr>
            <a:srgbClr val="F26B43"/>
          </p15:clr>
        </p15:guide>
        <p15:guide id="3" pos="9952" userDrawn="1">
          <p15:clr>
            <a:srgbClr val="F26B43"/>
          </p15:clr>
        </p15:guide>
        <p15:guide id="4" pos="288" userDrawn="1">
          <p15:clr>
            <a:srgbClr val="F26B43"/>
          </p15:clr>
        </p15:guide>
        <p15:guide id="5" orient="horz" pos="2160" userDrawn="1">
          <p15:clr>
            <a:srgbClr val="F26B43"/>
          </p15:clr>
        </p15:guide>
        <p15:guide id="6" orient="horz" pos="4176" userDrawn="1">
          <p15:clr>
            <a:srgbClr val="F26B43"/>
          </p15:clr>
        </p15:guide>
        <p15:guide id="7" orient="horz" pos="864" userDrawn="1">
          <p15:clr>
            <a:srgbClr val="F26B43"/>
          </p15:clr>
        </p15:guide>
        <p15:guide id="8" orient="horz" pos="3864" userDrawn="1">
          <p15:clr>
            <a:srgbClr val="F26B43"/>
          </p15:clr>
        </p15:guide>
        <p15:guide id="9" orient="horz" pos="122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430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3999" y="1303847"/>
            <a:ext cx="11404005" cy="4317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9073878" y="6617804"/>
            <a:ext cx="2828236" cy="1981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en-US" sz="688" b="0">
                <a:solidFill>
                  <a:srgbClr val="000000"/>
                </a:solidFill>
              </a:rPr>
              <a:t>© 2020 PRIME</a:t>
            </a:r>
            <a:r>
              <a:rPr lang="en-US" sz="688" b="0" baseline="30000">
                <a:solidFill>
                  <a:srgbClr val="000000"/>
                </a:solidFill>
              </a:rPr>
              <a:t>® </a:t>
            </a:r>
            <a:r>
              <a:rPr lang="en-US" sz="688" b="0">
                <a:solidFill>
                  <a:srgbClr val="000000"/>
                </a:solidFill>
              </a:rPr>
              <a:t>Education, LLC. All Rights Reserved.</a:t>
            </a:r>
            <a:endParaRPr lang="en-US" sz="688" b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3EBD37-4511-4F3D-80AE-CC0FF21CFF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648" y="6513176"/>
            <a:ext cx="10430600" cy="280112"/>
          </a:xfrm>
          <a:prstGeom prst="rect">
            <a:avLst/>
          </a:prstGeom>
        </p:spPr>
        <p:txBody>
          <a:bodyPr/>
          <a:lstStyle>
            <a:lvl1pPr algn="ctr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en-US">
                <a:solidFill>
                  <a:schemeClr val="tx2"/>
                </a:solidFill>
              </a:rPr>
              <a:t>02/21     2010-US-2100015</a:t>
            </a:r>
            <a:r>
              <a:rPr lang="en-US">
                <a:solidFill>
                  <a:prstClr val="black"/>
                </a:solidFill>
              </a:rPr>
              <a:t>                                    BMS Confidential. For Internal Use Only. Do Not Disseminate Outside of BMS</a:t>
            </a:r>
          </a:p>
          <a:p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793827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5" r:id="rId1"/>
    <p:sldLayoutId id="2147484546" r:id="rId2"/>
    <p:sldLayoutId id="2147484547" r:id="rId3"/>
    <p:sldLayoutId id="2147484548" r:id="rId4"/>
    <p:sldLayoutId id="2147484549" r:id="rId5"/>
  </p:sldLayoutIdLst>
  <p:hf sldNum="0" hdr="0" dt="0"/>
  <p:txStyles>
    <p:titleStyle>
      <a:lvl1pPr algn="ctr" defTabSz="571478" rtl="0" eaLnBrk="1" latinLnBrk="0" hangingPunct="1">
        <a:spcBef>
          <a:spcPct val="0"/>
        </a:spcBef>
        <a:buNone/>
        <a:defRPr sz="275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4304" indent="-214304" algn="l" defTabSz="571478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64325" indent="-178586" algn="l" defTabSz="571478" rtl="0" eaLnBrk="1" latinLnBrk="0" hangingPunct="1">
        <a:spcBef>
          <a:spcPct val="20000"/>
        </a:spcBef>
        <a:buClr>
          <a:schemeClr val="tx1"/>
        </a:buClr>
        <a:buFont typeface="Wingdings" panose="05000000000000000000" pitchFamily="2" charset="2"/>
        <a:buChar char="§"/>
        <a:defRPr sz="1750" kern="1200">
          <a:solidFill>
            <a:schemeClr val="tx1"/>
          </a:solidFill>
          <a:latin typeface="+mn-lt"/>
          <a:ea typeface="+mn-ea"/>
          <a:cs typeface="+mn-cs"/>
        </a:defRPr>
      </a:lvl2pPr>
      <a:lvl3pPr marL="714346" indent="-142869" algn="l" defTabSz="571478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00085" indent="-142869" algn="l" defTabSz="571478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250" kern="1200">
          <a:solidFill>
            <a:schemeClr val="tx1"/>
          </a:solidFill>
          <a:latin typeface="+mn-lt"/>
          <a:ea typeface="+mn-ea"/>
          <a:cs typeface="+mn-cs"/>
        </a:defRPr>
      </a:lvl4pPr>
      <a:lvl5pPr marL="1285823" indent="-142869" algn="l" defTabSz="571478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»"/>
        <a:defRPr sz="1250" kern="1200">
          <a:solidFill>
            <a:schemeClr val="tx1"/>
          </a:solidFill>
          <a:latin typeface="+mn-lt"/>
          <a:ea typeface="+mn-ea"/>
          <a:cs typeface="+mn-cs"/>
        </a:defRPr>
      </a:lvl5pPr>
      <a:lvl6pPr marL="1571562" indent="-142869" algn="l" defTabSz="571478" rtl="0" eaLnBrk="1" latinLnBrk="0" hangingPunct="1">
        <a:spcBef>
          <a:spcPct val="20000"/>
        </a:spcBef>
        <a:buFont typeface="Arial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6pPr>
      <a:lvl7pPr marL="1857301" indent="-142869" algn="l" defTabSz="571478" rtl="0" eaLnBrk="1" latinLnBrk="0" hangingPunct="1">
        <a:spcBef>
          <a:spcPct val="20000"/>
        </a:spcBef>
        <a:buFont typeface="Arial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7pPr>
      <a:lvl8pPr marL="2143039" indent="-142869" algn="l" defTabSz="571478" rtl="0" eaLnBrk="1" latinLnBrk="0" hangingPunct="1">
        <a:spcBef>
          <a:spcPct val="20000"/>
        </a:spcBef>
        <a:buFont typeface="Arial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8pPr>
      <a:lvl9pPr marL="2428778" indent="-142869" algn="l" defTabSz="571478" rtl="0" eaLnBrk="1" latinLnBrk="0" hangingPunct="1">
        <a:spcBef>
          <a:spcPct val="20000"/>
        </a:spcBef>
        <a:buFont typeface="Arial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85739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571478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857216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42954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28693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714432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2000170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285909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430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3999" y="1303847"/>
            <a:ext cx="11404005" cy="43171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9073878" y="6617804"/>
            <a:ext cx="2828236" cy="1981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en-US" sz="688" b="0" dirty="0">
                <a:solidFill>
                  <a:srgbClr val="000000"/>
                </a:solidFill>
              </a:rPr>
              <a:t>© 2020 PRIME</a:t>
            </a:r>
            <a:r>
              <a:rPr lang="en-US" sz="688" b="0" baseline="30000" dirty="0">
                <a:solidFill>
                  <a:srgbClr val="000000"/>
                </a:solidFill>
              </a:rPr>
              <a:t>® </a:t>
            </a:r>
            <a:r>
              <a:rPr lang="en-US" sz="688" b="0" dirty="0">
                <a:solidFill>
                  <a:srgbClr val="000000"/>
                </a:solidFill>
              </a:rPr>
              <a:t>Education, LLC. All Rights Reserved.</a:t>
            </a:r>
            <a:endParaRPr lang="en-US" sz="688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723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2" r:id="rId1"/>
    <p:sldLayoutId id="2147484553" r:id="rId2"/>
    <p:sldLayoutId id="2147484554" r:id="rId3"/>
    <p:sldLayoutId id="2147484555" r:id="rId4"/>
    <p:sldLayoutId id="2147484556" r:id="rId5"/>
  </p:sldLayoutIdLst>
  <p:txStyles>
    <p:titleStyle>
      <a:lvl1pPr algn="ctr" defTabSz="571478" rtl="0" eaLnBrk="1" latinLnBrk="0" hangingPunct="1">
        <a:spcBef>
          <a:spcPct val="0"/>
        </a:spcBef>
        <a:buNone/>
        <a:defRPr sz="275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4304" indent="-214304" algn="l" defTabSz="571478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64325" indent="-178586" algn="l" defTabSz="571478" rtl="0" eaLnBrk="1" latinLnBrk="0" hangingPunct="1">
        <a:spcBef>
          <a:spcPct val="20000"/>
        </a:spcBef>
        <a:buClr>
          <a:schemeClr val="tx1"/>
        </a:buClr>
        <a:buFont typeface="Wingdings" panose="05000000000000000000" pitchFamily="2" charset="2"/>
        <a:buChar char="§"/>
        <a:defRPr sz="1750" kern="1200">
          <a:solidFill>
            <a:schemeClr val="tx1"/>
          </a:solidFill>
          <a:latin typeface="+mn-lt"/>
          <a:ea typeface="+mn-ea"/>
          <a:cs typeface="+mn-cs"/>
        </a:defRPr>
      </a:lvl2pPr>
      <a:lvl3pPr marL="714346" indent="-142869" algn="l" defTabSz="571478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00085" indent="-142869" algn="l" defTabSz="571478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250" kern="1200">
          <a:solidFill>
            <a:schemeClr val="tx1"/>
          </a:solidFill>
          <a:latin typeface="+mn-lt"/>
          <a:ea typeface="+mn-ea"/>
          <a:cs typeface="+mn-cs"/>
        </a:defRPr>
      </a:lvl4pPr>
      <a:lvl5pPr marL="1285823" indent="-142869" algn="l" defTabSz="571478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»"/>
        <a:defRPr sz="1250" kern="1200">
          <a:solidFill>
            <a:schemeClr val="tx1"/>
          </a:solidFill>
          <a:latin typeface="+mn-lt"/>
          <a:ea typeface="+mn-ea"/>
          <a:cs typeface="+mn-cs"/>
        </a:defRPr>
      </a:lvl5pPr>
      <a:lvl6pPr marL="1571562" indent="-142869" algn="l" defTabSz="571478" rtl="0" eaLnBrk="1" latinLnBrk="0" hangingPunct="1">
        <a:spcBef>
          <a:spcPct val="20000"/>
        </a:spcBef>
        <a:buFont typeface="Arial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6pPr>
      <a:lvl7pPr marL="1857301" indent="-142869" algn="l" defTabSz="571478" rtl="0" eaLnBrk="1" latinLnBrk="0" hangingPunct="1">
        <a:spcBef>
          <a:spcPct val="20000"/>
        </a:spcBef>
        <a:buFont typeface="Arial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7pPr>
      <a:lvl8pPr marL="2143039" indent="-142869" algn="l" defTabSz="571478" rtl="0" eaLnBrk="1" latinLnBrk="0" hangingPunct="1">
        <a:spcBef>
          <a:spcPct val="20000"/>
        </a:spcBef>
        <a:buFont typeface="Arial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8pPr>
      <a:lvl9pPr marL="2428778" indent="-142869" algn="l" defTabSz="571478" rtl="0" eaLnBrk="1" latinLnBrk="0" hangingPunct="1">
        <a:spcBef>
          <a:spcPct val="20000"/>
        </a:spcBef>
        <a:buFont typeface="Arial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85739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571478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857216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42954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28693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714432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2000170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285909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645463"/>
            <a:ext cx="10515600" cy="10452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8"/>
            <a:ext cx="10515600" cy="37464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pic>
        <p:nvPicPr>
          <p:cNvPr id="4" name="Picture 3" descr="PREFERRED_full-color_MAYS-UTH-MDA_h.png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9663" y="5852160"/>
            <a:ext cx="2601351" cy="661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461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7" r:id="rId1"/>
    <p:sldLayoutId id="2147484678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686" r:id="rId10"/>
    <p:sldLayoutId id="2147484687" r:id="rId11"/>
    <p:sldLayoutId id="2147484688" r:id="rId12"/>
    <p:sldLayoutId id="2147484689" r:id="rId13"/>
    <p:sldLayoutId id="2147484690" r:id="rId14"/>
    <p:sldLayoutId id="2147484691" r:id="rId15"/>
    <p:sldLayoutId id="2147484692" r:id="rId16"/>
    <p:sldLayoutId id="2147484693" r:id="rId17"/>
    <p:sldLayoutId id="2147484694" r:id="rId18"/>
    <p:sldLayoutId id="2147484695" r:id="rId19"/>
    <p:sldLayoutId id="2147484696" r:id="rId20"/>
    <p:sldLayoutId id="2147484697" r:id="rId21"/>
    <p:sldLayoutId id="2147484698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475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514350" rtl="0" eaLnBrk="1" latinLnBrk="0" hangingPunct="1">
        <a:lnSpc>
          <a:spcPct val="90000"/>
        </a:lnSpc>
        <a:spcBef>
          <a:spcPts val="563"/>
        </a:spcBef>
        <a:buFont typeface="Arial"/>
        <a:buNone/>
        <a:defRPr sz="1350" b="0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257175" indent="0" algn="l" defTabSz="514350" rtl="0" eaLnBrk="1" latinLnBrk="0" hangingPunct="1">
        <a:lnSpc>
          <a:spcPct val="90000"/>
        </a:lnSpc>
        <a:spcBef>
          <a:spcPts val="281"/>
        </a:spcBef>
        <a:buFont typeface="Arial"/>
        <a:buNone/>
        <a:defRPr sz="1350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2pPr>
      <a:lvl3pPr marL="514350" indent="0" algn="l" defTabSz="514350" rtl="0" eaLnBrk="1" latinLnBrk="0" hangingPunct="1">
        <a:lnSpc>
          <a:spcPct val="90000"/>
        </a:lnSpc>
        <a:spcBef>
          <a:spcPts val="281"/>
        </a:spcBef>
        <a:buFont typeface="Arial"/>
        <a:buNone/>
        <a:defRPr sz="1125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3pPr>
      <a:lvl4pPr marL="771525" indent="0" algn="l" defTabSz="514350" rtl="0" eaLnBrk="1" latinLnBrk="0" hangingPunct="1">
        <a:lnSpc>
          <a:spcPct val="90000"/>
        </a:lnSpc>
        <a:spcBef>
          <a:spcPts val="281"/>
        </a:spcBef>
        <a:buFont typeface="Arial"/>
        <a:buNone/>
        <a:defRPr sz="1013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4pPr>
      <a:lvl5pPr marL="1028700" indent="0" algn="l" defTabSz="514350" rtl="0" eaLnBrk="1" latinLnBrk="0" hangingPunct="1">
        <a:lnSpc>
          <a:spcPct val="90000"/>
        </a:lnSpc>
        <a:spcBef>
          <a:spcPts val="281"/>
        </a:spcBef>
        <a:buFont typeface="Arial"/>
        <a:buNone/>
        <a:defRPr sz="1013" b="0" i="0" kern="1200">
          <a:solidFill>
            <a:schemeClr val="tx2"/>
          </a:solidFill>
          <a:latin typeface="Goudy Oldstyle Std Regular" charset="0"/>
          <a:ea typeface="+mn-ea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56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13" Type="http://schemas.openxmlformats.org/officeDocument/2006/relationships/image" Target="../media/image77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12" Type="http://schemas.openxmlformats.org/officeDocument/2006/relationships/image" Target="../media/image76.png"/><Relationship Id="rId17" Type="http://schemas.openxmlformats.org/officeDocument/2006/relationships/image" Target="../media/image81.png"/><Relationship Id="rId2" Type="http://schemas.openxmlformats.org/officeDocument/2006/relationships/image" Target="../media/image66.png"/><Relationship Id="rId16" Type="http://schemas.openxmlformats.org/officeDocument/2006/relationships/image" Target="../media/image80.png"/><Relationship Id="rId1" Type="http://schemas.openxmlformats.org/officeDocument/2006/relationships/slideLayout" Target="../slideLayouts/slideLayout296.xml"/><Relationship Id="rId6" Type="http://schemas.openxmlformats.org/officeDocument/2006/relationships/image" Target="../media/image70.png"/><Relationship Id="rId11" Type="http://schemas.openxmlformats.org/officeDocument/2006/relationships/image" Target="../media/image75.png"/><Relationship Id="rId5" Type="http://schemas.openxmlformats.org/officeDocument/2006/relationships/image" Target="../media/image69.png"/><Relationship Id="rId15" Type="http://schemas.openxmlformats.org/officeDocument/2006/relationships/image" Target="../media/image79.png"/><Relationship Id="rId10" Type="http://schemas.openxmlformats.org/officeDocument/2006/relationships/image" Target="../media/image74.png"/><Relationship Id="rId4" Type="http://schemas.openxmlformats.org/officeDocument/2006/relationships/image" Target="../media/image68.png"/><Relationship Id="rId9" Type="http://schemas.openxmlformats.org/officeDocument/2006/relationships/image" Target="../media/image73.png"/><Relationship Id="rId14" Type="http://schemas.openxmlformats.org/officeDocument/2006/relationships/image" Target="../media/image7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4.xml"/><Relationship Id="rId4" Type="http://schemas.openxmlformats.org/officeDocument/2006/relationships/image" Target="../media/image83.tif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1.xml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0.xml"/><Relationship Id="rId4" Type="http://schemas.openxmlformats.org/officeDocument/2006/relationships/image" Target="../media/image8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7.xml"/><Relationship Id="rId4" Type="http://schemas.openxmlformats.org/officeDocument/2006/relationships/image" Target="../media/image90.tif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2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5.emf"/><Relationship Id="rId2" Type="http://schemas.openxmlformats.org/officeDocument/2006/relationships/slideLayout" Target="../slideLayouts/slideLayout27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94.emf"/><Relationship Id="rId4" Type="http://schemas.openxmlformats.org/officeDocument/2006/relationships/oleObject" Target="../embeddings/oleObject2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97.emf"/><Relationship Id="rId2" Type="http://schemas.openxmlformats.org/officeDocument/2006/relationships/slideLayout" Target="../slideLayouts/slideLayout26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96.emf"/><Relationship Id="rId4" Type="http://schemas.openxmlformats.org/officeDocument/2006/relationships/oleObject" Target="../embeddings/oleObject4.bin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3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1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32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32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32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3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22.xml"/><Relationship Id="rId4" Type="http://schemas.openxmlformats.org/officeDocument/2006/relationships/image" Target="../media/image6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uidetopharmacology.org/GRAC/LigandScreenDisplayForward?ligandId=5688&amp;screenId=2" TargetMode="External"/><Relationship Id="rId3" Type="http://schemas.openxmlformats.org/officeDocument/2006/relationships/image" Target="../media/image61.jpeg"/><Relationship Id="rId7" Type="http://schemas.openxmlformats.org/officeDocument/2006/relationships/image" Target="../media/image65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5.xml"/><Relationship Id="rId6" Type="http://schemas.openxmlformats.org/officeDocument/2006/relationships/image" Target="../media/image64.jpeg"/><Relationship Id="rId11" Type="http://schemas.openxmlformats.org/officeDocument/2006/relationships/hyperlink" Target="https://www.nature.com/articles/leu2011148" TargetMode="External"/><Relationship Id="rId5" Type="http://schemas.openxmlformats.org/officeDocument/2006/relationships/image" Target="../media/image63.jpeg"/><Relationship Id="rId10" Type="http://schemas.openxmlformats.org/officeDocument/2006/relationships/hyperlink" Target="https://www.ncbi.nlm.nih.gov/pmc/articles/PMC4993559/" TargetMode="External"/><Relationship Id="rId4" Type="http://schemas.openxmlformats.org/officeDocument/2006/relationships/image" Target="../media/image62.jpeg"/><Relationship Id="rId9" Type="http://schemas.openxmlformats.org/officeDocument/2006/relationships/hyperlink" Target="http://www.guidetopharmacology.org/GRAC/LigandScreenDisplayForward?ligandId=5716&amp;screenId=2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1"/>
            <a:ext cx="12192000" cy="4895273"/>
          </a:xfrm>
          <a:prstGeom prst="rect">
            <a:avLst/>
          </a:prstGeom>
          <a:solidFill>
            <a:srgbClr val="B947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Georgia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1674725" y="539953"/>
            <a:ext cx="6340510" cy="2215313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rgbClr val="FFFF00"/>
                </a:solidFill>
              </a:rPr>
              <a:t>Evolving Therapy of </a:t>
            </a:r>
          </a:p>
          <a:p>
            <a:pPr algn="ctr"/>
            <a:r>
              <a:rPr lang="en-US" sz="3600" dirty="0">
                <a:solidFill>
                  <a:srgbClr val="FFFF00"/>
                </a:solidFill>
              </a:rPr>
              <a:t>MPNs 2022</a:t>
            </a:r>
          </a:p>
          <a:p>
            <a:endParaRPr lang="en-US" sz="3600" dirty="0">
              <a:solidFill>
                <a:schemeClr val="bg1"/>
              </a:solidFill>
            </a:endParaRPr>
          </a:p>
          <a:p>
            <a:pPr algn="ctr"/>
            <a:endParaRPr lang="en-US" sz="3200" i="1" dirty="0">
              <a:solidFill>
                <a:schemeClr val="bg1"/>
              </a:solidFill>
              <a:latin typeface="+mj-lt"/>
              <a:cs typeface="Goudy Old Style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5847" y="4963247"/>
            <a:ext cx="4152381" cy="1761905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7C4BD8D6-8F31-E648-AEBF-BD30045DD2F8}"/>
              </a:ext>
            </a:extLst>
          </p:cNvPr>
          <p:cNvSpPr txBox="1">
            <a:spLocks/>
          </p:cNvSpPr>
          <p:nvPr/>
        </p:nvSpPr>
        <p:spPr>
          <a:xfrm>
            <a:off x="1524000" y="2899895"/>
            <a:ext cx="8671560" cy="2140008"/>
          </a:xfrm>
          <a:prstGeom prst="rect">
            <a:avLst/>
          </a:prstGeom>
        </p:spPr>
        <p:txBody>
          <a:bodyPr vert="horz" lIns="91440" tIns="45720" rIns="91440" bIns="45720" rtlCol="0" anchor="ctr" anchorCtr="1">
            <a:normAutofit fontScale="62500" lnSpcReduction="20000"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Tx/>
              <a:buNone/>
              <a:defRPr sz="3600" b="1" i="0" kern="1200" baseline="0">
                <a:solidFill>
                  <a:schemeClr val="bg1"/>
                </a:solidFill>
                <a:latin typeface="Goudy Old Style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3600" b="1" i="0" kern="1200" baseline="0">
                <a:solidFill>
                  <a:schemeClr val="bg1"/>
                </a:solidFill>
                <a:latin typeface="Goudy Old Style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600" b="1" i="0" kern="1200" baseline="0">
                <a:solidFill>
                  <a:schemeClr val="bg1"/>
                </a:solidFill>
                <a:latin typeface="Goudy Old Style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3600" b="1" i="0" kern="1200" baseline="0">
                <a:solidFill>
                  <a:schemeClr val="bg1"/>
                </a:solidFill>
                <a:latin typeface="Goudy Old Style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3600" b="1" i="0" kern="1200" baseline="0">
                <a:solidFill>
                  <a:schemeClr val="bg1"/>
                </a:solidFill>
                <a:latin typeface="Goudy Old Style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BC4800">
                    <a:lumMod val="20000"/>
                    <a:lumOff val="80000"/>
                  </a:srgbClr>
                </a:solidFill>
              </a:rPr>
              <a:t>Ruben A. Mesa, MD</a:t>
            </a:r>
          </a:p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Executive Director, Mays Cancer Center</a:t>
            </a:r>
          </a:p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Mays Family Foundation Distinguished University Presidential Chair</a:t>
            </a:r>
          </a:p>
          <a:p>
            <a:pPr>
              <a:defRPr/>
            </a:pPr>
            <a:r>
              <a:rPr lang="en-US" dirty="0" err="1">
                <a:solidFill>
                  <a:srgbClr val="FFFFFF"/>
                </a:solidFill>
              </a:rPr>
              <a:t>mesar@uthscsa.edu</a:t>
            </a:r>
            <a:endParaRPr lang="en-US" dirty="0">
              <a:solidFill>
                <a:srgbClr val="FFFFFF"/>
              </a:solidFill>
            </a:endParaRPr>
          </a:p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Twitter: @</a:t>
            </a:r>
            <a:r>
              <a:rPr lang="en-US" dirty="0" err="1">
                <a:solidFill>
                  <a:srgbClr val="FFFFFF"/>
                </a:solidFill>
              </a:rPr>
              <a:t>mpdrc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D7DE248-83E9-D743-853A-05ADB5EB904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6711" r="17368" b="3336"/>
          <a:stretch/>
        </p:blipFill>
        <p:spPr>
          <a:xfrm>
            <a:off x="7872235" y="342292"/>
            <a:ext cx="2109803" cy="3281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634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CEB9E4-E329-A140-B8D6-841FD67BA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Momelotinib</a:t>
            </a:r>
            <a:endParaRPr lang="en-US" dirty="0"/>
          </a:p>
          <a:p>
            <a:r>
              <a:rPr lang="en-US" dirty="0"/>
              <a:t>Seeking Approval</a:t>
            </a:r>
          </a:p>
        </p:txBody>
      </p:sp>
    </p:spTree>
    <p:extLst>
      <p:ext uri="{BB962C8B-B14F-4D97-AF65-F5344CB8AC3E}">
        <p14:creationId xmlns:p14="http://schemas.microsoft.com/office/powerpoint/2010/main" val="2343802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C618DF-00A5-44B5-9CC2-1907C5935CF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2700"/>
              <a:t>MOMENTUM: Phase 3 Randomized Study of Momelotinib (MMB) versus Danazol (DAN) in Symptomatic and Anemic Myelofibrosis (MF) Patients Previously Treated with a JAK Inhibito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EFFD1F-9FAA-45ED-BCAD-E5A022DA3E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04061" y="3813689"/>
            <a:ext cx="8299985" cy="711503"/>
          </a:xfrm>
        </p:spPr>
        <p:txBody>
          <a:bodyPr>
            <a:normAutofit/>
          </a:bodyPr>
          <a:lstStyle/>
          <a:p>
            <a:r>
              <a:rPr lang="en-US" sz="1200"/>
              <a:t>Ruben Mesa</a:t>
            </a:r>
            <a:r>
              <a:rPr lang="en-US" sz="1200" baseline="30000"/>
              <a:t>1</a:t>
            </a:r>
            <a:r>
              <a:rPr lang="en-US" sz="1200"/>
              <a:t>, Aaron T. Gerds</a:t>
            </a:r>
            <a:r>
              <a:rPr lang="en-US" sz="1200" baseline="30000"/>
              <a:t>2</a:t>
            </a:r>
            <a:r>
              <a:rPr lang="en-US" sz="1200"/>
              <a:t>, Alessandro Vannucchi</a:t>
            </a:r>
            <a:r>
              <a:rPr lang="en-US" sz="1200" baseline="30000"/>
              <a:t>3</a:t>
            </a:r>
            <a:r>
              <a:rPr lang="en-US" sz="1200"/>
              <a:t>, Haifa Kathrin Al-Ali</a:t>
            </a:r>
            <a:r>
              <a:rPr lang="en-US" sz="1200" baseline="30000"/>
              <a:t>4</a:t>
            </a:r>
            <a:r>
              <a:rPr lang="en-US" sz="1200"/>
              <a:t>, David Lavie</a:t>
            </a:r>
            <a:r>
              <a:rPr lang="en-US" sz="1200" baseline="30000"/>
              <a:t>5</a:t>
            </a:r>
            <a:r>
              <a:rPr lang="en-US" sz="1200"/>
              <a:t>, Andrew Kuykendall</a:t>
            </a:r>
            <a:r>
              <a:rPr lang="en-US" sz="1200" baseline="30000"/>
              <a:t>6</a:t>
            </a:r>
            <a:r>
              <a:rPr lang="en-US" sz="1200"/>
              <a:t>, Sebastian Grosicki</a:t>
            </a:r>
            <a:r>
              <a:rPr lang="en-US" sz="1200" baseline="30000"/>
              <a:t>7</a:t>
            </a:r>
            <a:r>
              <a:rPr lang="en-US" sz="1200"/>
              <a:t>, Alessandra Iurlo</a:t>
            </a:r>
            <a:r>
              <a:rPr lang="en-US" sz="1200" baseline="30000"/>
              <a:t>8</a:t>
            </a:r>
            <a:r>
              <a:rPr lang="en-US" sz="1200"/>
              <a:t>, Yeow Tee Goh</a:t>
            </a:r>
            <a:r>
              <a:rPr lang="en-US" sz="1200" baseline="30000"/>
              <a:t>9</a:t>
            </a:r>
            <a:r>
              <a:rPr lang="en-US" sz="1200"/>
              <a:t>, Mihaela Lazaroiu</a:t>
            </a:r>
            <a:r>
              <a:rPr lang="en-US" sz="1200" baseline="30000"/>
              <a:t>10</a:t>
            </a:r>
            <a:r>
              <a:rPr lang="en-US" sz="1200"/>
              <a:t>, Miklos Egyed</a:t>
            </a:r>
            <a:r>
              <a:rPr lang="en-US" sz="1200" baseline="30000"/>
              <a:t>11</a:t>
            </a:r>
            <a:r>
              <a:rPr lang="en-US" sz="1200"/>
              <a:t>, Maria Laura Fox</a:t>
            </a:r>
            <a:r>
              <a:rPr lang="en-US" sz="1200" baseline="30000"/>
              <a:t>12</a:t>
            </a:r>
            <a:r>
              <a:rPr lang="en-US" sz="1200"/>
              <a:t>, Donal McLornan</a:t>
            </a:r>
            <a:r>
              <a:rPr lang="en-US" sz="1200" baseline="30000"/>
              <a:t>13</a:t>
            </a:r>
            <a:r>
              <a:rPr lang="en-US" sz="1200"/>
              <a:t>, Andrew Perkins</a:t>
            </a:r>
            <a:r>
              <a:rPr lang="en-US" sz="1200" baseline="30000"/>
              <a:t>14</a:t>
            </a:r>
            <a:r>
              <a:rPr lang="en-US" sz="1200"/>
              <a:t>, Sung-Soo Yoon</a:t>
            </a:r>
            <a:r>
              <a:rPr lang="en-US" sz="1200" baseline="30000"/>
              <a:t>15</a:t>
            </a:r>
            <a:r>
              <a:rPr lang="en-US" sz="1200"/>
              <a:t>, Vikas Gupta</a:t>
            </a:r>
            <a:r>
              <a:rPr lang="en-US" sz="1200" baseline="30000"/>
              <a:t>16</a:t>
            </a:r>
            <a:r>
              <a:rPr lang="en-US" sz="1200"/>
              <a:t>, Jean-Jacques Kiladjian</a:t>
            </a:r>
            <a:r>
              <a:rPr lang="en-US" sz="1200" baseline="30000"/>
              <a:t>17</a:t>
            </a:r>
            <a:r>
              <a:rPr lang="en-US" sz="1200"/>
              <a:t>, Rafe Donahue</a:t>
            </a:r>
            <a:r>
              <a:rPr lang="en-US" sz="1200" baseline="30000"/>
              <a:t>18</a:t>
            </a:r>
            <a:r>
              <a:rPr lang="en-US" sz="1200"/>
              <a:t>, Jun Kawashima</a:t>
            </a:r>
            <a:r>
              <a:rPr lang="en-US" sz="1200" baseline="30000"/>
              <a:t>18</a:t>
            </a:r>
            <a:r>
              <a:rPr lang="en-US" sz="1200"/>
              <a:t>, </a:t>
            </a:r>
            <a:r>
              <a:rPr lang="en-US" sz="1200" err="1"/>
              <a:t>Srdan</a:t>
            </a:r>
            <a:r>
              <a:rPr lang="en-US" sz="1200"/>
              <a:t> Verstovsek</a:t>
            </a:r>
            <a:r>
              <a:rPr lang="en-US" sz="1200" baseline="30000"/>
              <a:t>19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56E0D0-8D55-424D-90D3-1B9C50DC9F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04060" y="4570825"/>
            <a:ext cx="8229600" cy="445598"/>
          </a:xfrm>
        </p:spPr>
        <p:txBody>
          <a:bodyPr/>
          <a:lstStyle/>
          <a:p>
            <a:r>
              <a:rPr lang="en-US" altLang="en-US" sz="675" baseline="30000"/>
              <a:t>1</a:t>
            </a:r>
            <a:r>
              <a:rPr lang="en-US" altLang="en-US" sz="675"/>
              <a:t>Mays Cancer Center at UT Health San Antonio MD Anderson, San Antonio, TX; </a:t>
            </a:r>
            <a:r>
              <a:rPr lang="en-US" altLang="en-US" sz="675" baseline="30000"/>
              <a:t>2</a:t>
            </a:r>
            <a:r>
              <a:rPr lang="en-US" altLang="en-US" sz="675"/>
              <a:t>Cleveland Clinic Taussig Cancer Institute, Cleveland, OH; </a:t>
            </a:r>
            <a:r>
              <a:rPr lang="en-US" altLang="en-US" sz="675" baseline="30000"/>
              <a:t>3</a:t>
            </a:r>
            <a:r>
              <a:rPr lang="en-US" altLang="en-US" sz="675"/>
              <a:t>University of Florence and AOU Careggi, Florence, Italy; </a:t>
            </a:r>
            <a:r>
              <a:rPr lang="en-US" altLang="en-US" sz="675" baseline="30000"/>
              <a:t>4</a:t>
            </a:r>
            <a:r>
              <a:rPr lang="en-US" altLang="en-US" sz="675"/>
              <a:t>University Hospital of Halle, Halle, Germany; </a:t>
            </a:r>
            <a:r>
              <a:rPr lang="en-US" altLang="en-US" sz="675" baseline="30000"/>
              <a:t>5</a:t>
            </a:r>
            <a:r>
              <a:rPr lang="en-US" altLang="en-US" sz="675"/>
              <a:t>Hadassah-Hebrew University Medical Center, Jerusalem, Israel; </a:t>
            </a:r>
            <a:r>
              <a:rPr lang="en-US" altLang="en-US" sz="675" baseline="30000"/>
              <a:t>6</a:t>
            </a:r>
            <a:r>
              <a:rPr lang="en-US" altLang="en-US" sz="675"/>
              <a:t>Moffitt Cancer Center, Tampa, FL; </a:t>
            </a:r>
            <a:r>
              <a:rPr lang="en-US" altLang="en-US" sz="675" baseline="30000"/>
              <a:t>7</a:t>
            </a:r>
            <a:r>
              <a:rPr lang="en-US" altLang="en-US" sz="675"/>
              <a:t>Medical University of Silesia, Katowice, Poland; </a:t>
            </a:r>
            <a:r>
              <a:rPr lang="en-US" altLang="en-US" sz="675" baseline="30000"/>
              <a:t>8</a:t>
            </a:r>
            <a:r>
              <a:rPr lang="en-US" altLang="en-US" sz="675"/>
              <a:t>Foundation IRCCS Ca' Granda Ospedale Maggiore Policlinico, Milan, Italy; </a:t>
            </a:r>
            <a:r>
              <a:rPr lang="en-US" altLang="en-US" sz="675" baseline="30000"/>
              <a:t>9</a:t>
            </a:r>
            <a:r>
              <a:rPr lang="en-US" altLang="en-US" sz="675"/>
              <a:t>Singapore General Hospital, Singapore; </a:t>
            </a:r>
            <a:r>
              <a:rPr lang="en-US" altLang="en-US" sz="675" baseline="30000"/>
              <a:t>10</a:t>
            </a:r>
            <a:r>
              <a:rPr lang="en-US" altLang="en-US" sz="675"/>
              <a:t>Policlinica de Diagnostic Rapid Brasov, Romania; </a:t>
            </a:r>
            <a:r>
              <a:rPr lang="en-US" altLang="en-US" sz="675" baseline="30000"/>
              <a:t>11</a:t>
            </a:r>
            <a:r>
              <a:rPr lang="en-US" altLang="en-US" sz="675"/>
              <a:t>Somogy County Mór Kaposi General Hospital, Kaposvár, Hungary; </a:t>
            </a:r>
            <a:r>
              <a:rPr lang="en-US" altLang="en-US" sz="675" baseline="30000"/>
              <a:t>12</a:t>
            </a:r>
            <a:r>
              <a:rPr lang="en-US" altLang="en-US" sz="675"/>
              <a:t>Vall d’Hebron Institute of Oncology, University Hospital Vall d’Hebron, Barcelona, Spain; </a:t>
            </a:r>
            <a:r>
              <a:rPr lang="en-US" altLang="en-US" sz="675" baseline="30000"/>
              <a:t>13</a:t>
            </a:r>
            <a:r>
              <a:rPr lang="en-US" altLang="en-US" sz="675"/>
              <a:t>Guy's and St Thomas' NHS Foundation Trust, London, United Kingdom; </a:t>
            </a:r>
            <a:r>
              <a:rPr lang="en-US" altLang="en-US" sz="675" baseline="30000"/>
              <a:t>14</a:t>
            </a:r>
            <a:r>
              <a:rPr lang="en-US" altLang="en-US" sz="675"/>
              <a:t>Monash University, Melbourne, Australia; </a:t>
            </a:r>
            <a:r>
              <a:rPr lang="en-US" altLang="en-US" sz="675" baseline="30000"/>
              <a:t>15</a:t>
            </a:r>
            <a:r>
              <a:rPr lang="en-US" altLang="en-US" sz="675"/>
              <a:t>Seoul National University Hospital, Seoul, South Korea; </a:t>
            </a:r>
            <a:r>
              <a:rPr lang="en-US" altLang="en-US" sz="675" baseline="30000"/>
              <a:t>16</a:t>
            </a:r>
            <a:r>
              <a:rPr lang="en-US" altLang="en-US" sz="675"/>
              <a:t>Princess Margaret Cancer Centre, Toronto, Ontario; </a:t>
            </a:r>
            <a:r>
              <a:rPr lang="en-US" altLang="en-US" sz="675" baseline="30000"/>
              <a:t>17</a:t>
            </a:r>
            <a:r>
              <a:rPr lang="en-US" altLang="en-US" sz="675"/>
              <a:t>Université de Paris, AP-HP, Hôpital Saint-Louis, Centre d’Investigations Cliniques, INSERM, CIC1427, Paris, France; </a:t>
            </a:r>
            <a:r>
              <a:rPr lang="en-US" altLang="en-US" sz="675" baseline="30000"/>
              <a:t>18</a:t>
            </a:r>
            <a:r>
              <a:rPr lang="en-US" altLang="en-US" sz="675"/>
              <a:t>Sierra Oncology Inc., San Mateo, CA; </a:t>
            </a:r>
            <a:r>
              <a:rPr lang="en-US" altLang="en-US" sz="675" baseline="30000"/>
              <a:t>19</a:t>
            </a:r>
            <a:r>
              <a:rPr lang="en-US" altLang="en-US" sz="675"/>
              <a:t>The University of Texas MD Anderson Cancer Center, Houston, TX</a:t>
            </a:r>
            <a:endParaRPr lang="en-US" sz="675"/>
          </a:p>
          <a:p>
            <a:endParaRPr lang="en-US" sz="675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25D2D4-0A6C-41CB-B909-8E42F316E8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Ruben Mesa, MD, FACP</a:t>
            </a:r>
          </a:p>
          <a:p>
            <a:r>
              <a:rPr lang="en-US"/>
              <a:t>Director, Mays Cancer Center at UT Health San Antonio MD Anderson</a:t>
            </a:r>
          </a:p>
        </p:txBody>
      </p:sp>
    </p:spTree>
    <p:extLst>
      <p:ext uri="{BB962C8B-B14F-4D97-AF65-F5344CB8AC3E}">
        <p14:creationId xmlns:p14="http://schemas.microsoft.com/office/powerpoint/2010/main" val="3686953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Title 83">
            <a:extLst>
              <a:ext uri="{FF2B5EF4-FFF2-40B4-BE49-F238E27FC236}">
                <a16:creationId xmlns:a16="http://schemas.microsoft.com/office/drawing/2014/main" id="{7F5481F0-33F6-EB93-F341-2CB6064F09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Momelotinib Inhibits JAK1, JAK2 and ACVR1 to Address MF Symptoms, Spleen, and Anemia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57CAE3-09E7-4A41-9CD4-462C4349B4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Ruben Mesa, MD, FACP</a:t>
            </a:r>
          </a:p>
          <a:p>
            <a:r>
              <a:rPr lang="en-US"/>
              <a:t>Director, Mays Cancer Center at UT Health San Antonio MD Anders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72E96D-2B69-9743-EBE6-3D5FCC156B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/>
              <a:t>ACVR1=activin A receptor type 1; BMP=bone morphogenic protein; EPOR=erythropoietin receptor; JAK=Janus kinase; MMB=momelotinib; MPL=myeloproliferative </a:t>
            </a:r>
            <a:r>
              <a:rPr lang="en-GB" err="1"/>
              <a:t>leukemia</a:t>
            </a:r>
            <a:r>
              <a:rPr lang="en-GB"/>
              <a:t> protein;</a:t>
            </a:r>
            <a:br>
              <a:rPr lang="en-GB"/>
            </a:br>
            <a:r>
              <a:rPr lang="en-GB"/>
              <a:t>STAT=signal transducer and activator of transcription.</a:t>
            </a:r>
          </a:p>
          <a:p>
            <a:r>
              <a:rPr lang="en-GB"/>
              <a:t>1. </a:t>
            </a:r>
            <a:r>
              <a:rPr lang="en-GB" err="1"/>
              <a:t>Chifotides</a:t>
            </a:r>
            <a:r>
              <a:rPr lang="en-GB"/>
              <a:t> HT, et al. </a:t>
            </a:r>
            <a:r>
              <a:rPr lang="en-GB" i="1"/>
              <a:t>J </a:t>
            </a:r>
            <a:r>
              <a:rPr lang="en-GB" i="1" err="1"/>
              <a:t>Hematol</a:t>
            </a:r>
            <a:r>
              <a:rPr lang="en-GB" i="1"/>
              <a:t> Oncol</a:t>
            </a:r>
            <a:r>
              <a:rPr lang="en-GB"/>
              <a:t>. 2022;15(1):7; 2. </a:t>
            </a:r>
            <a:r>
              <a:rPr lang="en-GB" err="1"/>
              <a:t>Verstovsek</a:t>
            </a:r>
            <a:r>
              <a:rPr lang="en-GB"/>
              <a:t> S, et al</a:t>
            </a:r>
            <a:r>
              <a:rPr lang="en-GB" i="1"/>
              <a:t>. Future Oncol</a:t>
            </a:r>
            <a:r>
              <a:rPr lang="en-GB"/>
              <a:t>. 2021;17(12):1449-1458; 3. </a:t>
            </a:r>
            <a:r>
              <a:rPr lang="en-GB" err="1"/>
              <a:t>Asshoff</a:t>
            </a:r>
            <a:r>
              <a:rPr lang="en-GB"/>
              <a:t> M, et al. </a:t>
            </a:r>
            <a:r>
              <a:rPr lang="en-GB" i="1"/>
              <a:t>Blood</a:t>
            </a:r>
            <a:r>
              <a:rPr lang="en-GB"/>
              <a:t>. 2017;129(13):1823-1830; 4. Oh S, et al. </a:t>
            </a:r>
            <a:r>
              <a:rPr lang="en-GB" i="1"/>
              <a:t>Blood Adv</a:t>
            </a:r>
            <a:r>
              <a:rPr lang="en-GB"/>
              <a:t>. 2020;4(18):4282-4291. 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26C1A35B-3A84-C667-AEC7-3CDF543E4C9C}"/>
              </a:ext>
            </a:extLst>
          </p:cNvPr>
          <p:cNvSpPr txBox="1">
            <a:spLocks/>
          </p:cNvSpPr>
          <p:nvPr/>
        </p:nvSpPr>
        <p:spPr>
          <a:xfrm>
            <a:off x="1524001" y="1027977"/>
            <a:ext cx="9146571" cy="46462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2557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defTabSz="685800"/>
            <a:endParaRPr lang="en-US" sz="1575"/>
          </a:p>
        </p:txBody>
      </p:sp>
      <p:pic>
        <p:nvPicPr>
          <p:cNvPr id="44" name="Picture 11" descr="D:\Projects\Clients\Sierra\Design Kit\ICONS\nucleus2.png">
            <a:extLst>
              <a:ext uri="{FF2B5EF4-FFF2-40B4-BE49-F238E27FC236}">
                <a16:creationId xmlns:a16="http://schemas.microsoft.com/office/drawing/2014/main" id="{3EBC8A40-854B-B33E-272D-5F8EAC2F1B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49232" y="3795502"/>
            <a:ext cx="3784642" cy="500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243FAB9-CC29-948C-750F-D2F261F20F88}"/>
              </a:ext>
            </a:extLst>
          </p:cNvPr>
          <p:cNvSpPr txBox="1"/>
          <p:nvPr/>
        </p:nvSpPr>
        <p:spPr bwMode="gray">
          <a:xfrm>
            <a:off x="1876425" y="4286642"/>
            <a:ext cx="3930254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ysregulated </a:t>
            </a:r>
            <a:r>
              <a:rPr lang="en-US" sz="10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K-STAT signaling </a:t>
            </a: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MF drives overproduction of inflammatory cytokines, </a:t>
            </a:r>
            <a:r>
              <a:rPr lang="en-US" sz="10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ne marrow fibrosis,</a:t>
            </a: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ic symptoms, </a:t>
            </a: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lonal proliferation resulting in extramedullary hematopoiesis and </a:t>
            </a:r>
            <a:r>
              <a:rPr lang="en-US" sz="10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lenomegaly</a:t>
            </a: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05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2</a:t>
            </a: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CA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E5DB17C-162B-D95B-0379-19BB47F24885}"/>
              </a:ext>
            </a:extLst>
          </p:cNvPr>
          <p:cNvSpPr txBox="1"/>
          <p:nvPr/>
        </p:nvSpPr>
        <p:spPr bwMode="gray">
          <a:xfrm>
            <a:off x="6353267" y="4286642"/>
            <a:ext cx="29907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CA" sz="105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ronic inflammation also drives hyperactivation of </a:t>
            </a:r>
            <a:r>
              <a:rPr lang="en-CA" sz="105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VR1</a:t>
            </a:r>
            <a:r>
              <a:rPr lang="en-CA" sz="105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levated </a:t>
            </a:r>
            <a:r>
              <a:rPr lang="en-CA" sz="105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pcidin</a:t>
            </a:r>
            <a:r>
              <a:rPr lang="en-CA" sz="105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ysregulated iron metabolism, and </a:t>
            </a:r>
            <a:r>
              <a:rPr lang="en-CA" sz="105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emia</a:t>
            </a:r>
            <a:r>
              <a:rPr lang="en-CA" sz="105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MF.</a:t>
            </a:r>
            <a:r>
              <a:rPr lang="en-US" sz="1050" baseline="30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4</a:t>
            </a:r>
            <a:endParaRPr lang="en-US" sz="105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4" name="Picture 11" descr="D:\Projects\Clients\Sierra\Design Kit\ICONS\nucleus2.png">
            <a:extLst>
              <a:ext uri="{FF2B5EF4-FFF2-40B4-BE49-F238E27FC236}">
                <a16:creationId xmlns:a16="http://schemas.microsoft.com/office/drawing/2014/main" id="{171A70DD-CD47-DB5A-5C5D-D269350152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016479" y="3757774"/>
            <a:ext cx="3664334" cy="537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id="{1675C45A-A0DF-6780-4FDE-6DC7D2FFB375}"/>
              </a:ext>
            </a:extLst>
          </p:cNvPr>
          <p:cNvSpPr txBox="1"/>
          <p:nvPr/>
        </p:nvSpPr>
        <p:spPr bwMode="gray">
          <a:xfrm>
            <a:off x="6825973" y="1916536"/>
            <a:ext cx="555998" cy="154525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ctr" defTabSz="3240324">
              <a:defRPr/>
            </a:pPr>
            <a:r>
              <a:rPr lang="en-US" sz="788" b="1">
                <a:solidFill>
                  <a:srgbClr val="1F497D"/>
                </a:solidFill>
                <a:latin typeface="Arial" panose="020B0604020202020204" pitchFamily="34" charset="0"/>
              </a:rPr>
              <a:t>BMP2, BMP6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99D51C7-C7E1-1BEC-6210-7F8C2B160110}"/>
              </a:ext>
            </a:extLst>
          </p:cNvPr>
          <p:cNvSpPr txBox="1"/>
          <p:nvPr/>
        </p:nvSpPr>
        <p:spPr bwMode="gray">
          <a:xfrm>
            <a:off x="8160018" y="2122977"/>
            <a:ext cx="641121" cy="105572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ctr" defTabSz="3240324">
              <a:defRPr/>
            </a:pPr>
            <a:r>
              <a:rPr lang="en-US" sz="1050" b="1">
                <a:solidFill>
                  <a:srgbClr val="1F497D"/>
                </a:solidFill>
                <a:latin typeface="Arial" panose="020B0604020202020204" pitchFamily="34" charset="0"/>
              </a:rPr>
              <a:t>ACVR1</a:t>
            </a:r>
          </a:p>
        </p:txBody>
      </p:sp>
      <p:pic>
        <p:nvPicPr>
          <p:cNvPr id="67" name="Picture 3" descr="D:\Projects\Clients\Sierra\Design Kit\ICONS\receptor7.png">
            <a:extLst>
              <a:ext uri="{FF2B5EF4-FFF2-40B4-BE49-F238E27FC236}">
                <a16:creationId xmlns:a16="http://schemas.microsoft.com/office/drawing/2014/main" id="{5039D74E-8C89-A6AF-3240-A4FF0FB4E5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536423" y="2014182"/>
            <a:ext cx="462064" cy="1250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5" descr="D:\Projects\Clients\Sierra\Design Kit\ICONS\activator2.png">
            <a:extLst>
              <a:ext uri="{FF2B5EF4-FFF2-40B4-BE49-F238E27FC236}">
                <a16:creationId xmlns:a16="http://schemas.microsoft.com/office/drawing/2014/main" id="{8028B497-F557-2839-E9DA-F6E896538B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605506" y="1930019"/>
            <a:ext cx="323903" cy="201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5E5B4CE2-3E9E-1FD3-6B93-8DBE223E3B34}"/>
              </a:ext>
            </a:extLst>
          </p:cNvPr>
          <p:cNvCxnSpPr>
            <a:cxnSpLocks/>
          </p:cNvCxnSpPr>
          <p:nvPr/>
        </p:nvCxnSpPr>
        <p:spPr bwMode="gray">
          <a:xfrm>
            <a:off x="7853562" y="2239321"/>
            <a:ext cx="20509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F8639BBE-176B-359D-C8F0-5678C344F2F4}"/>
              </a:ext>
            </a:extLst>
          </p:cNvPr>
          <p:cNvCxnSpPr>
            <a:cxnSpLocks/>
          </p:cNvCxnSpPr>
          <p:nvPr/>
        </p:nvCxnSpPr>
        <p:spPr bwMode="gray">
          <a:xfrm>
            <a:off x="7487811" y="1993797"/>
            <a:ext cx="20509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AA6A6373-276E-CC14-3A54-68BCD5FEB296}"/>
              </a:ext>
            </a:extLst>
          </p:cNvPr>
          <p:cNvSpPr txBox="1"/>
          <p:nvPr/>
        </p:nvSpPr>
        <p:spPr bwMode="gray">
          <a:xfrm>
            <a:off x="7292089" y="3556174"/>
            <a:ext cx="500942" cy="13028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3240324">
              <a:defRPr/>
            </a:pPr>
            <a:r>
              <a:rPr lang="en-US" sz="525" b="1">
                <a:solidFill>
                  <a:srgbClr val="1F497D">
                    <a:lumMod val="40000"/>
                    <a:lumOff val="60000"/>
                  </a:srgbClr>
                </a:solidFill>
                <a:latin typeface="Arial" panose="020B0604020202020204" pitchFamily="34" charset="0"/>
              </a:rPr>
              <a:t>SMAD1,5</a:t>
            </a:r>
          </a:p>
        </p:txBody>
      </p:sp>
      <p:pic>
        <p:nvPicPr>
          <p:cNvPr id="72" name="Picture 20" descr="D:\Projects\Clients\Sierra\Design Kit\ICONS\smad3.png">
            <a:extLst>
              <a:ext uri="{FF2B5EF4-FFF2-40B4-BE49-F238E27FC236}">
                <a16:creationId xmlns:a16="http://schemas.microsoft.com/office/drawing/2014/main" id="{8A8FD1B7-895D-F04F-CA63-8B63CB3237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623987" y="3626084"/>
            <a:ext cx="310839" cy="193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Oval 72">
            <a:extLst>
              <a:ext uri="{FF2B5EF4-FFF2-40B4-BE49-F238E27FC236}">
                <a16:creationId xmlns:a16="http://schemas.microsoft.com/office/drawing/2014/main" id="{31A39911-1143-7B36-A769-0D55C8F8881F}"/>
              </a:ext>
            </a:extLst>
          </p:cNvPr>
          <p:cNvSpPr>
            <a:spLocks noChangeAspect="1"/>
          </p:cNvSpPr>
          <p:nvPr/>
        </p:nvSpPr>
        <p:spPr bwMode="gray">
          <a:xfrm>
            <a:off x="7868762" y="3631235"/>
            <a:ext cx="116645" cy="12333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3240324">
              <a:defRPr/>
            </a:pPr>
            <a:r>
              <a:rPr lang="en-US" sz="525" b="1">
                <a:solidFill>
                  <a:prstClr val="white"/>
                </a:solidFill>
                <a:latin typeface="Arial" panose="020B0604020202020204" pitchFamily="34" charset="0"/>
              </a:rPr>
              <a:t>P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4E5F6A4D-03BE-D8A5-DBC1-4334D0B12C9E}"/>
              </a:ext>
            </a:extLst>
          </p:cNvPr>
          <p:cNvGrpSpPr/>
          <p:nvPr/>
        </p:nvGrpSpPr>
        <p:grpSpPr bwMode="gray">
          <a:xfrm>
            <a:off x="7381970" y="3337350"/>
            <a:ext cx="279913" cy="159803"/>
            <a:chOff x="4277637" y="2551453"/>
            <a:chExt cx="736353" cy="265602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2832DA1E-0046-4D60-E338-0ECA705C6AD4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4277637" y="2688425"/>
              <a:ext cx="736353" cy="0"/>
            </a:xfrm>
            <a:prstGeom prst="line">
              <a:avLst/>
            </a:prstGeom>
            <a:ln w="38100" cmpd="sng">
              <a:solidFill>
                <a:srgbClr val="DB4118"/>
              </a:solidFill>
              <a:tailEnd type="non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B170F87D-4FFF-7A9A-E00E-2414E5147620}"/>
                </a:ext>
              </a:extLst>
            </p:cNvPr>
            <p:cNvCxnSpPr/>
            <p:nvPr/>
          </p:nvCxnSpPr>
          <p:spPr bwMode="gray">
            <a:xfrm rot="16200000" flipH="1">
              <a:off x="4864509" y="2684254"/>
              <a:ext cx="265602" cy="0"/>
            </a:xfrm>
            <a:prstGeom prst="line">
              <a:avLst/>
            </a:prstGeom>
            <a:ln w="38100" cmpd="sng">
              <a:solidFill>
                <a:srgbClr val="DB4118"/>
              </a:solidFill>
              <a:tailEnd type="non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EBFCE6E3-A840-3BF7-1489-80EB07CF9A91}"/>
              </a:ext>
            </a:extLst>
          </p:cNvPr>
          <p:cNvGrpSpPr/>
          <p:nvPr/>
        </p:nvGrpSpPr>
        <p:grpSpPr bwMode="gray">
          <a:xfrm>
            <a:off x="7676978" y="3338802"/>
            <a:ext cx="148316" cy="156821"/>
            <a:chOff x="3628357" y="3281585"/>
            <a:chExt cx="213216" cy="213216"/>
          </a:xfrm>
        </p:grpSpPr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3E696876-718D-61B8-DC50-699976780261}"/>
                </a:ext>
              </a:extLst>
            </p:cNvPr>
            <p:cNvCxnSpPr/>
            <p:nvPr/>
          </p:nvCxnSpPr>
          <p:spPr bwMode="gray">
            <a:xfrm rot="2700000" flipV="1">
              <a:off x="3734965" y="3277360"/>
              <a:ext cx="0" cy="213216"/>
            </a:xfrm>
            <a:prstGeom prst="line">
              <a:avLst/>
            </a:prstGeom>
            <a:ln w="19050">
              <a:solidFill>
                <a:srgbClr val="C00000"/>
              </a:solidFill>
              <a:headEnd type="none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013FF636-3F57-808A-E50A-477508F7CB3F}"/>
                </a:ext>
              </a:extLst>
            </p:cNvPr>
            <p:cNvCxnSpPr/>
            <p:nvPr/>
          </p:nvCxnSpPr>
          <p:spPr bwMode="gray">
            <a:xfrm rot="-2700000" flipV="1">
              <a:off x="3734964" y="3281585"/>
              <a:ext cx="0" cy="213216"/>
            </a:xfrm>
            <a:prstGeom prst="line">
              <a:avLst/>
            </a:prstGeom>
            <a:ln w="19050">
              <a:solidFill>
                <a:srgbClr val="C00000"/>
              </a:solidFill>
              <a:headEnd type="none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A2273B18-1EE5-9A72-88AA-D3926900B383}"/>
              </a:ext>
            </a:extLst>
          </p:cNvPr>
          <p:cNvCxnSpPr>
            <a:cxnSpLocks/>
          </p:cNvCxnSpPr>
          <p:nvPr/>
        </p:nvCxnSpPr>
        <p:spPr bwMode="gray">
          <a:xfrm>
            <a:off x="7751137" y="3098690"/>
            <a:ext cx="1421" cy="231068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7" name="Picture 9" descr="D:\Projects\Clients\Sierra\Design Kit\ICONS\bliayer2.png">
            <a:extLst>
              <a:ext uri="{FF2B5EF4-FFF2-40B4-BE49-F238E27FC236}">
                <a16:creationId xmlns:a16="http://schemas.microsoft.com/office/drawing/2014/main" id="{035A33C2-4D74-ED05-184C-D4C41D4AD6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duotone>
              <a:prstClr val="black"/>
              <a:srgbClr val="7030A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28" r="36256"/>
          <a:stretch/>
        </p:blipFill>
        <p:spPr bwMode="gray">
          <a:xfrm>
            <a:off x="7162826" y="2363767"/>
            <a:ext cx="2241716" cy="191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53E1C648-4E86-389E-9517-06993CA8384A}"/>
              </a:ext>
            </a:extLst>
          </p:cNvPr>
          <p:cNvSpPr txBox="1"/>
          <p:nvPr/>
        </p:nvSpPr>
        <p:spPr>
          <a:xfrm>
            <a:off x="6264827" y="2243439"/>
            <a:ext cx="7550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800" b="1">
                <a:solidFill>
                  <a:srgbClr val="00587C"/>
                </a:solidFill>
                <a:latin typeface="Arial" panose="020B0604020202020204" pitchFamily="34" charset="0"/>
              </a:rPr>
              <a:t>Hepatocyte </a:t>
            </a:r>
          </a:p>
          <a:p>
            <a:pPr algn="ctr" defTabSz="685800">
              <a:defRPr/>
            </a:pPr>
            <a:r>
              <a:rPr lang="en-US" sz="800" b="1">
                <a:solidFill>
                  <a:srgbClr val="00587C"/>
                </a:solidFill>
                <a:latin typeface="Arial" panose="020B0604020202020204" pitchFamily="34" charset="0"/>
              </a:rPr>
              <a:t>cellular membrane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A880DC8-77F1-30D9-5A9A-1CAB448EBD15}"/>
              </a:ext>
            </a:extLst>
          </p:cNvPr>
          <p:cNvCxnSpPr>
            <a:cxnSpLocks/>
          </p:cNvCxnSpPr>
          <p:nvPr/>
        </p:nvCxnSpPr>
        <p:spPr bwMode="gray">
          <a:xfrm>
            <a:off x="7022687" y="2452166"/>
            <a:ext cx="20509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84FE1A3-460C-60BD-13BB-73A94132F55F}"/>
              </a:ext>
            </a:extLst>
          </p:cNvPr>
          <p:cNvCxnSpPr>
            <a:cxnSpLocks/>
          </p:cNvCxnSpPr>
          <p:nvPr/>
        </p:nvCxnSpPr>
        <p:spPr bwMode="gray">
          <a:xfrm flipV="1">
            <a:off x="7890543" y="3187887"/>
            <a:ext cx="201839" cy="193585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CAB6269A-389B-FE0C-AF7A-D3E1A225939E}"/>
              </a:ext>
            </a:extLst>
          </p:cNvPr>
          <p:cNvSpPr txBox="1"/>
          <p:nvPr/>
        </p:nvSpPr>
        <p:spPr>
          <a:xfrm>
            <a:off x="8037999" y="2992460"/>
            <a:ext cx="793807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US" sz="1125" b="1">
                <a:solidFill>
                  <a:srgbClr val="00587C"/>
                </a:solidFill>
                <a:latin typeface="Arial" panose="020B0604020202020204" pitchFamily="34" charset="0"/>
              </a:rPr>
              <a:t>H</a:t>
            </a:r>
            <a:r>
              <a:rPr lang="en-US" sz="1125" b="1" err="1">
                <a:solidFill>
                  <a:srgbClr val="00587C"/>
                </a:solidFill>
                <a:latin typeface="Arial" panose="020B0604020202020204" pitchFamily="34" charset="0"/>
              </a:rPr>
              <a:t>epcidin</a:t>
            </a:r>
            <a:endParaRPr lang="en-US" sz="1125" b="1">
              <a:solidFill>
                <a:srgbClr val="00587C"/>
              </a:solidFill>
              <a:latin typeface="Arial" panose="020B0604020202020204" pitchFamily="34" charset="0"/>
            </a:endParaRPr>
          </a:p>
          <a:p>
            <a:pPr algn="ctr" defTabSz="685800">
              <a:defRPr/>
            </a:pPr>
            <a:r>
              <a:rPr lang="en-US" sz="1125" b="1">
                <a:solidFill>
                  <a:srgbClr val="00587C"/>
                </a:solidFill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59" name="Arrow: Down 58">
            <a:extLst>
              <a:ext uri="{FF2B5EF4-FFF2-40B4-BE49-F238E27FC236}">
                <a16:creationId xmlns:a16="http://schemas.microsoft.com/office/drawing/2014/main" id="{B4006922-4F79-042E-B05F-D94A684B5651}"/>
              </a:ext>
            </a:extLst>
          </p:cNvPr>
          <p:cNvSpPr/>
          <p:nvPr/>
        </p:nvSpPr>
        <p:spPr>
          <a:xfrm>
            <a:off x="8756855" y="2931000"/>
            <a:ext cx="168071" cy="41419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24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4B88B21F-7D0F-0AB3-CB89-C989AF00172D}"/>
              </a:ext>
            </a:extLst>
          </p:cNvPr>
          <p:cNvCxnSpPr>
            <a:cxnSpLocks/>
          </p:cNvCxnSpPr>
          <p:nvPr/>
        </p:nvCxnSpPr>
        <p:spPr bwMode="gray">
          <a:xfrm>
            <a:off x="8966317" y="3131981"/>
            <a:ext cx="277425" cy="0"/>
          </a:xfrm>
          <a:prstGeom prst="line">
            <a:avLst/>
          </a:prstGeom>
          <a:ln w="254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1" name="Arrow: Down 60">
            <a:extLst>
              <a:ext uri="{FF2B5EF4-FFF2-40B4-BE49-F238E27FC236}">
                <a16:creationId xmlns:a16="http://schemas.microsoft.com/office/drawing/2014/main" id="{363A1EEB-B7EA-4D32-C6EA-AAEDC2FE6494}"/>
              </a:ext>
            </a:extLst>
          </p:cNvPr>
          <p:cNvSpPr/>
          <p:nvPr/>
        </p:nvSpPr>
        <p:spPr>
          <a:xfrm rot="10800000">
            <a:off x="10222588" y="2913918"/>
            <a:ext cx="175318" cy="444453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24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61EFD7C-E55F-0553-4B9F-C8A4553A60A2}"/>
              </a:ext>
            </a:extLst>
          </p:cNvPr>
          <p:cNvSpPr txBox="1"/>
          <p:nvPr/>
        </p:nvSpPr>
        <p:spPr>
          <a:xfrm>
            <a:off x="9152653" y="2854049"/>
            <a:ext cx="1136703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1050" b="1">
                <a:solidFill>
                  <a:srgbClr val="00587C"/>
                </a:solidFill>
                <a:latin typeface="Arial" panose="020B0604020202020204" pitchFamily="34" charset="0"/>
              </a:rPr>
              <a:t>Serum I</a:t>
            </a:r>
            <a:r>
              <a:rPr lang="en-US" sz="1050" b="1" err="1">
                <a:solidFill>
                  <a:srgbClr val="00587C"/>
                </a:solidFill>
                <a:latin typeface="Arial" panose="020B0604020202020204" pitchFamily="34" charset="0"/>
              </a:rPr>
              <a:t>ron</a:t>
            </a:r>
            <a:r>
              <a:rPr lang="en-US" sz="1050" b="1">
                <a:solidFill>
                  <a:srgbClr val="00587C"/>
                </a:solidFill>
                <a:latin typeface="Arial" panose="020B0604020202020204" pitchFamily="34" charset="0"/>
              </a:rPr>
              <a:t>,</a:t>
            </a:r>
          </a:p>
          <a:p>
            <a:pPr algn="ctr" defTabSz="685800">
              <a:defRPr/>
            </a:pPr>
            <a:r>
              <a:rPr lang="en-US" sz="1050" b="1">
                <a:solidFill>
                  <a:srgbClr val="00587C"/>
                </a:solidFill>
                <a:latin typeface="Arial" panose="020B0604020202020204" pitchFamily="34" charset="0"/>
              </a:rPr>
              <a:t>Hemoglobin,</a:t>
            </a:r>
          </a:p>
          <a:p>
            <a:pPr algn="ctr" defTabSz="685800">
              <a:defRPr/>
            </a:pPr>
            <a:r>
              <a:rPr lang="en-US" sz="1050" b="1">
                <a:solidFill>
                  <a:srgbClr val="00587C"/>
                </a:solidFill>
                <a:latin typeface="Arial" panose="020B0604020202020204" pitchFamily="34" charset="0"/>
              </a:rPr>
              <a:t>Erythropoiesis</a:t>
            </a: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9E3AD2CD-C2F0-D766-7631-4F462DA5FA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2891" y="3406084"/>
            <a:ext cx="726402" cy="544100"/>
          </a:xfrm>
          <a:prstGeom prst="rect">
            <a:avLst/>
          </a:prstGeom>
        </p:spPr>
      </p:pic>
      <p:grpSp>
        <p:nvGrpSpPr>
          <p:cNvPr id="85" name="Group 84">
            <a:extLst>
              <a:ext uri="{FF2B5EF4-FFF2-40B4-BE49-F238E27FC236}">
                <a16:creationId xmlns:a16="http://schemas.microsoft.com/office/drawing/2014/main" id="{46BEC3CD-8D9F-CD20-D349-E9AA2F0C7FCC}"/>
              </a:ext>
            </a:extLst>
          </p:cNvPr>
          <p:cNvGrpSpPr/>
          <p:nvPr/>
        </p:nvGrpSpPr>
        <p:grpSpPr>
          <a:xfrm>
            <a:off x="1980121" y="1757390"/>
            <a:ext cx="3850598" cy="2065016"/>
            <a:chOff x="608161" y="1200187"/>
            <a:chExt cx="5134130" cy="2753354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744FC2E-3F05-52D4-08F9-6C559BCEC03E}"/>
                </a:ext>
              </a:extLst>
            </p:cNvPr>
            <p:cNvSpPr txBox="1"/>
            <p:nvPr/>
          </p:nvSpPr>
          <p:spPr bwMode="gray">
            <a:xfrm>
              <a:off x="5006593" y="1742993"/>
              <a:ext cx="735697" cy="146843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algn="ctr" defTabSz="3240324">
                <a:defRPr/>
              </a:pPr>
              <a:r>
                <a:rPr lang="en-US" sz="788" b="1">
                  <a:solidFill>
                    <a:srgbClr val="1F497D"/>
                  </a:solidFill>
                  <a:latin typeface="Arial" panose="020B0604020202020204" pitchFamily="34" charset="0"/>
                </a:rPr>
                <a:t>EPOR/MPL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51A35F7-D847-F5ED-561D-5F770A4DDF5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757617" y="1823773"/>
              <a:ext cx="26008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2A322F5-0458-8C83-59A7-2458C8F81452}"/>
                </a:ext>
              </a:extLst>
            </p:cNvPr>
            <p:cNvSpPr txBox="1"/>
            <p:nvPr/>
          </p:nvSpPr>
          <p:spPr bwMode="gray">
            <a:xfrm>
              <a:off x="1349368" y="1200187"/>
              <a:ext cx="649032" cy="406631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noAutofit/>
            </a:bodyPr>
            <a:lstStyle/>
            <a:p>
              <a:pPr algn="ctr" defTabSz="3240324">
                <a:defRPr/>
              </a:pPr>
              <a:r>
                <a:rPr lang="en-US" sz="788" b="1">
                  <a:solidFill>
                    <a:srgbClr val="1F497D"/>
                  </a:solidFill>
                  <a:latin typeface="Arial" panose="020B0604020202020204" pitchFamily="34" charset="0"/>
                </a:rPr>
                <a:t>Interleukins</a:t>
              </a:r>
            </a:p>
            <a:p>
              <a:pPr algn="ctr" defTabSz="3240324">
                <a:defRPr/>
              </a:pPr>
              <a:r>
                <a:rPr lang="en-US" sz="788" b="1">
                  <a:solidFill>
                    <a:srgbClr val="1F497D"/>
                  </a:solidFill>
                  <a:latin typeface="Arial" panose="020B0604020202020204" pitchFamily="34" charset="0"/>
                </a:rPr>
                <a:t>Interferon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134D330-5A38-7649-A5BE-F20DBECD3535}"/>
                </a:ext>
              </a:extLst>
            </p:cNvPr>
            <p:cNvSpPr txBox="1"/>
            <p:nvPr/>
          </p:nvSpPr>
          <p:spPr bwMode="gray">
            <a:xfrm>
              <a:off x="2823333" y="1603847"/>
              <a:ext cx="1171143" cy="498946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 defTabSz="3240324">
                <a:defRPr/>
              </a:pPr>
              <a:r>
                <a:rPr lang="en-US" sz="788" b="1">
                  <a:solidFill>
                    <a:srgbClr val="1F497D"/>
                  </a:solidFill>
                  <a:latin typeface="Arial" panose="020B0604020202020204" pitchFamily="34" charset="0"/>
                </a:rPr>
                <a:t>Cytokine </a:t>
              </a:r>
              <a:br>
                <a:rPr lang="en-US" sz="788" b="1">
                  <a:solidFill>
                    <a:srgbClr val="1F497D"/>
                  </a:solidFill>
                  <a:latin typeface="Arial" panose="020B0604020202020204" pitchFamily="34" charset="0"/>
                </a:rPr>
              </a:br>
              <a:r>
                <a:rPr lang="en-US" sz="788" b="1">
                  <a:solidFill>
                    <a:srgbClr val="1F497D"/>
                  </a:solidFill>
                  <a:latin typeface="Arial" panose="020B0604020202020204" pitchFamily="34" charset="0"/>
                </a:rPr>
                <a:t>Receptors</a:t>
              </a:r>
            </a:p>
          </p:txBody>
        </p:sp>
        <p:pic>
          <p:nvPicPr>
            <p:cNvPr id="14" name="Picture 9" descr="D:\Projects\Clients\Sierra\Design Kit\ICONS\jak12.png">
              <a:extLst>
                <a:ext uri="{FF2B5EF4-FFF2-40B4-BE49-F238E27FC236}">
                  <a16:creationId xmlns:a16="http://schemas.microsoft.com/office/drawing/2014/main" id="{F3EDBB4E-7A7D-7C83-FF1E-D03827A12F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874721" y="2484971"/>
              <a:ext cx="375670" cy="2041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6" descr="D:\Projects\Clients\Sierra\Design Kit\ICONS\jak1.png">
              <a:extLst>
                <a:ext uri="{FF2B5EF4-FFF2-40B4-BE49-F238E27FC236}">
                  <a16:creationId xmlns:a16="http://schemas.microsoft.com/office/drawing/2014/main" id="{89623C43-288A-1D83-6EEF-A0759C0B469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477667" y="2336090"/>
              <a:ext cx="413239" cy="224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FD3857E-04D3-D539-070D-7764EF25D24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738399" y="3025083"/>
              <a:ext cx="0" cy="206644"/>
            </a:xfrm>
            <a:prstGeom prst="line">
              <a:avLst/>
            </a:prstGeom>
            <a:ln w="25400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ABD27ED-2478-267F-C0C4-E4B60E9974B0}"/>
                </a:ext>
              </a:extLst>
            </p:cNvPr>
            <p:cNvSpPr txBox="1"/>
            <p:nvPr/>
          </p:nvSpPr>
          <p:spPr bwMode="gray">
            <a:xfrm>
              <a:off x="3899406" y="1366080"/>
              <a:ext cx="402996" cy="210737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noAutofit/>
            </a:bodyPr>
            <a:lstStyle/>
            <a:p>
              <a:pPr algn="ctr" defTabSz="3240324">
                <a:defRPr/>
              </a:pPr>
              <a:r>
                <a:rPr lang="en-US" sz="788" b="1">
                  <a:solidFill>
                    <a:srgbClr val="1F497D"/>
                  </a:solidFill>
                  <a:latin typeface="Arial" panose="020B0604020202020204" pitchFamily="34" charset="0"/>
                </a:rPr>
                <a:t>Ligand</a:t>
              </a:r>
            </a:p>
          </p:txBody>
        </p:sp>
        <p:pic>
          <p:nvPicPr>
            <p:cNvPr id="18" name="Picture 4" descr="D:\Projects\Clients\Sierra\Design Kit\ICONS\receptor6.png">
              <a:extLst>
                <a:ext uri="{FF2B5EF4-FFF2-40B4-BE49-F238E27FC236}">
                  <a16:creationId xmlns:a16="http://schemas.microsoft.com/office/drawing/2014/main" id="{7CEF65B6-BA2D-CB00-E2C4-A19E0B1150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424383" y="1479881"/>
              <a:ext cx="611403" cy="15506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2" descr="D:\Projects\Clients\Sierra\Design Kit\ICONS\receptor9.png">
              <a:extLst>
                <a:ext uri="{FF2B5EF4-FFF2-40B4-BE49-F238E27FC236}">
                  <a16:creationId xmlns:a16="http://schemas.microsoft.com/office/drawing/2014/main" id="{702965AE-9670-DC08-DF38-B8A0E08515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2059628" y="1552197"/>
              <a:ext cx="611403" cy="15506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1" descr="D:\Projects\Clients\Sierra\Design Kit\ICONS\activator5.png">
              <a:extLst>
                <a:ext uri="{FF2B5EF4-FFF2-40B4-BE49-F238E27FC236}">
                  <a16:creationId xmlns:a16="http://schemas.microsoft.com/office/drawing/2014/main" id="{1048F1AE-8A56-7AC6-E2BB-A3229E4CEB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162754" y="1373305"/>
              <a:ext cx="405151" cy="401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9" descr="D:\Projects\Clients\Sierra\Design Kit\ICONS\activator4.png">
              <a:extLst>
                <a:ext uri="{FF2B5EF4-FFF2-40B4-BE49-F238E27FC236}">
                  <a16:creationId xmlns:a16="http://schemas.microsoft.com/office/drawing/2014/main" id="{D780C071-EEEF-25B5-073B-4C3A50ADA3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525881" y="1403502"/>
              <a:ext cx="410403" cy="3023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FB093EB-B1C8-0355-4761-5FE3AF906D88}"/>
                </a:ext>
              </a:extLst>
            </p:cNvPr>
            <p:cNvSpPr txBox="1"/>
            <p:nvPr/>
          </p:nvSpPr>
          <p:spPr bwMode="gray">
            <a:xfrm>
              <a:off x="2651046" y="2569418"/>
              <a:ext cx="411577" cy="1776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 defTabSz="3240324">
                <a:defRPr/>
              </a:pPr>
              <a:r>
                <a:rPr lang="en-US" sz="1050" b="1">
                  <a:solidFill>
                    <a:srgbClr val="1F497D"/>
                  </a:solidFill>
                  <a:latin typeface="Arial" panose="020B0604020202020204" pitchFamily="34" charset="0"/>
                </a:rPr>
                <a:t>JAK2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7348709-D9FF-4F8B-E9FD-4A4EDBAEBF4E}"/>
                </a:ext>
              </a:extLst>
            </p:cNvPr>
            <p:cNvSpPr txBox="1"/>
            <p:nvPr/>
          </p:nvSpPr>
          <p:spPr bwMode="gray">
            <a:xfrm>
              <a:off x="1719793" y="2694853"/>
              <a:ext cx="411577" cy="1776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 defTabSz="3240324">
                <a:defRPr/>
              </a:pPr>
              <a:r>
                <a:rPr lang="en-US" sz="1050" b="1">
                  <a:solidFill>
                    <a:srgbClr val="1F497D"/>
                  </a:solidFill>
                  <a:latin typeface="Arial" panose="020B0604020202020204" pitchFamily="34" charset="0"/>
                </a:rPr>
                <a:t>JAK1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905C261-6EC1-EB82-80D2-2A78F02993FE}"/>
                </a:ext>
              </a:extLst>
            </p:cNvPr>
            <p:cNvSpPr txBox="1"/>
            <p:nvPr/>
          </p:nvSpPr>
          <p:spPr bwMode="gray">
            <a:xfrm>
              <a:off x="5023365" y="2511722"/>
              <a:ext cx="411577" cy="1776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 defTabSz="3240324">
                <a:defRPr/>
              </a:pPr>
              <a:r>
                <a:rPr lang="en-US" sz="1050" b="1">
                  <a:solidFill>
                    <a:srgbClr val="1F497D"/>
                  </a:solidFill>
                  <a:latin typeface="Arial" panose="020B0604020202020204" pitchFamily="34" charset="0"/>
                </a:rPr>
                <a:t>JAK2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55FE8C5-5A94-4B84-E2CA-63D21613D59F}"/>
                </a:ext>
              </a:extLst>
            </p:cNvPr>
            <p:cNvSpPr txBox="1"/>
            <p:nvPr/>
          </p:nvSpPr>
          <p:spPr bwMode="gray">
            <a:xfrm>
              <a:off x="4055861" y="2501605"/>
              <a:ext cx="411577" cy="1776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 defTabSz="3240324">
                <a:defRPr/>
              </a:pPr>
              <a:r>
                <a:rPr lang="en-US" sz="1050" b="1">
                  <a:solidFill>
                    <a:srgbClr val="1F497D"/>
                  </a:solidFill>
                  <a:latin typeface="Arial" panose="020B0604020202020204" pitchFamily="34" charset="0"/>
                </a:rPr>
                <a:t>JAK2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A63C7064-17DE-78C1-52DA-6A9E47CE2B8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477666" y="1823773"/>
              <a:ext cx="29691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" name="Picture 9" descr="D:\Projects\Clients\Sierra\Design Kit\ICONS\bliayer2.png">
              <a:extLst>
                <a:ext uri="{FF2B5EF4-FFF2-40B4-BE49-F238E27FC236}">
                  <a16:creationId xmlns:a16="http://schemas.microsoft.com/office/drawing/2014/main" id="{9EB59412-E612-95DE-7B00-AFF6A7DB8A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22784" y="1976394"/>
              <a:ext cx="5119507" cy="2375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3097931C-936E-2D6A-FE7F-C83D13C0725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357930" y="1486107"/>
              <a:ext cx="30025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2A4EE9F6-34D3-5B23-6A9D-33EB13E9968B}"/>
                </a:ext>
              </a:extLst>
            </p:cNvPr>
            <p:cNvCxnSpPr/>
            <p:nvPr/>
          </p:nvCxnSpPr>
          <p:spPr bwMode="gray">
            <a:xfrm>
              <a:off x="2108110" y="1478138"/>
              <a:ext cx="257218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B900E94-A17A-C593-8103-3CA42CDF2E07}"/>
                </a:ext>
              </a:extLst>
            </p:cNvPr>
            <p:cNvGrpSpPr/>
            <p:nvPr/>
          </p:nvGrpSpPr>
          <p:grpSpPr bwMode="gray">
            <a:xfrm>
              <a:off x="1755816" y="3308408"/>
              <a:ext cx="504641" cy="171659"/>
              <a:chOff x="4256777" y="2551453"/>
              <a:chExt cx="757213" cy="265602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7D6A8091-B66D-47A6-0EFE-8992AAE0E6EE}"/>
                  </a:ext>
                </a:extLst>
              </p:cNvPr>
              <p:cNvCxnSpPr/>
              <p:nvPr/>
            </p:nvCxnSpPr>
            <p:spPr bwMode="gray">
              <a:xfrm flipH="1">
                <a:off x="4256777" y="2688425"/>
                <a:ext cx="757213" cy="0"/>
              </a:xfrm>
              <a:prstGeom prst="line">
                <a:avLst/>
              </a:prstGeom>
              <a:ln w="38100" cmpd="sng">
                <a:solidFill>
                  <a:srgbClr val="DB4118"/>
                </a:solidFill>
                <a:tailEnd type="non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FCB126EE-E555-728B-E2EF-EF039C331EF4}"/>
                  </a:ext>
                </a:extLst>
              </p:cNvPr>
              <p:cNvCxnSpPr/>
              <p:nvPr/>
            </p:nvCxnSpPr>
            <p:spPr bwMode="gray">
              <a:xfrm rot="16200000" flipH="1">
                <a:off x="4864509" y="2684254"/>
                <a:ext cx="265602" cy="0"/>
              </a:xfrm>
              <a:prstGeom prst="line">
                <a:avLst/>
              </a:prstGeom>
              <a:ln w="38100" cmpd="sng">
                <a:solidFill>
                  <a:srgbClr val="DB4118"/>
                </a:solidFill>
                <a:tailEnd type="non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7835E69F-96CD-300E-91E6-5C652BAA8D39}"/>
                </a:ext>
              </a:extLst>
            </p:cNvPr>
            <p:cNvSpPr txBox="1"/>
            <p:nvPr/>
          </p:nvSpPr>
          <p:spPr bwMode="gray">
            <a:xfrm>
              <a:off x="3492278" y="3163267"/>
              <a:ext cx="411577" cy="17767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 defTabSz="3240324">
                <a:defRPr/>
              </a:pPr>
              <a:r>
                <a:rPr lang="en-US" sz="788" b="1">
                  <a:solidFill>
                    <a:prstClr val="white"/>
                  </a:solidFill>
                  <a:latin typeface="Arial" panose="020B0604020202020204" pitchFamily="34" charset="0"/>
                </a:rPr>
                <a:t>JAK2</a:t>
              </a:r>
            </a:p>
            <a:p>
              <a:pPr algn="ctr" defTabSz="3240324">
                <a:defRPr/>
              </a:pPr>
              <a:r>
                <a:rPr lang="en-US" sz="788" b="1">
                  <a:solidFill>
                    <a:prstClr val="white"/>
                  </a:solidFill>
                  <a:latin typeface="Arial" panose="020B0604020202020204" pitchFamily="34" charset="0"/>
                </a:rPr>
                <a:t>Inhibition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1F44783-3F39-B1EB-4009-AA1BE338BC2F}"/>
                </a:ext>
              </a:extLst>
            </p:cNvPr>
            <p:cNvSpPr txBox="1"/>
            <p:nvPr/>
          </p:nvSpPr>
          <p:spPr bwMode="gray">
            <a:xfrm>
              <a:off x="1740539" y="3483513"/>
              <a:ext cx="615422" cy="20092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 defTabSz="3240324">
                <a:defRPr/>
              </a:pPr>
              <a:r>
                <a:rPr lang="en-US" sz="525" b="1">
                  <a:solidFill>
                    <a:srgbClr val="1F497D">
                      <a:lumMod val="40000"/>
                      <a:lumOff val="60000"/>
                    </a:srgbClr>
                  </a:solidFill>
                  <a:latin typeface="Arial" panose="020B0604020202020204" pitchFamily="34" charset="0"/>
                </a:rPr>
                <a:t>STAT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433517C-52FE-A727-750D-246319FAE2D0}"/>
                </a:ext>
              </a:extLst>
            </p:cNvPr>
            <p:cNvSpPr txBox="1"/>
            <p:nvPr/>
          </p:nvSpPr>
          <p:spPr bwMode="gray">
            <a:xfrm>
              <a:off x="4098058" y="3524781"/>
              <a:ext cx="602589" cy="14684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 defTabSz="3240324">
                <a:defRPr/>
              </a:pPr>
              <a:r>
                <a:rPr lang="en-US" sz="525" b="1">
                  <a:solidFill>
                    <a:srgbClr val="1F497D">
                      <a:lumMod val="40000"/>
                      <a:lumOff val="60000"/>
                    </a:srgbClr>
                  </a:solidFill>
                  <a:latin typeface="Arial" panose="020B0604020202020204" pitchFamily="34" charset="0"/>
                </a:rPr>
                <a:t>STAT</a:t>
              </a:r>
            </a:p>
          </p:txBody>
        </p:sp>
        <p:pic>
          <p:nvPicPr>
            <p:cNvPr id="34" name="Picture 5" descr="D:\Projects\Clients\Sierra\Design Kit\ICONS\stat3.png">
              <a:extLst>
                <a:ext uri="{FF2B5EF4-FFF2-40B4-BE49-F238E27FC236}">
                  <a16:creationId xmlns:a16="http://schemas.microsoft.com/office/drawing/2014/main" id="{D0340908-150F-932D-67D4-934DE7773E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alphaModFix amt="3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496832" y="3559058"/>
              <a:ext cx="449609" cy="2616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4C7B3CD9-4A78-5B02-542D-ED8B30F99C9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4850622" y="3530730"/>
              <a:ext cx="169779" cy="168201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3240324">
                <a:defRPr/>
              </a:pPr>
              <a:r>
                <a:rPr lang="en-US" sz="525" b="1">
                  <a:solidFill>
                    <a:prstClr val="white"/>
                  </a:solidFill>
                  <a:latin typeface="Arial" panose="020B0604020202020204" pitchFamily="34" charset="0"/>
                </a:rPr>
                <a:t>P</a:t>
              </a:r>
            </a:p>
          </p:txBody>
        </p:sp>
        <p:pic>
          <p:nvPicPr>
            <p:cNvPr id="36" name="Picture 5" descr="D:\Projects\Clients\Sierra\Design Kit\ICONS\stat3.png">
              <a:extLst>
                <a:ext uri="{FF2B5EF4-FFF2-40B4-BE49-F238E27FC236}">
                  <a16:creationId xmlns:a16="http://schemas.microsoft.com/office/drawing/2014/main" id="{50A49814-3169-AE53-12DD-72DBB2C8DA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alphaModFix amt="3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102904" y="3599169"/>
              <a:ext cx="449608" cy="2616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D520CDB4-CC91-C03D-A35A-3E32007E4FC1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452769" y="3567598"/>
              <a:ext cx="169778" cy="168201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3240324">
                <a:defRPr/>
              </a:pPr>
              <a:r>
                <a:rPr lang="en-US" sz="525" b="1">
                  <a:solidFill>
                    <a:prstClr val="white"/>
                  </a:solidFill>
                  <a:latin typeface="Arial" panose="020B0604020202020204" pitchFamily="34" charset="0"/>
                </a:rPr>
                <a:t>P</a:t>
              </a:r>
            </a:p>
          </p:txBody>
        </p:sp>
        <p:pic>
          <p:nvPicPr>
            <p:cNvPr id="38" name="Picture 6" descr="D:\Projects\Clients\Sierra\Design Kit\ICONS\jak1.png">
              <a:extLst>
                <a:ext uri="{FF2B5EF4-FFF2-40B4-BE49-F238E27FC236}">
                  <a16:creationId xmlns:a16="http://schemas.microsoft.com/office/drawing/2014/main" id="{590D65FE-020A-D293-4C7B-9F6AD62E49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187386" y="2256409"/>
              <a:ext cx="413239" cy="224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6" descr="D:\Projects\Clients\Sierra\Design Kit\ICONS\jak1.png">
              <a:extLst>
                <a:ext uri="{FF2B5EF4-FFF2-40B4-BE49-F238E27FC236}">
                  <a16:creationId xmlns:a16="http://schemas.microsoft.com/office/drawing/2014/main" id="{ADE84C35-58FA-E893-5391-69BFC1B69A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864583" y="2256410"/>
              <a:ext cx="413239" cy="224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3014F342-FAFE-43AB-D50C-63C9007B4BA7}"/>
                </a:ext>
              </a:extLst>
            </p:cNvPr>
            <p:cNvGrpSpPr/>
            <p:nvPr/>
          </p:nvGrpSpPr>
          <p:grpSpPr bwMode="gray">
            <a:xfrm>
              <a:off x="2272413" y="3310208"/>
              <a:ext cx="196251" cy="194425"/>
              <a:chOff x="3628357" y="3281585"/>
              <a:chExt cx="213216" cy="213216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15A817ED-0F1F-3F2C-6AFE-F60E60699441}"/>
                  </a:ext>
                </a:extLst>
              </p:cNvPr>
              <p:cNvCxnSpPr/>
              <p:nvPr/>
            </p:nvCxnSpPr>
            <p:spPr bwMode="gray">
              <a:xfrm rot="2700000" flipV="1">
                <a:off x="3734965" y="3277360"/>
                <a:ext cx="0" cy="213216"/>
              </a:xfrm>
              <a:prstGeom prst="line">
                <a:avLst/>
              </a:prstGeom>
              <a:ln w="19050">
                <a:solidFill>
                  <a:srgbClr val="C00000"/>
                </a:solidFill>
                <a:headEnd type="none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6FD07A89-57BE-2FB5-81F0-EA597E1DADA9}"/>
                  </a:ext>
                </a:extLst>
              </p:cNvPr>
              <p:cNvCxnSpPr/>
              <p:nvPr/>
            </p:nvCxnSpPr>
            <p:spPr bwMode="gray">
              <a:xfrm rot="-2700000" flipV="1">
                <a:off x="3734964" y="3281585"/>
                <a:ext cx="0" cy="213216"/>
              </a:xfrm>
              <a:prstGeom prst="line">
                <a:avLst/>
              </a:prstGeom>
              <a:ln w="19050">
                <a:solidFill>
                  <a:srgbClr val="C00000"/>
                </a:solidFill>
                <a:headEnd type="none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983CE896-961D-004C-F687-9A4FDBC3A481}"/>
                </a:ext>
              </a:extLst>
            </p:cNvPr>
            <p:cNvGrpSpPr/>
            <p:nvPr/>
          </p:nvGrpSpPr>
          <p:grpSpPr bwMode="gray">
            <a:xfrm>
              <a:off x="4164497" y="3195353"/>
              <a:ext cx="472577" cy="186328"/>
              <a:chOff x="4256777" y="2551453"/>
              <a:chExt cx="757213" cy="265602"/>
            </a:xfrm>
          </p:grpSpPr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16DA9DB2-C39A-0901-C30E-26B0BF081C06}"/>
                  </a:ext>
                </a:extLst>
              </p:cNvPr>
              <p:cNvCxnSpPr/>
              <p:nvPr/>
            </p:nvCxnSpPr>
            <p:spPr bwMode="gray">
              <a:xfrm flipH="1">
                <a:off x="4256777" y="2688425"/>
                <a:ext cx="757213" cy="0"/>
              </a:xfrm>
              <a:prstGeom prst="line">
                <a:avLst/>
              </a:prstGeom>
              <a:ln w="38100" cmpd="sng">
                <a:solidFill>
                  <a:srgbClr val="DB4118"/>
                </a:solidFill>
                <a:tailEnd type="non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EC9E423F-F152-FA61-432C-8A462BF64375}"/>
                  </a:ext>
                </a:extLst>
              </p:cNvPr>
              <p:cNvCxnSpPr/>
              <p:nvPr/>
            </p:nvCxnSpPr>
            <p:spPr bwMode="gray">
              <a:xfrm rot="16200000" flipH="1">
                <a:off x="4864509" y="2684254"/>
                <a:ext cx="265602" cy="0"/>
              </a:xfrm>
              <a:prstGeom prst="line">
                <a:avLst/>
              </a:prstGeom>
              <a:ln w="38100" cmpd="sng">
                <a:solidFill>
                  <a:srgbClr val="DB4118"/>
                </a:solidFill>
                <a:tailEnd type="non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B2B4FDE1-11EC-8F8C-9839-1FAF80A7FD83}"/>
                </a:ext>
              </a:extLst>
            </p:cNvPr>
            <p:cNvGrpSpPr/>
            <p:nvPr/>
          </p:nvGrpSpPr>
          <p:grpSpPr bwMode="gray">
            <a:xfrm>
              <a:off x="4649029" y="3197155"/>
              <a:ext cx="196251" cy="194425"/>
              <a:chOff x="3628357" y="3281585"/>
              <a:chExt cx="213216" cy="213216"/>
            </a:xfrm>
          </p:grpSpPr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9C446DFB-3C6B-8890-BEA8-7D618CEF5CAC}"/>
                  </a:ext>
                </a:extLst>
              </p:cNvPr>
              <p:cNvCxnSpPr/>
              <p:nvPr/>
            </p:nvCxnSpPr>
            <p:spPr bwMode="gray">
              <a:xfrm rot="2700000" flipV="1">
                <a:off x="3734965" y="3277360"/>
                <a:ext cx="0" cy="213216"/>
              </a:xfrm>
              <a:prstGeom prst="line">
                <a:avLst/>
              </a:prstGeom>
              <a:ln w="19050">
                <a:solidFill>
                  <a:srgbClr val="C00000"/>
                </a:solidFill>
                <a:headEnd type="none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2BE21453-6960-9DE1-7A9E-3ED81C383D88}"/>
                  </a:ext>
                </a:extLst>
              </p:cNvPr>
              <p:cNvCxnSpPr/>
              <p:nvPr/>
            </p:nvCxnSpPr>
            <p:spPr bwMode="gray">
              <a:xfrm rot="-2700000" flipV="1">
                <a:off x="3734964" y="3281585"/>
                <a:ext cx="0" cy="213216"/>
              </a:xfrm>
              <a:prstGeom prst="line">
                <a:avLst/>
              </a:prstGeom>
              <a:ln w="19050">
                <a:solidFill>
                  <a:srgbClr val="C00000"/>
                </a:solidFill>
                <a:headEnd type="none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BFA6D34-87B0-5F40-2FA6-B876521079A8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2372931" y="2983911"/>
              <a:ext cx="5805" cy="367351"/>
            </a:xfrm>
            <a:prstGeom prst="line">
              <a:avLst/>
            </a:prstGeom>
            <a:ln w="25400">
              <a:solidFill>
                <a:schemeClr val="tx1">
                  <a:lumMod val="75000"/>
                  <a:lumOff val="25000"/>
                </a:schemeClr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89FED35F-7628-E46A-0C51-0CE643F86A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08161" y="2853595"/>
              <a:ext cx="1099946" cy="1099946"/>
            </a:xfrm>
            <a:prstGeom prst="rect">
              <a:avLst/>
            </a:prstGeom>
          </p:spPr>
        </p:pic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33DD39C1-8255-4747-290A-CFF71E5289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006903" y="2768222"/>
              <a:ext cx="1103818" cy="1110894"/>
            </a:xfrm>
            <a:prstGeom prst="rect">
              <a:avLst/>
            </a:prstGeom>
          </p:spPr>
        </p:pic>
      </p:grpSp>
      <p:pic>
        <p:nvPicPr>
          <p:cNvPr id="98" name="Picture 97">
            <a:extLst>
              <a:ext uri="{FF2B5EF4-FFF2-40B4-BE49-F238E27FC236}">
                <a16:creationId xmlns:a16="http://schemas.microsoft.com/office/drawing/2014/main" id="{24ADDF96-F4BD-0A75-AFC7-4B46D311B4B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458924" y="3009400"/>
            <a:ext cx="833171" cy="833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828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FAC596F-07E6-7E5F-3BD2-AE34DFD76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1644" y="240671"/>
            <a:ext cx="8748710" cy="703422"/>
          </a:xfrm>
        </p:spPr>
        <p:txBody>
          <a:bodyPr>
            <a:normAutofit fontScale="90000"/>
          </a:bodyPr>
          <a:lstStyle/>
          <a:p>
            <a:r>
              <a:rPr lang="en-US" dirty="0" err="1"/>
              <a:t>Momelotinib</a:t>
            </a:r>
            <a:r>
              <a:rPr lang="en-US" dirty="0"/>
              <a:t>: Prior Evidence of Clinical Benefit in Completed Trials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019707A-02E3-27B4-97F3-D9453883D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BE33F7A0-71F0-446B-9DE8-6D75BE64EE0F}" type="slidenum">
              <a:rPr lang="en-US"/>
              <a:pPr defTabSz="685800"/>
              <a:t>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20463C-2298-052B-A7B8-05E2EBF6E0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Ruben Mesa, MD, FACP</a:t>
            </a:r>
          </a:p>
          <a:p>
            <a:r>
              <a:rPr lang="en-US"/>
              <a:t>Director, Mays Cancer Center at UT Health San Antonio MD Anders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A87DCA-CCE7-F906-0F90-9D39C87E02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>
                <a:cs typeface="Calibri Light" panose="020F0302020204030204" pitchFamily="34" charset="0"/>
              </a:rPr>
              <a:t>Mesa R, et al. </a:t>
            </a:r>
            <a:r>
              <a:rPr lang="en-US" i="1">
                <a:cs typeface="Calibri Light" panose="020F0302020204030204" pitchFamily="34" charset="0"/>
              </a:rPr>
              <a:t>J Clin Oncol</a:t>
            </a:r>
            <a:r>
              <a:rPr lang="en-US">
                <a:cs typeface="Calibri Light" panose="020F0302020204030204" pitchFamily="34" charset="0"/>
              </a:rPr>
              <a:t>. 2017;35(34):3844–3850.; </a:t>
            </a:r>
            <a:r>
              <a:rPr lang="it-IT">
                <a:cs typeface="Calibri Light" panose="020F0302020204030204" pitchFamily="34" charset="0"/>
              </a:rPr>
              <a:t>Harrison CN, et al. </a:t>
            </a:r>
            <a:r>
              <a:rPr lang="it-IT" i="1">
                <a:cs typeface="Calibri Light" panose="020F0302020204030204" pitchFamily="34" charset="0"/>
              </a:rPr>
              <a:t>Lancet Haematol</a:t>
            </a:r>
            <a:r>
              <a:rPr lang="it-IT">
                <a:cs typeface="Calibri Light" panose="020F0302020204030204" pitchFamily="34" charset="0"/>
              </a:rPr>
              <a:t>. 2018;5(2):e73–e81. Mesa R, et al. </a:t>
            </a:r>
            <a:r>
              <a:rPr lang="it-IT" i="1">
                <a:cs typeface="Calibri Light" panose="020F0302020204030204" pitchFamily="34" charset="0"/>
              </a:rPr>
              <a:t>Leuk Lymphoma</a:t>
            </a:r>
            <a:r>
              <a:rPr lang="it-IT">
                <a:cs typeface="Calibri Light" panose="020F0302020204030204" pitchFamily="34" charset="0"/>
              </a:rPr>
              <a:t>. 2022; Mar 7:1</a:t>
            </a:r>
            <a:r>
              <a:rPr lang="it-IT"/>
              <a:t>–</a:t>
            </a:r>
            <a:r>
              <a:rPr lang="it-IT">
                <a:cs typeface="Calibri Light" panose="020F0302020204030204" pitchFamily="34" charset="0"/>
              </a:rPr>
              <a:t>5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521D7F58-7326-8C6A-A302-872EB71C98EE}"/>
              </a:ext>
            </a:extLst>
          </p:cNvPr>
          <p:cNvSpPr txBox="1">
            <a:spLocks/>
          </p:cNvSpPr>
          <p:nvPr/>
        </p:nvSpPr>
        <p:spPr>
          <a:xfrm>
            <a:off x="1721644" y="1517905"/>
            <a:ext cx="2708846" cy="1840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2557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defTabSz="685800"/>
            <a:r>
              <a:rPr lang="en-US" sz="1200"/>
              <a:t>SIMPLIFY-1: </a:t>
            </a:r>
            <a:br>
              <a:rPr lang="en-US" sz="1200"/>
            </a:br>
            <a:r>
              <a:rPr lang="en-US" sz="1200"/>
              <a:t>Splenic Respons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B456F9A-C707-B922-286B-A586104A5C1F}"/>
              </a:ext>
            </a:extLst>
          </p:cNvPr>
          <p:cNvSpPr/>
          <p:nvPr/>
        </p:nvSpPr>
        <p:spPr>
          <a:xfrm>
            <a:off x="7303294" y="1815159"/>
            <a:ext cx="3289748" cy="2285205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D61B664-3628-9B0E-E9AE-CAA5FF8F3CE8}"/>
              </a:ext>
            </a:extLst>
          </p:cNvPr>
          <p:cNvSpPr/>
          <p:nvPr/>
        </p:nvSpPr>
        <p:spPr>
          <a:xfrm>
            <a:off x="1721644" y="4659191"/>
            <a:ext cx="8748710" cy="540000"/>
          </a:xfrm>
          <a:prstGeom prst="rect">
            <a:avLst/>
          </a:prstGeom>
          <a:solidFill>
            <a:srgbClr val="002557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37">
              <a:lnSpc>
                <a:spcPct val="90000"/>
              </a:lnSpc>
              <a:defRPr/>
            </a:pPr>
            <a:r>
              <a:rPr lang="en-US" sz="1350" b="1">
                <a:solidFill>
                  <a:srgbClr val="FFFFFF"/>
                </a:solidFill>
                <a:latin typeface="Arial" panose="020B0604020202020204" pitchFamily="34" charset="0"/>
              </a:rPr>
              <a:t>Phase 3 SIMPLIFY studies in JAKi-naïve and post-RUX patients with MF demonstrated momelotinib benefits on symptoms, spleen, and anemia. 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75C16ABA-0539-0CB6-D63B-D64E5DB31E38}"/>
              </a:ext>
            </a:extLst>
          </p:cNvPr>
          <p:cNvSpPr txBox="1">
            <a:spLocks/>
          </p:cNvSpPr>
          <p:nvPr/>
        </p:nvSpPr>
        <p:spPr>
          <a:xfrm>
            <a:off x="4465977" y="1517904"/>
            <a:ext cx="2909197" cy="382458"/>
          </a:xfrm>
          <a:prstGeom prst="rect">
            <a:avLst/>
          </a:prstGeom>
          <a:ln>
            <a:noFill/>
          </a:ln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2557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defTabSz="685800"/>
            <a:r>
              <a:rPr lang="en-US" sz="1200"/>
              <a:t>SIMPLIFY-1: </a:t>
            </a:r>
            <a:br>
              <a:rPr lang="en-US" sz="1200"/>
            </a:br>
            <a:r>
              <a:rPr lang="en-US" sz="1200"/>
              <a:t>Transfusion Requirement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15FBBCB-4216-B080-1565-D2A30F4EA8B9}"/>
              </a:ext>
            </a:extLst>
          </p:cNvPr>
          <p:cNvCxnSpPr>
            <a:cxnSpLocks/>
          </p:cNvCxnSpPr>
          <p:nvPr/>
        </p:nvCxnSpPr>
        <p:spPr>
          <a:xfrm>
            <a:off x="4464566" y="1587635"/>
            <a:ext cx="0" cy="3012165"/>
          </a:xfrm>
          <a:prstGeom prst="line">
            <a:avLst/>
          </a:prstGeom>
          <a:ln w="12700">
            <a:solidFill>
              <a:srgbClr val="0025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1">
            <a:extLst>
              <a:ext uri="{FF2B5EF4-FFF2-40B4-BE49-F238E27FC236}">
                <a16:creationId xmlns:a16="http://schemas.microsoft.com/office/drawing/2014/main" id="{8D82E1CE-C531-B2F4-BF34-203F51DFEE36}"/>
              </a:ext>
            </a:extLst>
          </p:cNvPr>
          <p:cNvSpPr txBox="1">
            <a:spLocks/>
          </p:cNvSpPr>
          <p:nvPr/>
        </p:nvSpPr>
        <p:spPr>
          <a:xfrm>
            <a:off x="7450563" y="1517904"/>
            <a:ext cx="3145185" cy="197230"/>
          </a:xfrm>
          <a:prstGeom prst="rect">
            <a:avLst/>
          </a:prstGeom>
          <a:ln>
            <a:noFill/>
          </a:ln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2557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defTabSz="685800"/>
            <a:r>
              <a:rPr lang="en-US" sz="1200"/>
              <a:t>SIMPLIFY-1 and -2: </a:t>
            </a:r>
            <a:br>
              <a:rPr lang="en-US" sz="1200"/>
            </a:br>
            <a:r>
              <a:rPr lang="en-US" sz="1200"/>
              <a:t>Total Symptom Score Response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DDDD60A-297F-F782-10FC-9D5B1B16A088}"/>
              </a:ext>
            </a:extLst>
          </p:cNvPr>
          <p:cNvCxnSpPr>
            <a:cxnSpLocks/>
          </p:cNvCxnSpPr>
          <p:nvPr/>
        </p:nvCxnSpPr>
        <p:spPr>
          <a:xfrm>
            <a:off x="7353742" y="1587635"/>
            <a:ext cx="0" cy="3012165"/>
          </a:xfrm>
          <a:prstGeom prst="line">
            <a:avLst/>
          </a:prstGeom>
          <a:ln w="12700">
            <a:solidFill>
              <a:srgbClr val="0025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2CAF6490-2BAD-B7D6-2E18-B2D0CD0B67E6}"/>
              </a:ext>
            </a:extLst>
          </p:cNvPr>
          <p:cNvGrpSpPr/>
          <p:nvPr/>
        </p:nvGrpSpPr>
        <p:grpSpPr>
          <a:xfrm>
            <a:off x="1702902" y="2136697"/>
            <a:ext cx="2671523" cy="2074820"/>
            <a:chOff x="238535" y="1843088"/>
            <a:chExt cx="3562030" cy="2766427"/>
          </a:xfrm>
        </p:grpSpPr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745B026A-CE63-8EEF-FD99-5FBD688E0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0447" y="2924175"/>
              <a:ext cx="1493838" cy="1135063"/>
            </a:xfrm>
            <a:custGeom>
              <a:avLst/>
              <a:gdLst>
                <a:gd name="T0" fmla="*/ 4 w 941"/>
                <a:gd name="T1" fmla="*/ 715 h 715"/>
                <a:gd name="T2" fmla="*/ 9 w 941"/>
                <a:gd name="T3" fmla="*/ 702 h 715"/>
                <a:gd name="T4" fmla="*/ 23 w 941"/>
                <a:gd name="T5" fmla="*/ 680 h 715"/>
                <a:gd name="T6" fmla="*/ 32 w 941"/>
                <a:gd name="T7" fmla="*/ 662 h 715"/>
                <a:gd name="T8" fmla="*/ 45 w 941"/>
                <a:gd name="T9" fmla="*/ 644 h 715"/>
                <a:gd name="T10" fmla="*/ 52 w 941"/>
                <a:gd name="T11" fmla="*/ 634 h 715"/>
                <a:gd name="T12" fmla="*/ 61 w 941"/>
                <a:gd name="T13" fmla="*/ 627 h 715"/>
                <a:gd name="T14" fmla="*/ 72 w 941"/>
                <a:gd name="T15" fmla="*/ 621 h 715"/>
                <a:gd name="T16" fmla="*/ 81 w 941"/>
                <a:gd name="T17" fmla="*/ 604 h 715"/>
                <a:gd name="T18" fmla="*/ 87 w 941"/>
                <a:gd name="T19" fmla="*/ 598 h 715"/>
                <a:gd name="T20" fmla="*/ 94 w 941"/>
                <a:gd name="T21" fmla="*/ 592 h 715"/>
                <a:gd name="T22" fmla="*/ 116 w 941"/>
                <a:gd name="T23" fmla="*/ 584 h 715"/>
                <a:gd name="T24" fmla="*/ 142 w 941"/>
                <a:gd name="T25" fmla="*/ 566 h 715"/>
                <a:gd name="T26" fmla="*/ 173 w 941"/>
                <a:gd name="T27" fmla="*/ 558 h 715"/>
                <a:gd name="T28" fmla="*/ 179 w 941"/>
                <a:gd name="T29" fmla="*/ 551 h 715"/>
                <a:gd name="T30" fmla="*/ 203 w 941"/>
                <a:gd name="T31" fmla="*/ 545 h 715"/>
                <a:gd name="T32" fmla="*/ 223 w 941"/>
                <a:gd name="T33" fmla="*/ 537 h 715"/>
                <a:gd name="T34" fmla="*/ 234 w 941"/>
                <a:gd name="T35" fmla="*/ 531 h 715"/>
                <a:gd name="T36" fmla="*/ 256 w 941"/>
                <a:gd name="T37" fmla="*/ 520 h 715"/>
                <a:gd name="T38" fmla="*/ 268 w 941"/>
                <a:gd name="T39" fmla="*/ 515 h 715"/>
                <a:gd name="T40" fmla="*/ 333 w 941"/>
                <a:gd name="T41" fmla="*/ 496 h 715"/>
                <a:gd name="T42" fmla="*/ 358 w 941"/>
                <a:gd name="T43" fmla="*/ 488 h 715"/>
                <a:gd name="T44" fmla="*/ 375 w 941"/>
                <a:gd name="T45" fmla="*/ 482 h 715"/>
                <a:gd name="T46" fmla="*/ 401 w 941"/>
                <a:gd name="T47" fmla="*/ 476 h 715"/>
                <a:gd name="T48" fmla="*/ 423 w 941"/>
                <a:gd name="T49" fmla="*/ 468 h 715"/>
                <a:gd name="T50" fmla="*/ 447 w 941"/>
                <a:gd name="T51" fmla="*/ 463 h 715"/>
                <a:gd name="T52" fmla="*/ 459 w 941"/>
                <a:gd name="T53" fmla="*/ 449 h 715"/>
                <a:gd name="T54" fmla="*/ 474 w 941"/>
                <a:gd name="T55" fmla="*/ 442 h 715"/>
                <a:gd name="T56" fmla="*/ 491 w 941"/>
                <a:gd name="T57" fmla="*/ 436 h 715"/>
                <a:gd name="T58" fmla="*/ 514 w 941"/>
                <a:gd name="T59" fmla="*/ 430 h 715"/>
                <a:gd name="T60" fmla="*/ 538 w 941"/>
                <a:gd name="T61" fmla="*/ 423 h 715"/>
                <a:gd name="T62" fmla="*/ 549 w 941"/>
                <a:gd name="T63" fmla="*/ 416 h 715"/>
                <a:gd name="T64" fmla="*/ 576 w 941"/>
                <a:gd name="T65" fmla="*/ 411 h 715"/>
                <a:gd name="T66" fmla="*/ 591 w 941"/>
                <a:gd name="T67" fmla="*/ 403 h 715"/>
                <a:gd name="T68" fmla="*/ 608 w 941"/>
                <a:gd name="T69" fmla="*/ 397 h 715"/>
                <a:gd name="T70" fmla="*/ 650 w 941"/>
                <a:gd name="T71" fmla="*/ 388 h 715"/>
                <a:gd name="T72" fmla="*/ 666 w 941"/>
                <a:gd name="T73" fmla="*/ 379 h 715"/>
                <a:gd name="T74" fmla="*/ 690 w 941"/>
                <a:gd name="T75" fmla="*/ 372 h 715"/>
                <a:gd name="T76" fmla="*/ 720 w 941"/>
                <a:gd name="T77" fmla="*/ 366 h 715"/>
                <a:gd name="T78" fmla="*/ 737 w 941"/>
                <a:gd name="T79" fmla="*/ 359 h 715"/>
                <a:gd name="T80" fmla="*/ 747 w 941"/>
                <a:gd name="T81" fmla="*/ 353 h 715"/>
                <a:gd name="T82" fmla="*/ 759 w 941"/>
                <a:gd name="T83" fmla="*/ 342 h 715"/>
                <a:gd name="T84" fmla="*/ 803 w 941"/>
                <a:gd name="T85" fmla="*/ 331 h 715"/>
                <a:gd name="T86" fmla="*/ 941 w 941"/>
                <a:gd name="T87" fmla="*/ 315 h 715"/>
                <a:gd name="T88" fmla="*/ 933 w 941"/>
                <a:gd name="T89" fmla="*/ 10 h 715"/>
                <a:gd name="T90" fmla="*/ 914 w 941"/>
                <a:gd name="T91" fmla="*/ 123 h 715"/>
                <a:gd name="T92" fmla="*/ 908 w 941"/>
                <a:gd name="T93" fmla="*/ 143 h 715"/>
                <a:gd name="T94" fmla="*/ 898 w 941"/>
                <a:gd name="T95" fmla="*/ 162 h 715"/>
                <a:gd name="T96" fmla="*/ 883 w 941"/>
                <a:gd name="T97" fmla="*/ 232 h 715"/>
                <a:gd name="T98" fmla="*/ 870 w 941"/>
                <a:gd name="T99" fmla="*/ 243 h 715"/>
                <a:gd name="T100" fmla="*/ 864 w 941"/>
                <a:gd name="T101" fmla="*/ 265 h 715"/>
                <a:gd name="T102" fmla="*/ 851 w 941"/>
                <a:gd name="T103" fmla="*/ 281 h 715"/>
                <a:gd name="T104" fmla="*/ 839 w 941"/>
                <a:gd name="T105" fmla="*/ 287 h 715"/>
                <a:gd name="T106" fmla="*/ 829 w 941"/>
                <a:gd name="T107" fmla="*/ 294 h 715"/>
                <a:gd name="T108" fmla="*/ 824 w 941"/>
                <a:gd name="T109" fmla="*/ 299 h 715"/>
                <a:gd name="T110" fmla="*/ 818 w 941"/>
                <a:gd name="T111" fmla="*/ 309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41" h="715">
                  <a:moveTo>
                    <a:pt x="0" y="315"/>
                  </a:moveTo>
                  <a:lnTo>
                    <a:pt x="0" y="714"/>
                  </a:lnTo>
                  <a:lnTo>
                    <a:pt x="0" y="715"/>
                  </a:lnTo>
                  <a:lnTo>
                    <a:pt x="4" y="715"/>
                  </a:lnTo>
                  <a:lnTo>
                    <a:pt x="4" y="706"/>
                  </a:lnTo>
                  <a:lnTo>
                    <a:pt x="7" y="706"/>
                  </a:lnTo>
                  <a:lnTo>
                    <a:pt x="7" y="702"/>
                  </a:lnTo>
                  <a:lnTo>
                    <a:pt x="9" y="702"/>
                  </a:lnTo>
                  <a:lnTo>
                    <a:pt x="9" y="683"/>
                  </a:lnTo>
                  <a:lnTo>
                    <a:pt x="14" y="683"/>
                  </a:lnTo>
                  <a:lnTo>
                    <a:pt x="14" y="680"/>
                  </a:lnTo>
                  <a:lnTo>
                    <a:pt x="23" y="680"/>
                  </a:lnTo>
                  <a:lnTo>
                    <a:pt x="23" y="669"/>
                  </a:lnTo>
                  <a:lnTo>
                    <a:pt x="27" y="669"/>
                  </a:lnTo>
                  <a:lnTo>
                    <a:pt x="27" y="662"/>
                  </a:lnTo>
                  <a:lnTo>
                    <a:pt x="32" y="662"/>
                  </a:lnTo>
                  <a:lnTo>
                    <a:pt x="32" y="653"/>
                  </a:lnTo>
                  <a:lnTo>
                    <a:pt x="38" y="653"/>
                  </a:lnTo>
                  <a:lnTo>
                    <a:pt x="38" y="644"/>
                  </a:lnTo>
                  <a:lnTo>
                    <a:pt x="45" y="644"/>
                  </a:lnTo>
                  <a:lnTo>
                    <a:pt x="45" y="636"/>
                  </a:lnTo>
                  <a:lnTo>
                    <a:pt x="50" y="636"/>
                  </a:lnTo>
                  <a:lnTo>
                    <a:pt x="50" y="634"/>
                  </a:lnTo>
                  <a:lnTo>
                    <a:pt x="52" y="634"/>
                  </a:lnTo>
                  <a:lnTo>
                    <a:pt x="52" y="629"/>
                  </a:lnTo>
                  <a:lnTo>
                    <a:pt x="55" y="629"/>
                  </a:lnTo>
                  <a:lnTo>
                    <a:pt x="55" y="627"/>
                  </a:lnTo>
                  <a:lnTo>
                    <a:pt x="61" y="627"/>
                  </a:lnTo>
                  <a:lnTo>
                    <a:pt x="61" y="624"/>
                  </a:lnTo>
                  <a:lnTo>
                    <a:pt x="69" y="624"/>
                  </a:lnTo>
                  <a:lnTo>
                    <a:pt x="69" y="621"/>
                  </a:lnTo>
                  <a:lnTo>
                    <a:pt x="72" y="621"/>
                  </a:lnTo>
                  <a:lnTo>
                    <a:pt x="72" y="611"/>
                  </a:lnTo>
                  <a:lnTo>
                    <a:pt x="78" y="611"/>
                  </a:lnTo>
                  <a:lnTo>
                    <a:pt x="78" y="604"/>
                  </a:lnTo>
                  <a:lnTo>
                    <a:pt x="81" y="604"/>
                  </a:lnTo>
                  <a:lnTo>
                    <a:pt x="81" y="601"/>
                  </a:lnTo>
                  <a:lnTo>
                    <a:pt x="84" y="601"/>
                  </a:lnTo>
                  <a:lnTo>
                    <a:pt x="84" y="598"/>
                  </a:lnTo>
                  <a:lnTo>
                    <a:pt x="87" y="598"/>
                  </a:lnTo>
                  <a:lnTo>
                    <a:pt x="87" y="594"/>
                  </a:lnTo>
                  <a:lnTo>
                    <a:pt x="90" y="594"/>
                  </a:lnTo>
                  <a:lnTo>
                    <a:pt x="90" y="592"/>
                  </a:lnTo>
                  <a:lnTo>
                    <a:pt x="94" y="592"/>
                  </a:lnTo>
                  <a:lnTo>
                    <a:pt x="94" y="588"/>
                  </a:lnTo>
                  <a:lnTo>
                    <a:pt x="109" y="588"/>
                  </a:lnTo>
                  <a:lnTo>
                    <a:pt x="109" y="584"/>
                  </a:lnTo>
                  <a:lnTo>
                    <a:pt x="116" y="584"/>
                  </a:lnTo>
                  <a:lnTo>
                    <a:pt x="116" y="581"/>
                  </a:lnTo>
                  <a:lnTo>
                    <a:pt x="124" y="581"/>
                  </a:lnTo>
                  <a:lnTo>
                    <a:pt x="124" y="566"/>
                  </a:lnTo>
                  <a:lnTo>
                    <a:pt x="142" y="566"/>
                  </a:lnTo>
                  <a:lnTo>
                    <a:pt x="142" y="560"/>
                  </a:lnTo>
                  <a:lnTo>
                    <a:pt x="162" y="560"/>
                  </a:lnTo>
                  <a:lnTo>
                    <a:pt x="162" y="558"/>
                  </a:lnTo>
                  <a:lnTo>
                    <a:pt x="173" y="558"/>
                  </a:lnTo>
                  <a:lnTo>
                    <a:pt x="173" y="554"/>
                  </a:lnTo>
                  <a:lnTo>
                    <a:pt x="176" y="554"/>
                  </a:lnTo>
                  <a:lnTo>
                    <a:pt x="176" y="551"/>
                  </a:lnTo>
                  <a:lnTo>
                    <a:pt x="179" y="551"/>
                  </a:lnTo>
                  <a:lnTo>
                    <a:pt x="179" y="548"/>
                  </a:lnTo>
                  <a:lnTo>
                    <a:pt x="193" y="548"/>
                  </a:lnTo>
                  <a:lnTo>
                    <a:pt x="193" y="545"/>
                  </a:lnTo>
                  <a:lnTo>
                    <a:pt x="203" y="545"/>
                  </a:lnTo>
                  <a:lnTo>
                    <a:pt x="203" y="541"/>
                  </a:lnTo>
                  <a:lnTo>
                    <a:pt x="210" y="541"/>
                  </a:lnTo>
                  <a:lnTo>
                    <a:pt x="210" y="537"/>
                  </a:lnTo>
                  <a:lnTo>
                    <a:pt x="223" y="537"/>
                  </a:lnTo>
                  <a:lnTo>
                    <a:pt x="223" y="534"/>
                  </a:lnTo>
                  <a:lnTo>
                    <a:pt x="228" y="534"/>
                  </a:lnTo>
                  <a:lnTo>
                    <a:pt x="228" y="531"/>
                  </a:lnTo>
                  <a:lnTo>
                    <a:pt x="234" y="531"/>
                  </a:lnTo>
                  <a:lnTo>
                    <a:pt x="234" y="525"/>
                  </a:lnTo>
                  <a:lnTo>
                    <a:pt x="252" y="525"/>
                  </a:lnTo>
                  <a:lnTo>
                    <a:pt x="252" y="520"/>
                  </a:lnTo>
                  <a:lnTo>
                    <a:pt x="256" y="520"/>
                  </a:lnTo>
                  <a:lnTo>
                    <a:pt x="256" y="518"/>
                  </a:lnTo>
                  <a:lnTo>
                    <a:pt x="262" y="518"/>
                  </a:lnTo>
                  <a:lnTo>
                    <a:pt x="262" y="515"/>
                  </a:lnTo>
                  <a:lnTo>
                    <a:pt x="268" y="515"/>
                  </a:lnTo>
                  <a:lnTo>
                    <a:pt x="268" y="505"/>
                  </a:lnTo>
                  <a:lnTo>
                    <a:pt x="312" y="505"/>
                  </a:lnTo>
                  <a:lnTo>
                    <a:pt x="312" y="496"/>
                  </a:lnTo>
                  <a:lnTo>
                    <a:pt x="333" y="496"/>
                  </a:lnTo>
                  <a:lnTo>
                    <a:pt x="333" y="490"/>
                  </a:lnTo>
                  <a:lnTo>
                    <a:pt x="350" y="490"/>
                  </a:lnTo>
                  <a:lnTo>
                    <a:pt x="350" y="488"/>
                  </a:lnTo>
                  <a:lnTo>
                    <a:pt x="358" y="488"/>
                  </a:lnTo>
                  <a:lnTo>
                    <a:pt x="358" y="486"/>
                  </a:lnTo>
                  <a:lnTo>
                    <a:pt x="363" y="486"/>
                  </a:lnTo>
                  <a:lnTo>
                    <a:pt x="363" y="482"/>
                  </a:lnTo>
                  <a:lnTo>
                    <a:pt x="375" y="482"/>
                  </a:lnTo>
                  <a:lnTo>
                    <a:pt x="375" y="478"/>
                  </a:lnTo>
                  <a:lnTo>
                    <a:pt x="387" y="478"/>
                  </a:lnTo>
                  <a:lnTo>
                    <a:pt x="387" y="476"/>
                  </a:lnTo>
                  <a:lnTo>
                    <a:pt x="401" y="476"/>
                  </a:lnTo>
                  <a:lnTo>
                    <a:pt x="401" y="472"/>
                  </a:lnTo>
                  <a:lnTo>
                    <a:pt x="413" y="472"/>
                  </a:lnTo>
                  <a:lnTo>
                    <a:pt x="413" y="468"/>
                  </a:lnTo>
                  <a:lnTo>
                    <a:pt x="423" y="468"/>
                  </a:lnTo>
                  <a:lnTo>
                    <a:pt x="423" y="467"/>
                  </a:lnTo>
                  <a:lnTo>
                    <a:pt x="435" y="467"/>
                  </a:lnTo>
                  <a:lnTo>
                    <a:pt x="435" y="463"/>
                  </a:lnTo>
                  <a:lnTo>
                    <a:pt x="447" y="463"/>
                  </a:lnTo>
                  <a:lnTo>
                    <a:pt x="447" y="456"/>
                  </a:lnTo>
                  <a:lnTo>
                    <a:pt x="452" y="456"/>
                  </a:lnTo>
                  <a:lnTo>
                    <a:pt x="452" y="449"/>
                  </a:lnTo>
                  <a:lnTo>
                    <a:pt x="459" y="449"/>
                  </a:lnTo>
                  <a:lnTo>
                    <a:pt x="459" y="446"/>
                  </a:lnTo>
                  <a:lnTo>
                    <a:pt x="464" y="446"/>
                  </a:lnTo>
                  <a:lnTo>
                    <a:pt x="464" y="442"/>
                  </a:lnTo>
                  <a:lnTo>
                    <a:pt x="474" y="442"/>
                  </a:lnTo>
                  <a:lnTo>
                    <a:pt x="474" y="439"/>
                  </a:lnTo>
                  <a:lnTo>
                    <a:pt x="482" y="439"/>
                  </a:lnTo>
                  <a:lnTo>
                    <a:pt x="482" y="436"/>
                  </a:lnTo>
                  <a:lnTo>
                    <a:pt x="491" y="436"/>
                  </a:lnTo>
                  <a:lnTo>
                    <a:pt x="491" y="433"/>
                  </a:lnTo>
                  <a:lnTo>
                    <a:pt x="501" y="433"/>
                  </a:lnTo>
                  <a:lnTo>
                    <a:pt x="501" y="430"/>
                  </a:lnTo>
                  <a:lnTo>
                    <a:pt x="514" y="430"/>
                  </a:lnTo>
                  <a:lnTo>
                    <a:pt x="514" y="426"/>
                  </a:lnTo>
                  <a:lnTo>
                    <a:pt x="533" y="426"/>
                  </a:lnTo>
                  <a:lnTo>
                    <a:pt x="533" y="423"/>
                  </a:lnTo>
                  <a:lnTo>
                    <a:pt x="538" y="423"/>
                  </a:lnTo>
                  <a:lnTo>
                    <a:pt x="538" y="420"/>
                  </a:lnTo>
                  <a:lnTo>
                    <a:pt x="545" y="420"/>
                  </a:lnTo>
                  <a:lnTo>
                    <a:pt x="545" y="416"/>
                  </a:lnTo>
                  <a:lnTo>
                    <a:pt x="549" y="416"/>
                  </a:lnTo>
                  <a:lnTo>
                    <a:pt x="549" y="413"/>
                  </a:lnTo>
                  <a:lnTo>
                    <a:pt x="568" y="413"/>
                  </a:lnTo>
                  <a:lnTo>
                    <a:pt x="568" y="411"/>
                  </a:lnTo>
                  <a:lnTo>
                    <a:pt x="576" y="411"/>
                  </a:lnTo>
                  <a:lnTo>
                    <a:pt x="576" y="407"/>
                  </a:lnTo>
                  <a:lnTo>
                    <a:pt x="582" y="407"/>
                  </a:lnTo>
                  <a:lnTo>
                    <a:pt x="582" y="403"/>
                  </a:lnTo>
                  <a:lnTo>
                    <a:pt x="591" y="403"/>
                  </a:lnTo>
                  <a:lnTo>
                    <a:pt x="591" y="400"/>
                  </a:lnTo>
                  <a:lnTo>
                    <a:pt x="596" y="400"/>
                  </a:lnTo>
                  <a:lnTo>
                    <a:pt x="596" y="397"/>
                  </a:lnTo>
                  <a:lnTo>
                    <a:pt x="608" y="397"/>
                  </a:lnTo>
                  <a:lnTo>
                    <a:pt x="608" y="393"/>
                  </a:lnTo>
                  <a:lnTo>
                    <a:pt x="641" y="393"/>
                  </a:lnTo>
                  <a:lnTo>
                    <a:pt x="641" y="388"/>
                  </a:lnTo>
                  <a:lnTo>
                    <a:pt x="650" y="388"/>
                  </a:lnTo>
                  <a:lnTo>
                    <a:pt x="650" y="383"/>
                  </a:lnTo>
                  <a:lnTo>
                    <a:pt x="664" y="383"/>
                  </a:lnTo>
                  <a:lnTo>
                    <a:pt x="664" y="379"/>
                  </a:lnTo>
                  <a:lnTo>
                    <a:pt x="666" y="379"/>
                  </a:lnTo>
                  <a:lnTo>
                    <a:pt x="666" y="375"/>
                  </a:lnTo>
                  <a:lnTo>
                    <a:pt x="688" y="375"/>
                  </a:lnTo>
                  <a:lnTo>
                    <a:pt x="688" y="372"/>
                  </a:lnTo>
                  <a:lnTo>
                    <a:pt x="690" y="372"/>
                  </a:lnTo>
                  <a:lnTo>
                    <a:pt x="690" y="369"/>
                  </a:lnTo>
                  <a:lnTo>
                    <a:pt x="705" y="369"/>
                  </a:lnTo>
                  <a:lnTo>
                    <a:pt x="705" y="366"/>
                  </a:lnTo>
                  <a:lnTo>
                    <a:pt x="720" y="366"/>
                  </a:lnTo>
                  <a:lnTo>
                    <a:pt x="720" y="363"/>
                  </a:lnTo>
                  <a:lnTo>
                    <a:pt x="734" y="363"/>
                  </a:lnTo>
                  <a:lnTo>
                    <a:pt x="734" y="359"/>
                  </a:lnTo>
                  <a:lnTo>
                    <a:pt x="737" y="359"/>
                  </a:lnTo>
                  <a:lnTo>
                    <a:pt x="737" y="356"/>
                  </a:lnTo>
                  <a:lnTo>
                    <a:pt x="740" y="356"/>
                  </a:lnTo>
                  <a:lnTo>
                    <a:pt x="740" y="353"/>
                  </a:lnTo>
                  <a:lnTo>
                    <a:pt x="747" y="353"/>
                  </a:lnTo>
                  <a:lnTo>
                    <a:pt x="747" y="347"/>
                  </a:lnTo>
                  <a:lnTo>
                    <a:pt x="756" y="347"/>
                  </a:lnTo>
                  <a:lnTo>
                    <a:pt x="756" y="342"/>
                  </a:lnTo>
                  <a:lnTo>
                    <a:pt x="759" y="342"/>
                  </a:lnTo>
                  <a:lnTo>
                    <a:pt x="759" y="338"/>
                  </a:lnTo>
                  <a:lnTo>
                    <a:pt x="780" y="338"/>
                  </a:lnTo>
                  <a:lnTo>
                    <a:pt x="780" y="331"/>
                  </a:lnTo>
                  <a:lnTo>
                    <a:pt x="803" y="331"/>
                  </a:lnTo>
                  <a:lnTo>
                    <a:pt x="803" y="327"/>
                  </a:lnTo>
                  <a:lnTo>
                    <a:pt x="808" y="327"/>
                  </a:lnTo>
                  <a:lnTo>
                    <a:pt x="808" y="315"/>
                  </a:lnTo>
                  <a:lnTo>
                    <a:pt x="941" y="315"/>
                  </a:lnTo>
                  <a:lnTo>
                    <a:pt x="941" y="0"/>
                  </a:lnTo>
                  <a:lnTo>
                    <a:pt x="936" y="0"/>
                  </a:lnTo>
                  <a:lnTo>
                    <a:pt x="936" y="10"/>
                  </a:lnTo>
                  <a:lnTo>
                    <a:pt x="933" y="10"/>
                  </a:lnTo>
                  <a:lnTo>
                    <a:pt x="933" y="57"/>
                  </a:lnTo>
                  <a:lnTo>
                    <a:pt x="927" y="57"/>
                  </a:lnTo>
                  <a:lnTo>
                    <a:pt x="927" y="123"/>
                  </a:lnTo>
                  <a:lnTo>
                    <a:pt x="914" y="123"/>
                  </a:lnTo>
                  <a:lnTo>
                    <a:pt x="914" y="139"/>
                  </a:lnTo>
                  <a:lnTo>
                    <a:pt x="911" y="139"/>
                  </a:lnTo>
                  <a:lnTo>
                    <a:pt x="911" y="143"/>
                  </a:lnTo>
                  <a:lnTo>
                    <a:pt x="908" y="143"/>
                  </a:lnTo>
                  <a:lnTo>
                    <a:pt x="908" y="153"/>
                  </a:lnTo>
                  <a:lnTo>
                    <a:pt x="904" y="153"/>
                  </a:lnTo>
                  <a:lnTo>
                    <a:pt x="904" y="162"/>
                  </a:lnTo>
                  <a:lnTo>
                    <a:pt x="898" y="162"/>
                  </a:lnTo>
                  <a:lnTo>
                    <a:pt x="898" y="221"/>
                  </a:lnTo>
                  <a:lnTo>
                    <a:pt x="892" y="221"/>
                  </a:lnTo>
                  <a:lnTo>
                    <a:pt x="892" y="232"/>
                  </a:lnTo>
                  <a:lnTo>
                    <a:pt x="883" y="232"/>
                  </a:lnTo>
                  <a:lnTo>
                    <a:pt x="883" y="237"/>
                  </a:lnTo>
                  <a:lnTo>
                    <a:pt x="876" y="237"/>
                  </a:lnTo>
                  <a:lnTo>
                    <a:pt x="876" y="243"/>
                  </a:lnTo>
                  <a:lnTo>
                    <a:pt x="870" y="243"/>
                  </a:lnTo>
                  <a:lnTo>
                    <a:pt x="870" y="258"/>
                  </a:lnTo>
                  <a:lnTo>
                    <a:pt x="867" y="258"/>
                  </a:lnTo>
                  <a:lnTo>
                    <a:pt x="867" y="265"/>
                  </a:lnTo>
                  <a:lnTo>
                    <a:pt x="864" y="265"/>
                  </a:lnTo>
                  <a:lnTo>
                    <a:pt x="864" y="268"/>
                  </a:lnTo>
                  <a:lnTo>
                    <a:pt x="862" y="268"/>
                  </a:lnTo>
                  <a:lnTo>
                    <a:pt x="862" y="281"/>
                  </a:lnTo>
                  <a:lnTo>
                    <a:pt x="851" y="281"/>
                  </a:lnTo>
                  <a:lnTo>
                    <a:pt x="851" y="285"/>
                  </a:lnTo>
                  <a:lnTo>
                    <a:pt x="843" y="285"/>
                  </a:lnTo>
                  <a:lnTo>
                    <a:pt x="843" y="287"/>
                  </a:lnTo>
                  <a:lnTo>
                    <a:pt x="839" y="287"/>
                  </a:lnTo>
                  <a:lnTo>
                    <a:pt x="839" y="291"/>
                  </a:lnTo>
                  <a:lnTo>
                    <a:pt x="833" y="291"/>
                  </a:lnTo>
                  <a:lnTo>
                    <a:pt x="833" y="294"/>
                  </a:lnTo>
                  <a:lnTo>
                    <a:pt x="829" y="294"/>
                  </a:lnTo>
                  <a:lnTo>
                    <a:pt x="829" y="297"/>
                  </a:lnTo>
                  <a:lnTo>
                    <a:pt x="826" y="297"/>
                  </a:lnTo>
                  <a:lnTo>
                    <a:pt x="826" y="299"/>
                  </a:lnTo>
                  <a:lnTo>
                    <a:pt x="824" y="299"/>
                  </a:lnTo>
                  <a:lnTo>
                    <a:pt x="824" y="304"/>
                  </a:lnTo>
                  <a:lnTo>
                    <a:pt x="821" y="304"/>
                  </a:lnTo>
                  <a:lnTo>
                    <a:pt x="821" y="309"/>
                  </a:lnTo>
                  <a:lnTo>
                    <a:pt x="818" y="309"/>
                  </a:lnTo>
                  <a:lnTo>
                    <a:pt x="818" y="315"/>
                  </a:lnTo>
                  <a:lnTo>
                    <a:pt x="0" y="315"/>
                  </a:lnTo>
                  <a:close/>
                </a:path>
              </a:pathLst>
            </a:custGeom>
            <a:solidFill>
              <a:srgbClr val="00876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1DDB65CD-46AD-A419-EDE2-9241C3B9B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10" y="2381250"/>
              <a:ext cx="1355725" cy="1657350"/>
            </a:xfrm>
            <a:custGeom>
              <a:avLst/>
              <a:gdLst>
                <a:gd name="T0" fmla="*/ 5 w 854"/>
                <a:gd name="T1" fmla="*/ 1036 h 1044"/>
                <a:gd name="T2" fmla="*/ 11 w 854"/>
                <a:gd name="T3" fmla="*/ 1025 h 1044"/>
                <a:gd name="T4" fmla="*/ 20 w 854"/>
                <a:gd name="T5" fmla="*/ 1018 h 1044"/>
                <a:gd name="T6" fmla="*/ 30 w 854"/>
                <a:gd name="T7" fmla="*/ 1007 h 1044"/>
                <a:gd name="T8" fmla="*/ 40 w 854"/>
                <a:gd name="T9" fmla="*/ 979 h 1044"/>
                <a:gd name="T10" fmla="*/ 57 w 854"/>
                <a:gd name="T11" fmla="*/ 968 h 1044"/>
                <a:gd name="T12" fmla="*/ 77 w 854"/>
                <a:gd name="T13" fmla="*/ 946 h 1044"/>
                <a:gd name="T14" fmla="*/ 89 w 854"/>
                <a:gd name="T15" fmla="*/ 933 h 1044"/>
                <a:gd name="T16" fmla="*/ 98 w 854"/>
                <a:gd name="T17" fmla="*/ 925 h 1044"/>
                <a:gd name="T18" fmla="*/ 115 w 854"/>
                <a:gd name="T19" fmla="*/ 916 h 1044"/>
                <a:gd name="T20" fmla="*/ 140 w 854"/>
                <a:gd name="T21" fmla="*/ 907 h 1044"/>
                <a:gd name="T22" fmla="*/ 150 w 854"/>
                <a:gd name="T23" fmla="*/ 898 h 1044"/>
                <a:gd name="T24" fmla="*/ 157 w 854"/>
                <a:gd name="T25" fmla="*/ 889 h 1044"/>
                <a:gd name="T26" fmla="*/ 178 w 854"/>
                <a:gd name="T27" fmla="*/ 882 h 1044"/>
                <a:gd name="T28" fmla="*/ 198 w 854"/>
                <a:gd name="T29" fmla="*/ 876 h 1044"/>
                <a:gd name="T30" fmla="*/ 217 w 854"/>
                <a:gd name="T31" fmla="*/ 863 h 1044"/>
                <a:gd name="T32" fmla="*/ 225 w 854"/>
                <a:gd name="T33" fmla="*/ 857 h 1044"/>
                <a:gd name="T34" fmla="*/ 255 w 854"/>
                <a:gd name="T35" fmla="*/ 849 h 1044"/>
                <a:gd name="T36" fmla="*/ 289 w 854"/>
                <a:gd name="T37" fmla="*/ 837 h 1044"/>
                <a:gd name="T38" fmla="*/ 309 w 854"/>
                <a:gd name="T39" fmla="*/ 831 h 1044"/>
                <a:gd name="T40" fmla="*/ 334 w 854"/>
                <a:gd name="T41" fmla="*/ 825 h 1044"/>
                <a:gd name="T42" fmla="*/ 352 w 854"/>
                <a:gd name="T43" fmla="*/ 817 h 1044"/>
                <a:gd name="T44" fmla="*/ 389 w 854"/>
                <a:gd name="T45" fmla="*/ 810 h 1044"/>
                <a:gd name="T46" fmla="*/ 399 w 854"/>
                <a:gd name="T47" fmla="*/ 800 h 1044"/>
                <a:gd name="T48" fmla="*/ 412 w 854"/>
                <a:gd name="T49" fmla="*/ 794 h 1044"/>
                <a:gd name="T50" fmla="*/ 429 w 854"/>
                <a:gd name="T51" fmla="*/ 789 h 1044"/>
                <a:gd name="T52" fmla="*/ 470 w 854"/>
                <a:gd name="T53" fmla="*/ 781 h 1044"/>
                <a:gd name="T54" fmla="*/ 501 w 854"/>
                <a:gd name="T55" fmla="*/ 771 h 1044"/>
                <a:gd name="T56" fmla="*/ 544 w 854"/>
                <a:gd name="T57" fmla="*/ 752 h 1044"/>
                <a:gd name="T58" fmla="*/ 570 w 854"/>
                <a:gd name="T59" fmla="*/ 745 h 1044"/>
                <a:gd name="T60" fmla="*/ 579 w 854"/>
                <a:gd name="T61" fmla="*/ 738 h 1044"/>
                <a:gd name="T62" fmla="*/ 590 w 854"/>
                <a:gd name="T63" fmla="*/ 732 h 1044"/>
                <a:gd name="T64" fmla="*/ 607 w 854"/>
                <a:gd name="T65" fmla="*/ 725 h 1044"/>
                <a:gd name="T66" fmla="*/ 621 w 854"/>
                <a:gd name="T67" fmla="*/ 718 h 1044"/>
                <a:gd name="T68" fmla="*/ 658 w 854"/>
                <a:gd name="T69" fmla="*/ 708 h 1044"/>
                <a:gd name="T70" fmla="*/ 668 w 854"/>
                <a:gd name="T71" fmla="*/ 700 h 1044"/>
                <a:gd name="T72" fmla="*/ 680 w 854"/>
                <a:gd name="T73" fmla="*/ 686 h 1044"/>
                <a:gd name="T74" fmla="*/ 698 w 854"/>
                <a:gd name="T75" fmla="*/ 678 h 1044"/>
                <a:gd name="T76" fmla="*/ 718 w 854"/>
                <a:gd name="T77" fmla="*/ 668 h 1044"/>
                <a:gd name="T78" fmla="*/ 730 w 854"/>
                <a:gd name="T79" fmla="*/ 657 h 1044"/>
                <a:gd name="T80" fmla="*/ 849 w 854"/>
                <a:gd name="T81" fmla="*/ 284 h 1044"/>
                <a:gd name="T82" fmla="*/ 841 w 854"/>
                <a:gd name="T83" fmla="*/ 505 h 1044"/>
                <a:gd name="T84" fmla="*/ 832 w 854"/>
                <a:gd name="T85" fmla="*/ 521 h 1044"/>
                <a:gd name="T86" fmla="*/ 826 w 854"/>
                <a:gd name="T87" fmla="*/ 570 h 1044"/>
                <a:gd name="T88" fmla="*/ 818 w 854"/>
                <a:gd name="T89" fmla="*/ 600 h 1044"/>
                <a:gd name="T90" fmla="*/ 812 w 854"/>
                <a:gd name="T91" fmla="*/ 609 h 1044"/>
                <a:gd name="T92" fmla="*/ 798 w 854"/>
                <a:gd name="T93" fmla="*/ 616 h 1044"/>
                <a:gd name="T94" fmla="*/ 783 w 854"/>
                <a:gd name="T95" fmla="*/ 630 h 1044"/>
                <a:gd name="T96" fmla="*/ 767 w 854"/>
                <a:gd name="T97" fmla="*/ 636 h 1044"/>
                <a:gd name="T98" fmla="*/ 756 w 854"/>
                <a:gd name="T99" fmla="*/ 644 h 1044"/>
                <a:gd name="T100" fmla="*/ 743 w 854"/>
                <a:gd name="T101" fmla="*/ 652 h 1044"/>
                <a:gd name="T102" fmla="*/ 735 w 854"/>
                <a:gd name="T103" fmla="*/ 657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54" h="1044">
                  <a:moveTo>
                    <a:pt x="0" y="657"/>
                  </a:moveTo>
                  <a:lnTo>
                    <a:pt x="0" y="1044"/>
                  </a:lnTo>
                  <a:lnTo>
                    <a:pt x="5" y="1044"/>
                  </a:lnTo>
                  <a:lnTo>
                    <a:pt x="5" y="1036"/>
                  </a:lnTo>
                  <a:lnTo>
                    <a:pt x="8" y="1036"/>
                  </a:lnTo>
                  <a:lnTo>
                    <a:pt x="8" y="1030"/>
                  </a:lnTo>
                  <a:lnTo>
                    <a:pt x="11" y="1030"/>
                  </a:lnTo>
                  <a:lnTo>
                    <a:pt x="11" y="1025"/>
                  </a:lnTo>
                  <a:lnTo>
                    <a:pt x="14" y="1025"/>
                  </a:lnTo>
                  <a:lnTo>
                    <a:pt x="14" y="1022"/>
                  </a:lnTo>
                  <a:lnTo>
                    <a:pt x="20" y="1022"/>
                  </a:lnTo>
                  <a:lnTo>
                    <a:pt x="20" y="1018"/>
                  </a:lnTo>
                  <a:lnTo>
                    <a:pt x="23" y="1018"/>
                  </a:lnTo>
                  <a:lnTo>
                    <a:pt x="23" y="1015"/>
                  </a:lnTo>
                  <a:lnTo>
                    <a:pt x="30" y="1015"/>
                  </a:lnTo>
                  <a:lnTo>
                    <a:pt x="30" y="1007"/>
                  </a:lnTo>
                  <a:lnTo>
                    <a:pt x="35" y="1007"/>
                  </a:lnTo>
                  <a:lnTo>
                    <a:pt x="35" y="1002"/>
                  </a:lnTo>
                  <a:lnTo>
                    <a:pt x="40" y="1002"/>
                  </a:lnTo>
                  <a:lnTo>
                    <a:pt x="40" y="979"/>
                  </a:lnTo>
                  <a:lnTo>
                    <a:pt x="49" y="979"/>
                  </a:lnTo>
                  <a:lnTo>
                    <a:pt x="49" y="972"/>
                  </a:lnTo>
                  <a:lnTo>
                    <a:pt x="57" y="972"/>
                  </a:lnTo>
                  <a:lnTo>
                    <a:pt x="57" y="968"/>
                  </a:lnTo>
                  <a:lnTo>
                    <a:pt x="72" y="968"/>
                  </a:lnTo>
                  <a:lnTo>
                    <a:pt x="72" y="956"/>
                  </a:lnTo>
                  <a:lnTo>
                    <a:pt x="77" y="956"/>
                  </a:lnTo>
                  <a:lnTo>
                    <a:pt x="77" y="946"/>
                  </a:lnTo>
                  <a:lnTo>
                    <a:pt x="85" y="946"/>
                  </a:lnTo>
                  <a:lnTo>
                    <a:pt x="85" y="941"/>
                  </a:lnTo>
                  <a:lnTo>
                    <a:pt x="89" y="941"/>
                  </a:lnTo>
                  <a:lnTo>
                    <a:pt x="89" y="933"/>
                  </a:lnTo>
                  <a:lnTo>
                    <a:pt x="94" y="933"/>
                  </a:lnTo>
                  <a:lnTo>
                    <a:pt x="94" y="928"/>
                  </a:lnTo>
                  <a:lnTo>
                    <a:pt x="98" y="928"/>
                  </a:lnTo>
                  <a:lnTo>
                    <a:pt x="98" y="925"/>
                  </a:lnTo>
                  <a:lnTo>
                    <a:pt x="111" y="925"/>
                  </a:lnTo>
                  <a:lnTo>
                    <a:pt x="111" y="920"/>
                  </a:lnTo>
                  <a:lnTo>
                    <a:pt x="115" y="920"/>
                  </a:lnTo>
                  <a:lnTo>
                    <a:pt x="115" y="916"/>
                  </a:lnTo>
                  <a:lnTo>
                    <a:pt x="127" y="916"/>
                  </a:lnTo>
                  <a:lnTo>
                    <a:pt x="127" y="914"/>
                  </a:lnTo>
                  <a:lnTo>
                    <a:pt x="140" y="914"/>
                  </a:lnTo>
                  <a:lnTo>
                    <a:pt x="140" y="907"/>
                  </a:lnTo>
                  <a:lnTo>
                    <a:pt x="148" y="907"/>
                  </a:lnTo>
                  <a:lnTo>
                    <a:pt x="148" y="901"/>
                  </a:lnTo>
                  <a:lnTo>
                    <a:pt x="150" y="901"/>
                  </a:lnTo>
                  <a:lnTo>
                    <a:pt x="150" y="898"/>
                  </a:lnTo>
                  <a:lnTo>
                    <a:pt x="154" y="898"/>
                  </a:lnTo>
                  <a:lnTo>
                    <a:pt x="154" y="892"/>
                  </a:lnTo>
                  <a:lnTo>
                    <a:pt x="157" y="892"/>
                  </a:lnTo>
                  <a:lnTo>
                    <a:pt x="157" y="889"/>
                  </a:lnTo>
                  <a:lnTo>
                    <a:pt x="163" y="889"/>
                  </a:lnTo>
                  <a:lnTo>
                    <a:pt x="163" y="886"/>
                  </a:lnTo>
                  <a:lnTo>
                    <a:pt x="178" y="886"/>
                  </a:lnTo>
                  <a:lnTo>
                    <a:pt x="178" y="882"/>
                  </a:lnTo>
                  <a:lnTo>
                    <a:pt x="188" y="882"/>
                  </a:lnTo>
                  <a:lnTo>
                    <a:pt x="188" y="879"/>
                  </a:lnTo>
                  <a:lnTo>
                    <a:pt x="198" y="879"/>
                  </a:lnTo>
                  <a:lnTo>
                    <a:pt x="198" y="876"/>
                  </a:lnTo>
                  <a:lnTo>
                    <a:pt x="203" y="876"/>
                  </a:lnTo>
                  <a:lnTo>
                    <a:pt x="203" y="867"/>
                  </a:lnTo>
                  <a:lnTo>
                    <a:pt x="217" y="867"/>
                  </a:lnTo>
                  <a:lnTo>
                    <a:pt x="217" y="863"/>
                  </a:lnTo>
                  <a:lnTo>
                    <a:pt x="222" y="863"/>
                  </a:lnTo>
                  <a:lnTo>
                    <a:pt x="222" y="862"/>
                  </a:lnTo>
                  <a:lnTo>
                    <a:pt x="225" y="862"/>
                  </a:lnTo>
                  <a:lnTo>
                    <a:pt x="225" y="857"/>
                  </a:lnTo>
                  <a:lnTo>
                    <a:pt x="238" y="857"/>
                  </a:lnTo>
                  <a:lnTo>
                    <a:pt x="238" y="853"/>
                  </a:lnTo>
                  <a:lnTo>
                    <a:pt x="255" y="853"/>
                  </a:lnTo>
                  <a:lnTo>
                    <a:pt x="255" y="849"/>
                  </a:lnTo>
                  <a:lnTo>
                    <a:pt x="276" y="849"/>
                  </a:lnTo>
                  <a:lnTo>
                    <a:pt x="276" y="843"/>
                  </a:lnTo>
                  <a:lnTo>
                    <a:pt x="289" y="843"/>
                  </a:lnTo>
                  <a:lnTo>
                    <a:pt x="289" y="837"/>
                  </a:lnTo>
                  <a:lnTo>
                    <a:pt x="298" y="837"/>
                  </a:lnTo>
                  <a:lnTo>
                    <a:pt x="298" y="835"/>
                  </a:lnTo>
                  <a:lnTo>
                    <a:pt x="309" y="835"/>
                  </a:lnTo>
                  <a:lnTo>
                    <a:pt x="309" y="831"/>
                  </a:lnTo>
                  <a:lnTo>
                    <a:pt x="318" y="831"/>
                  </a:lnTo>
                  <a:lnTo>
                    <a:pt x="318" y="827"/>
                  </a:lnTo>
                  <a:lnTo>
                    <a:pt x="334" y="827"/>
                  </a:lnTo>
                  <a:lnTo>
                    <a:pt x="334" y="825"/>
                  </a:lnTo>
                  <a:lnTo>
                    <a:pt x="345" y="825"/>
                  </a:lnTo>
                  <a:lnTo>
                    <a:pt x="345" y="820"/>
                  </a:lnTo>
                  <a:lnTo>
                    <a:pt x="352" y="820"/>
                  </a:lnTo>
                  <a:lnTo>
                    <a:pt x="352" y="817"/>
                  </a:lnTo>
                  <a:lnTo>
                    <a:pt x="364" y="817"/>
                  </a:lnTo>
                  <a:lnTo>
                    <a:pt x="364" y="813"/>
                  </a:lnTo>
                  <a:lnTo>
                    <a:pt x="389" y="813"/>
                  </a:lnTo>
                  <a:lnTo>
                    <a:pt x="389" y="810"/>
                  </a:lnTo>
                  <a:lnTo>
                    <a:pt x="395" y="810"/>
                  </a:lnTo>
                  <a:lnTo>
                    <a:pt x="395" y="808"/>
                  </a:lnTo>
                  <a:lnTo>
                    <a:pt x="399" y="808"/>
                  </a:lnTo>
                  <a:lnTo>
                    <a:pt x="399" y="800"/>
                  </a:lnTo>
                  <a:lnTo>
                    <a:pt x="409" y="800"/>
                  </a:lnTo>
                  <a:lnTo>
                    <a:pt x="409" y="797"/>
                  </a:lnTo>
                  <a:lnTo>
                    <a:pt x="412" y="797"/>
                  </a:lnTo>
                  <a:lnTo>
                    <a:pt x="412" y="794"/>
                  </a:lnTo>
                  <a:lnTo>
                    <a:pt x="417" y="794"/>
                  </a:lnTo>
                  <a:lnTo>
                    <a:pt x="417" y="791"/>
                  </a:lnTo>
                  <a:lnTo>
                    <a:pt x="429" y="791"/>
                  </a:lnTo>
                  <a:lnTo>
                    <a:pt x="429" y="789"/>
                  </a:lnTo>
                  <a:lnTo>
                    <a:pt x="464" y="789"/>
                  </a:lnTo>
                  <a:lnTo>
                    <a:pt x="464" y="785"/>
                  </a:lnTo>
                  <a:lnTo>
                    <a:pt x="470" y="785"/>
                  </a:lnTo>
                  <a:lnTo>
                    <a:pt x="470" y="781"/>
                  </a:lnTo>
                  <a:lnTo>
                    <a:pt x="479" y="781"/>
                  </a:lnTo>
                  <a:lnTo>
                    <a:pt x="479" y="776"/>
                  </a:lnTo>
                  <a:lnTo>
                    <a:pt x="501" y="776"/>
                  </a:lnTo>
                  <a:lnTo>
                    <a:pt x="501" y="771"/>
                  </a:lnTo>
                  <a:lnTo>
                    <a:pt x="515" y="771"/>
                  </a:lnTo>
                  <a:lnTo>
                    <a:pt x="515" y="767"/>
                  </a:lnTo>
                  <a:lnTo>
                    <a:pt x="544" y="767"/>
                  </a:lnTo>
                  <a:lnTo>
                    <a:pt x="544" y="752"/>
                  </a:lnTo>
                  <a:lnTo>
                    <a:pt x="557" y="752"/>
                  </a:lnTo>
                  <a:lnTo>
                    <a:pt x="557" y="748"/>
                  </a:lnTo>
                  <a:lnTo>
                    <a:pt x="570" y="748"/>
                  </a:lnTo>
                  <a:lnTo>
                    <a:pt x="570" y="745"/>
                  </a:lnTo>
                  <a:lnTo>
                    <a:pt x="574" y="745"/>
                  </a:lnTo>
                  <a:lnTo>
                    <a:pt x="574" y="742"/>
                  </a:lnTo>
                  <a:lnTo>
                    <a:pt x="579" y="742"/>
                  </a:lnTo>
                  <a:lnTo>
                    <a:pt x="579" y="738"/>
                  </a:lnTo>
                  <a:lnTo>
                    <a:pt x="582" y="738"/>
                  </a:lnTo>
                  <a:lnTo>
                    <a:pt x="582" y="735"/>
                  </a:lnTo>
                  <a:lnTo>
                    <a:pt x="590" y="735"/>
                  </a:lnTo>
                  <a:lnTo>
                    <a:pt x="590" y="732"/>
                  </a:lnTo>
                  <a:lnTo>
                    <a:pt x="599" y="732"/>
                  </a:lnTo>
                  <a:lnTo>
                    <a:pt x="599" y="729"/>
                  </a:lnTo>
                  <a:lnTo>
                    <a:pt x="607" y="729"/>
                  </a:lnTo>
                  <a:lnTo>
                    <a:pt x="607" y="725"/>
                  </a:lnTo>
                  <a:lnTo>
                    <a:pt x="615" y="725"/>
                  </a:lnTo>
                  <a:lnTo>
                    <a:pt x="615" y="723"/>
                  </a:lnTo>
                  <a:lnTo>
                    <a:pt x="621" y="723"/>
                  </a:lnTo>
                  <a:lnTo>
                    <a:pt x="621" y="718"/>
                  </a:lnTo>
                  <a:lnTo>
                    <a:pt x="634" y="718"/>
                  </a:lnTo>
                  <a:lnTo>
                    <a:pt x="634" y="712"/>
                  </a:lnTo>
                  <a:lnTo>
                    <a:pt x="658" y="712"/>
                  </a:lnTo>
                  <a:lnTo>
                    <a:pt x="658" y="708"/>
                  </a:lnTo>
                  <a:lnTo>
                    <a:pt x="666" y="708"/>
                  </a:lnTo>
                  <a:lnTo>
                    <a:pt x="666" y="704"/>
                  </a:lnTo>
                  <a:lnTo>
                    <a:pt x="668" y="704"/>
                  </a:lnTo>
                  <a:lnTo>
                    <a:pt x="668" y="700"/>
                  </a:lnTo>
                  <a:lnTo>
                    <a:pt x="673" y="700"/>
                  </a:lnTo>
                  <a:lnTo>
                    <a:pt x="673" y="692"/>
                  </a:lnTo>
                  <a:lnTo>
                    <a:pt x="680" y="692"/>
                  </a:lnTo>
                  <a:lnTo>
                    <a:pt x="680" y="686"/>
                  </a:lnTo>
                  <a:lnTo>
                    <a:pt x="689" y="686"/>
                  </a:lnTo>
                  <a:lnTo>
                    <a:pt x="689" y="684"/>
                  </a:lnTo>
                  <a:lnTo>
                    <a:pt x="698" y="684"/>
                  </a:lnTo>
                  <a:lnTo>
                    <a:pt x="698" y="678"/>
                  </a:lnTo>
                  <a:lnTo>
                    <a:pt x="706" y="678"/>
                  </a:lnTo>
                  <a:lnTo>
                    <a:pt x="706" y="672"/>
                  </a:lnTo>
                  <a:lnTo>
                    <a:pt x="718" y="672"/>
                  </a:lnTo>
                  <a:lnTo>
                    <a:pt x="718" y="668"/>
                  </a:lnTo>
                  <a:lnTo>
                    <a:pt x="721" y="668"/>
                  </a:lnTo>
                  <a:lnTo>
                    <a:pt x="721" y="662"/>
                  </a:lnTo>
                  <a:lnTo>
                    <a:pt x="730" y="662"/>
                  </a:lnTo>
                  <a:lnTo>
                    <a:pt x="730" y="657"/>
                  </a:lnTo>
                  <a:lnTo>
                    <a:pt x="854" y="657"/>
                  </a:lnTo>
                  <a:lnTo>
                    <a:pt x="854" y="0"/>
                  </a:lnTo>
                  <a:lnTo>
                    <a:pt x="849" y="0"/>
                  </a:lnTo>
                  <a:lnTo>
                    <a:pt x="849" y="284"/>
                  </a:lnTo>
                  <a:lnTo>
                    <a:pt x="846" y="284"/>
                  </a:lnTo>
                  <a:lnTo>
                    <a:pt x="846" y="451"/>
                  </a:lnTo>
                  <a:lnTo>
                    <a:pt x="841" y="451"/>
                  </a:lnTo>
                  <a:lnTo>
                    <a:pt x="841" y="505"/>
                  </a:lnTo>
                  <a:lnTo>
                    <a:pt x="836" y="505"/>
                  </a:lnTo>
                  <a:lnTo>
                    <a:pt x="836" y="516"/>
                  </a:lnTo>
                  <a:lnTo>
                    <a:pt x="832" y="516"/>
                  </a:lnTo>
                  <a:lnTo>
                    <a:pt x="832" y="521"/>
                  </a:lnTo>
                  <a:lnTo>
                    <a:pt x="830" y="521"/>
                  </a:lnTo>
                  <a:lnTo>
                    <a:pt x="830" y="524"/>
                  </a:lnTo>
                  <a:lnTo>
                    <a:pt x="826" y="524"/>
                  </a:lnTo>
                  <a:lnTo>
                    <a:pt x="826" y="570"/>
                  </a:lnTo>
                  <a:lnTo>
                    <a:pt x="822" y="570"/>
                  </a:lnTo>
                  <a:lnTo>
                    <a:pt x="822" y="593"/>
                  </a:lnTo>
                  <a:lnTo>
                    <a:pt x="818" y="593"/>
                  </a:lnTo>
                  <a:lnTo>
                    <a:pt x="818" y="600"/>
                  </a:lnTo>
                  <a:lnTo>
                    <a:pt x="815" y="600"/>
                  </a:lnTo>
                  <a:lnTo>
                    <a:pt x="815" y="605"/>
                  </a:lnTo>
                  <a:lnTo>
                    <a:pt x="812" y="605"/>
                  </a:lnTo>
                  <a:lnTo>
                    <a:pt x="812" y="609"/>
                  </a:lnTo>
                  <a:lnTo>
                    <a:pt x="804" y="609"/>
                  </a:lnTo>
                  <a:lnTo>
                    <a:pt x="804" y="613"/>
                  </a:lnTo>
                  <a:lnTo>
                    <a:pt x="798" y="613"/>
                  </a:lnTo>
                  <a:lnTo>
                    <a:pt x="798" y="616"/>
                  </a:lnTo>
                  <a:lnTo>
                    <a:pt x="790" y="616"/>
                  </a:lnTo>
                  <a:lnTo>
                    <a:pt x="790" y="620"/>
                  </a:lnTo>
                  <a:lnTo>
                    <a:pt x="783" y="620"/>
                  </a:lnTo>
                  <a:lnTo>
                    <a:pt x="783" y="630"/>
                  </a:lnTo>
                  <a:lnTo>
                    <a:pt x="774" y="630"/>
                  </a:lnTo>
                  <a:lnTo>
                    <a:pt x="774" y="633"/>
                  </a:lnTo>
                  <a:lnTo>
                    <a:pt x="767" y="633"/>
                  </a:lnTo>
                  <a:lnTo>
                    <a:pt x="767" y="636"/>
                  </a:lnTo>
                  <a:lnTo>
                    <a:pt x="760" y="636"/>
                  </a:lnTo>
                  <a:lnTo>
                    <a:pt x="760" y="639"/>
                  </a:lnTo>
                  <a:lnTo>
                    <a:pt x="756" y="639"/>
                  </a:lnTo>
                  <a:lnTo>
                    <a:pt x="756" y="644"/>
                  </a:lnTo>
                  <a:lnTo>
                    <a:pt x="751" y="644"/>
                  </a:lnTo>
                  <a:lnTo>
                    <a:pt x="751" y="647"/>
                  </a:lnTo>
                  <a:lnTo>
                    <a:pt x="743" y="647"/>
                  </a:lnTo>
                  <a:lnTo>
                    <a:pt x="743" y="652"/>
                  </a:lnTo>
                  <a:lnTo>
                    <a:pt x="740" y="652"/>
                  </a:lnTo>
                  <a:lnTo>
                    <a:pt x="740" y="654"/>
                  </a:lnTo>
                  <a:lnTo>
                    <a:pt x="735" y="654"/>
                  </a:lnTo>
                  <a:lnTo>
                    <a:pt x="735" y="657"/>
                  </a:lnTo>
                  <a:lnTo>
                    <a:pt x="0" y="657"/>
                  </a:lnTo>
                  <a:close/>
                </a:path>
              </a:pathLst>
            </a:custGeom>
            <a:solidFill>
              <a:srgbClr val="0076A9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2" name="Line 5">
              <a:extLst>
                <a:ext uri="{FF2B5EF4-FFF2-40B4-BE49-F238E27FC236}">
                  <a16:creationId xmlns:a16="http://schemas.microsoft.com/office/drawing/2014/main" id="{438F1B80-4048-F4E2-A37D-B0B600017E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0429" y="2128838"/>
              <a:ext cx="0" cy="2160588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3" name="Line 6">
              <a:extLst>
                <a:ext uri="{FF2B5EF4-FFF2-40B4-BE49-F238E27FC236}">
                  <a16:creationId xmlns:a16="http://schemas.microsoft.com/office/drawing/2014/main" id="{9E634167-3E1C-4677-461D-1ED3E0E1492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9787" y="3857625"/>
              <a:ext cx="720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26" name="Line 7">
              <a:extLst>
                <a:ext uri="{FF2B5EF4-FFF2-40B4-BE49-F238E27FC236}">
                  <a16:creationId xmlns:a16="http://schemas.microsoft.com/office/drawing/2014/main" id="{FCBE9BC4-39D8-6B0C-64D2-F339F7547F9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9787" y="3424238"/>
              <a:ext cx="720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0" name="Line 8">
              <a:extLst>
                <a:ext uri="{FF2B5EF4-FFF2-40B4-BE49-F238E27FC236}">
                  <a16:creationId xmlns:a16="http://schemas.microsoft.com/office/drawing/2014/main" id="{719EDD1F-7827-3B24-3EE8-66755195B34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9787" y="2994025"/>
              <a:ext cx="720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2" name="Line 9">
              <a:extLst>
                <a:ext uri="{FF2B5EF4-FFF2-40B4-BE49-F238E27FC236}">
                  <a16:creationId xmlns:a16="http://schemas.microsoft.com/office/drawing/2014/main" id="{4CA26236-2A67-A9ED-CEAB-5B459550EB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9787" y="2560638"/>
              <a:ext cx="720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5" name="Line 10">
              <a:extLst>
                <a:ext uri="{FF2B5EF4-FFF2-40B4-BE49-F238E27FC236}">
                  <a16:creationId xmlns:a16="http://schemas.microsoft.com/office/drawing/2014/main" id="{BCEE6F98-A32E-3E9E-CA7F-9C84EAC184A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9787" y="2128838"/>
              <a:ext cx="720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6" name="Line 11">
              <a:extLst>
                <a:ext uri="{FF2B5EF4-FFF2-40B4-BE49-F238E27FC236}">
                  <a16:creationId xmlns:a16="http://schemas.microsoft.com/office/drawing/2014/main" id="{16F8F542-286E-0061-147F-46CB692313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9787" y="4289425"/>
              <a:ext cx="720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8" name="Line 12">
              <a:extLst>
                <a:ext uri="{FF2B5EF4-FFF2-40B4-BE49-F238E27FC236}">
                  <a16:creationId xmlns:a16="http://schemas.microsoft.com/office/drawing/2014/main" id="{3F1CDD15-6D03-5EEA-2524-A06F31B202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0429" y="3424238"/>
              <a:ext cx="291147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39" name="Line 13">
              <a:extLst>
                <a:ext uri="{FF2B5EF4-FFF2-40B4-BE49-F238E27FC236}">
                  <a16:creationId xmlns:a16="http://schemas.microsoft.com/office/drawing/2014/main" id="{4073AE9A-CEDE-9465-2290-344FCC4CCE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0429" y="3729038"/>
              <a:ext cx="291147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D222E87-FCC5-698D-E2ED-58E11FBE2C5D}"/>
                </a:ext>
              </a:extLst>
            </p:cNvPr>
            <p:cNvSpPr txBox="1"/>
            <p:nvPr/>
          </p:nvSpPr>
          <p:spPr>
            <a:xfrm>
              <a:off x="470243" y="2049463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150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A3FBCEF3-6219-97B4-96BE-0261E28A998D}"/>
                </a:ext>
              </a:extLst>
            </p:cNvPr>
            <p:cNvSpPr txBox="1"/>
            <p:nvPr/>
          </p:nvSpPr>
          <p:spPr>
            <a:xfrm>
              <a:off x="470243" y="2481522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100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940BA633-2565-E65A-0235-6F9DCD536A05}"/>
                </a:ext>
              </a:extLst>
            </p:cNvPr>
            <p:cNvSpPr txBox="1"/>
            <p:nvPr/>
          </p:nvSpPr>
          <p:spPr>
            <a:xfrm>
              <a:off x="470243" y="2913581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50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DE51D579-7D0D-6E3A-7337-B0750ECE7260}"/>
                </a:ext>
              </a:extLst>
            </p:cNvPr>
            <p:cNvSpPr txBox="1"/>
            <p:nvPr/>
          </p:nvSpPr>
          <p:spPr>
            <a:xfrm>
              <a:off x="470243" y="3345640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0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13157F9E-35CC-6F8D-EA00-F3E6469F7221}"/>
                </a:ext>
              </a:extLst>
            </p:cNvPr>
            <p:cNvSpPr txBox="1"/>
            <p:nvPr/>
          </p:nvSpPr>
          <p:spPr>
            <a:xfrm>
              <a:off x="470243" y="3777699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–5</a:t>
              </a:r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0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D5718A97-F7EE-9243-5D74-EB60B7AE9E27}"/>
                </a:ext>
              </a:extLst>
            </p:cNvPr>
            <p:cNvSpPr txBox="1"/>
            <p:nvPr/>
          </p:nvSpPr>
          <p:spPr>
            <a:xfrm>
              <a:off x="470243" y="4209757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–100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ADBE256B-F773-77BB-F781-4BC9F4859DA6}"/>
                </a:ext>
              </a:extLst>
            </p:cNvPr>
            <p:cNvSpPr txBox="1"/>
            <p:nvPr/>
          </p:nvSpPr>
          <p:spPr>
            <a:xfrm rot="16200000">
              <a:off x="-1049722" y="3131345"/>
              <a:ext cx="2732090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ct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Change in Spleen Volume From Baseline (%) 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9C84AC28-A910-3BD8-F773-881E7226480A}"/>
                </a:ext>
              </a:extLst>
            </p:cNvPr>
            <p:cNvSpPr txBox="1"/>
            <p:nvPr/>
          </p:nvSpPr>
          <p:spPr>
            <a:xfrm>
              <a:off x="886423" y="1976855"/>
              <a:ext cx="1355721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ctr" defTabSz="685800"/>
              <a:r>
                <a:rPr lang="en-GB" sz="750" b="1" err="1">
                  <a:solidFill>
                    <a:prstClr val="black"/>
                  </a:solidFill>
                  <a:latin typeface="Arial" panose="020B0604020202020204"/>
                </a:rPr>
                <a:t>Momelotinib</a:t>
              </a:r>
              <a:endParaRPr lang="en-GB" sz="750" b="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719C7A42-9FA7-81E8-1F05-62A28F89AA92}"/>
                </a:ext>
              </a:extLst>
            </p:cNvPr>
            <p:cNvSpPr txBox="1"/>
            <p:nvPr/>
          </p:nvSpPr>
          <p:spPr>
            <a:xfrm>
              <a:off x="2274529" y="1976855"/>
              <a:ext cx="1498737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ctr" defTabSz="685800"/>
              <a:r>
                <a:rPr lang="en-GB" sz="750" b="1" err="1">
                  <a:solidFill>
                    <a:prstClr val="black"/>
                  </a:solidFill>
                  <a:latin typeface="Arial" panose="020B0604020202020204"/>
                </a:rPr>
                <a:t>Ruxolitinib</a:t>
              </a:r>
              <a:endParaRPr lang="en-GB" sz="750" b="1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706C66B9-0EA6-C285-10B0-5E4A728E442D}"/>
                </a:ext>
              </a:extLst>
            </p:cNvPr>
            <p:cNvSpPr txBox="1"/>
            <p:nvPr/>
          </p:nvSpPr>
          <p:spPr>
            <a:xfrm>
              <a:off x="857848" y="4166231"/>
              <a:ext cx="291147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ct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Individual Patients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EE1864B5-7CDF-CF76-70EF-3CEB54F184DD}"/>
                </a:ext>
              </a:extLst>
            </p:cNvPr>
            <p:cNvSpPr txBox="1"/>
            <p:nvPr/>
          </p:nvSpPr>
          <p:spPr>
            <a:xfrm>
              <a:off x="876439" y="2727996"/>
              <a:ext cx="1355721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ctr" defTabSz="685800"/>
              <a:r>
                <a:rPr lang="en-GB" sz="750" b="1">
                  <a:solidFill>
                    <a:prstClr val="black"/>
                  </a:solidFill>
                  <a:latin typeface="Arial" panose="020B0604020202020204"/>
                </a:rPr>
                <a:t>26.5% Splenic </a:t>
              </a:r>
            </a:p>
            <a:p>
              <a:pPr algn="ctr" defTabSz="685800"/>
              <a:r>
                <a:rPr lang="en-GB" sz="750" b="1">
                  <a:solidFill>
                    <a:prstClr val="black"/>
                  </a:solidFill>
                  <a:latin typeface="Arial" panose="020B0604020202020204"/>
                </a:rPr>
                <a:t>Response Rate</a:t>
              </a:r>
            </a:p>
            <a:p>
              <a:pPr algn="ct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(57/215)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977BE04F-32D4-9427-47C4-877C1331B6B0}"/>
                </a:ext>
              </a:extLst>
            </p:cNvPr>
            <p:cNvSpPr txBox="1"/>
            <p:nvPr/>
          </p:nvSpPr>
          <p:spPr>
            <a:xfrm>
              <a:off x="2301828" y="2727996"/>
              <a:ext cx="1498737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ctr" defTabSz="685800"/>
              <a:r>
                <a:rPr lang="en-GB" sz="750" b="1">
                  <a:solidFill>
                    <a:prstClr val="black"/>
                  </a:solidFill>
                  <a:latin typeface="Arial" panose="020B0604020202020204"/>
                </a:rPr>
                <a:t>29.0% Splenic</a:t>
              </a:r>
            </a:p>
            <a:p>
              <a:pPr algn="ctr" defTabSz="685800"/>
              <a:r>
                <a:rPr lang="en-GB" sz="750" b="1">
                  <a:solidFill>
                    <a:prstClr val="black"/>
                  </a:solidFill>
                  <a:latin typeface="Arial" panose="020B0604020202020204"/>
                </a:rPr>
                <a:t>Response Rate </a:t>
              </a:r>
            </a:p>
            <a:p>
              <a:pPr algn="ct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(63/217)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93608B93-CE9D-0096-4207-9725643A7027}"/>
                </a:ext>
              </a:extLst>
            </p:cNvPr>
            <p:cNvSpPr txBox="1"/>
            <p:nvPr/>
          </p:nvSpPr>
          <p:spPr>
            <a:xfrm>
              <a:off x="857848" y="4453940"/>
              <a:ext cx="291147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t">
              <a:noAutofit/>
            </a:bodyPr>
            <a:lstStyle/>
            <a:p>
              <a:pPr algn="ct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Proportion difference of 0.09 (95% CI, 0.02 to 0.16)</a:t>
              </a:r>
              <a:br>
                <a:rPr lang="en-GB" sz="750">
                  <a:solidFill>
                    <a:prstClr val="black"/>
                  </a:solidFill>
                  <a:latin typeface="Arial" panose="020B0604020202020204"/>
                </a:rPr>
              </a:br>
              <a:r>
                <a:rPr lang="en-GB" sz="750" i="1">
                  <a:solidFill>
                    <a:prstClr val="black"/>
                  </a:solidFill>
                  <a:latin typeface="Arial" panose="020B0604020202020204"/>
                </a:rPr>
                <a:t>P </a:t>
              </a:r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= 0.011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07C68584-9A28-8AA1-5A58-22965C5DE302}"/>
                </a:ext>
              </a:extLst>
            </p:cNvPr>
            <p:cNvSpPr txBox="1"/>
            <p:nvPr/>
          </p:nvSpPr>
          <p:spPr>
            <a:xfrm>
              <a:off x="2779338" y="3789805"/>
              <a:ext cx="92152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 b="1">
                  <a:solidFill>
                    <a:prstClr val="black"/>
                  </a:solidFill>
                  <a:latin typeface="Arial" panose="020B0604020202020204"/>
                </a:rPr>
                <a:t>35% decrease</a:t>
              </a: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8D01C3B3-F9DA-51AA-7DE9-330AAFD87A9C}"/>
              </a:ext>
            </a:extLst>
          </p:cNvPr>
          <p:cNvGrpSpPr/>
          <p:nvPr/>
        </p:nvGrpSpPr>
        <p:grpSpPr>
          <a:xfrm>
            <a:off x="4555637" y="2295050"/>
            <a:ext cx="2727056" cy="1986766"/>
            <a:chOff x="3976903" y="2054226"/>
            <a:chExt cx="3636074" cy="2649021"/>
          </a:xfrm>
        </p:grpSpPr>
        <p:sp>
          <p:nvSpPr>
            <p:cNvPr id="62" name="Freeform 32">
              <a:extLst>
                <a:ext uri="{FF2B5EF4-FFF2-40B4-BE49-F238E27FC236}">
                  <a16:creationId xmlns:a16="http://schemas.microsoft.com/office/drawing/2014/main" id="{AA4E3E13-0142-7248-DDB0-E2E60C10C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1835" y="3186113"/>
              <a:ext cx="3103563" cy="1093788"/>
            </a:xfrm>
            <a:custGeom>
              <a:avLst/>
              <a:gdLst>
                <a:gd name="T0" fmla="*/ 30 w 971"/>
                <a:gd name="T1" fmla="*/ 331 h 342"/>
                <a:gd name="T2" fmla="*/ 77 w 971"/>
                <a:gd name="T3" fmla="*/ 323 h 342"/>
                <a:gd name="T4" fmla="*/ 131 w 971"/>
                <a:gd name="T5" fmla="*/ 311 h 342"/>
                <a:gd name="T6" fmla="*/ 166 w 971"/>
                <a:gd name="T7" fmla="*/ 297 h 342"/>
                <a:gd name="T8" fmla="*/ 215 w 971"/>
                <a:gd name="T9" fmla="*/ 278 h 342"/>
                <a:gd name="T10" fmla="*/ 248 w 971"/>
                <a:gd name="T11" fmla="*/ 261 h 342"/>
                <a:gd name="T12" fmla="*/ 293 w 971"/>
                <a:gd name="T13" fmla="*/ 244 h 342"/>
                <a:gd name="T14" fmla="*/ 335 w 971"/>
                <a:gd name="T15" fmla="*/ 226 h 342"/>
                <a:gd name="T16" fmla="*/ 378 w 971"/>
                <a:gd name="T17" fmla="*/ 213 h 342"/>
                <a:gd name="T18" fmla="*/ 411 w 971"/>
                <a:gd name="T19" fmla="*/ 195 h 342"/>
                <a:gd name="T20" fmla="*/ 466 w 971"/>
                <a:gd name="T21" fmla="*/ 181 h 342"/>
                <a:gd name="T22" fmla="*/ 518 w 971"/>
                <a:gd name="T23" fmla="*/ 161 h 342"/>
                <a:gd name="T24" fmla="*/ 567 w 971"/>
                <a:gd name="T25" fmla="*/ 146 h 342"/>
                <a:gd name="T26" fmla="*/ 609 w 971"/>
                <a:gd name="T27" fmla="*/ 126 h 342"/>
                <a:gd name="T28" fmla="*/ 644 w 971"/>
                <a:gd name="T29" fmla="*/ 116 h 342"/>
                <a:gd name="T30" fmla="*/ 683 w 971"/>
                <a:gd name="T31" fmla="*/ 102 h 342"/>
                <a:gd name="T32" fmla="*/ 714 w 971"/>
                <a:gd name="T33" fmla="*/ 95 h 342"/>
                <a:gd name="T34" fmla="*/ 736 w 971"/>
                <a:gd name="T35" fmla="*/ 82 h 342"/>
                <a:gd name="T36" fmla="*/ 763 w 971"/>
                <a:gd name="T37" fmla="*/ 76 h 342"/>
                <a:gd name="T38" fmla="*/ 794 w 971"/>
                <a:gd name="T39" fmla="*/ 66 h 342"/>
                <a:gd name="T40" fmla="*/ 823 w 971"/>
                <a:gd name="T41" fmla="*/ 51 h 342"/>
                <a:gd name="T42" fmla="*/ 869 w 971"/>
                <a:gd name="T43" fmla="*/ 43 h 342"/>
                <a:gd name="T44" fmla="*/ 896 w 971"/>
                <a:gd name="T45" fmla="*/ 29 h 342"/>
                <a:gd name="T46" fmla="*/ 935 w 971"/>
                <a:gd name="T47" fmla="*/ 19 h 342"/>
                <a:gd name="T48" fmla="*/ 954 w 971"/>
                <a:gd name="T49" fmla="*/ 12 h 342"/>
                <a:gd name="T50" fmla="*/ 971 w 971"/>
                <a:gd name="T51" fmla="*/ 161 h 342"/>
                <a:gd name="T52" fmla="*/ 898 w 971"/>
                <a:gd name="T53" fmla="*/ 176 h 342"/>
                <a:gd name="T54" fmla="*/ 855 w 971"/>
                <a:gd name="T55" fmla="*/ 185 h 342"/>
                <a:gd name="T56" fmla="*/ 808 w 971"/>
                <a:gd name="T57" fmla="*/ 195 h 342"/>
                <a:gd name="T58" fmla="*/ 754 w 971"/>
                <a:gd name="T59" fmla="*/ 201 h 342"/>
                <a:gd name="T60" fmla="*/ 691 w 971"/>
                <a:gd name="T61" fmla="*/ 212 h 342"/>
                <a:gd name="T62" fmla="*/ 650 w 971"/>
                <a:gd name="T63" fmla="*/ 220 h 342"/>
                <a:gd name="T64" fmla="*/ 572 w 971"/>
                <a:gd name="T65" fmla="*/ 236 h 342"/>
                <a:gd name="T66" fmla="*/ 491 w 971"/>
                <a:gd name="T67" fmla="*/ 253 h 342"/>
                <a:gd name="T68" fmla="*/ 419 w 971"/>
                <a:gd name="T69" fmla="*/ 265 h 342"/>
                <a:gd name="T70" fmla="*/ 371 w 971"/>
                <a:gd name="T71" fmla="*/ 278 h 342"/>
                <a:gd name="T72" fmla="*/ 324 w 971"/>
                <a:gd name="T73" fmla="*/ 289 h 342"/>
                <a:gd name="T74" fmla="*/ 263 w 971"/>
                <a:gd name="T75" fmla="*/ 298 h 342"/>
                <a:gd name="T76" fmla="*/ 206 w 971"/>
                <a:gd name="T77" fmla="*/ 313 h 342"/>
                <a:gd name="T78" fmla="*/ 171 w 971"/>
                <a:gd name="T79" fmla="*/ 321 h 342"/>
                <a:gd name="T80" fmla="*/ 116 w 971"/>
                <a:gd name="T81" fmla="*/ 332 h 342"/>
                <a:gd name="T82" fmla="*/ 56 w 971"/>
                <a:gd name="T83" fmla="*/ 337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71" h="342">
                  <a:moveTo>
                    <a:pt x="0" y="342"/>
                  </a:moveTo>
                  <a:cubicBezTo>
                    <a:pt x="0" y="342"/>
                    <a:pt x="16" y="331"/>
                    <a:pt x="30" y="331"/>
                  </a:cubicBezTo>
                  <a:cubicBezTo>
                    <a:pt x="43" y="330"/>
                    <a:pt x="52" y="325"/>
                    <a:pt x="56" y="325"/>
                  </a:cubicBezTo>
                  <a:cubicBezTo>
                    <a:pt x="60" y="325"/>
                    <a:pt x="71" y="326"/>
                    <a:pt x="77" y="323"/>
                  </a:cubicBezTo>
                  <a:cubicBezTo>
                    <a:pt x="83" y="321"/>
                    <a:pt x="89" y="316"/>
                    <a:pt x="106" y="315"/>
                  </a:cubicBezTo>
                  <a:cubicBezTo>
                    <a:pt x="122" y="314"/>
                    <a:pt x="128" y="312"/>
                    <a:pt x="131" y="311"/>
                  </a:cubicBezTo>
                  <a:cubicBezTo>
                    <a:pt x="134" y="310"/>
                    <a:pt x="139" y="309"/>
                    <a:pt x="144" y="309"/>
                  </a:cubicBezTo>
                  <a:cubicBezTo>
                    <a:pt x="149" y="308"/>
                    <a:pt x="161" y="302"/>
                    <a:pt x="166" y="297"/>
                  </a:cubicBezTo>
                  <a:cubicBezTo>
                    <a:pt x="172" y="293"/>
                    <a:pt x="180" y="288"/>
                    <a:pt x="195" y="284"/>
                  </a:cubicBezTo>
                  <a:cubicBezTo>
                    <a:pt x="210" y="281"/>
                    <a:pt x="211" y="279"/>
                    <a:pt x="215" y="278"/>
                  </a:cubicBezTo>
                  <a:cubicBezTo>
                    <a:pt x="219" y="277"/>
                    <a:pt x="225" y="277"/>
                    <a:pt x="232" y="275"/>
                  </a:cubicBezTo>
                  <a:cubicBezTo>
                    <a:pt x="239" y="274"/>
                    <a:pt x="248" y="261"/>
                    <a:pt x="248" y="261"/>
                  </a:cubicBezTo>
                  <a:cubicBezTo>
                    <a:pt x="248" y="261"/>
                    <a:pt x="254" y="252"/>
                    <a:pt x="272" y="251"/>
                  </a:cubicBezTo>
                  <a:cubicBezTo>
                    <a:pt x="291" y="250"/>
                    <a:pt x="288" y="244"/>
                    <a:pt x="293" y="244"/>
                  </a:cubicBezTo>
                  <a:cubicBezTo>
                    <a:pt x="297" y="244"/>
                    <a:pt x="309" y="243"/>
                    <a:pt x="315" y="241"/>
                  </a:cubicBezTo>
                  <a:cubicBezTo>
                    <a:pt x="321" y="239"/>
                    <a:pt x="332" y="227"/>
                    <a:pt x="335" y="226"/>
                  </a:cubicBezTo>
                  <a:cubicBezTo>
                    <a:pt x="339" y="225"/>
                    <a:pt x="342" y="223"/>
                    <a:pt x="350" y="223"/>
                  </a:cubicBezTo>
                  <a:cubicBezTo>
                    <a:pt x="357" y="223"/>
                    <a:pt x="374" y="214"/>
                    <a:pt x="378" y="213"/>
                  </a:cubicBezTo>
                  <a:cubicBezTo>
                    <a:pt x="383" y="212"/>
                    <a:pt x="392" y="211"/>
                    <a:pt x="399" y="207"/>
                  </a:cubicBezTo>
                  <a:cubicBezTo>
                    <a:pt x="407" y="203"/>
                    <a:pt x="406" y="198"/>
                    <a:pt x="411" y="195"/>
                  </a:cubicBezTo>
                  <a:cubicBezTo>
                    <a:pt x="416" y="193"/>
                    <a:pt x="425" y="190"/>
                    <a:pt x="435" y="190"/>
                  </a:cubicBezTo>
                  <a:cubicBezTo>
                    <a:pt x="445" y="189"/>
                    <a:pt x="463" y="181"/>
                    <a:pt x="466" y="181"/>
                  </a:cubicBezTo>
                  <a:cubicBezTo>
                    <a:pt x="470" y="181"/>
                    <a:pt x="481" y="178"/>
                    <a:pt x="488" y="172"/>
                  </a:cubicBezTo>
                  <a:cubicBezTo>
                    <a:pt x="496" y="167"/>
                    <a:pt x="505" y="162"/>
                    <a:pt x="518" y="161"/>
                  </a:cubicBezTo>
                  <a:cubicBezTo>
                    <a:pt x="531" y="160"/>
                    <a:pt x="529" y="157"/>
                    <a:pt x="542" y="155"/>
                  </a:cubicBezTo>
                  <a:cubicBezTo>
                    <a:pt x="555" y="154"/>
                    <a:pt x="562" y="151"/>
                    <a:pt x="567" y="146"/>
                  </a:cubicBezTo>
                  <a:cubicBezTo>
                    <a:pt x="572" y="142"/>
                    <a:pt x="573" y="135"/>
                    <a:pt x="590" y="131"/>
                  </a:cubicBezTo>
                  <a:cubicBezTo>
                    <a:pt x="608" y="128"/>
                    <a:pt x="604" y="128"/>
                    <a:pt x="609" y="126"/>
                  </a:cubicBezTo>
                  <a:cubicBezTo>
                    <a:pt x="615" y="123"/>
                    <a:pt x="626" y="124"/>
                    <a:pt x="629" y="122"/>
                  </a:cubicBezTo>
                  <a:cubicBezTo>
                    <a:pt x="632" y="121"/>
                    <a:pt x="638" y="118"/>
                    <a:pt x="644" y="116"/>
                  </a:cubicBezTo>
                  <a:cubicBezTo>
                    <a:pt x="651" y="115"/>
                    <a:pt x="654" y="106"/>
                    <a:pt x="660" y="104"/>
                  </a:cubicBezTo>
                  <a:cubicBezTo>
                    <a:pt x="666" y="102"/>
                    <a:pt x="679" y="104"/>
                    <a:pt x="683" y="102"/>
                  </a:cubicBezTo>
                  <a:cubicBezTo>
                    <a:pt x="686" y="100"/>
                    <a:pt x="686" y="97"/>
                    <a:pt x="693" y="96"/>
                  </a:cubicBezTo>
                  <a:cubicBezTo>
                    <a:pt x="699" y="96"/>
                    <a:pt x="712" y="96"/>
                    <a:pt x="714" y="95"/>
                  </a:cubicBezTo>
                  <a:cubicBezTo>
                    <a:pt x="716" y="93"/>
                    <a:pt x="724" y="92"/>
                    <a:pt x="726" y="93"/>
                  </a:cubicBezTo>
                  <a:cubicBezTo>
                    <a:pt x="728" y="93"/>
                    <a:pt x="732" y="83"/>
                    <a:pt x="736" y="82"/>
                  </a:cubicBezTo>
                  <a:cubicBezTo>
                    <a:pt x="741" y="81"/>
                    <a:pt x="743" y="78"/>
                    <a:pt x="745" y="78"/>
                  </a:cubicBezTo>
                  <a:cubicBezTo>
                    <a:pt x="747" y="78"/>
                    <a:pt x="758" y="78"/>
                    <a:pt x="763" y="76"/>
                  </a:cubicBezTo>
                  <a:cubicBezTo>
                    <a:pt x="769" y="73"/>
                    <a:pt x="773" y="72"/>
                    <a:pt x="780" y="71"/>
                  </a:cubicBezTo>
                  <a:cubicBezTo>
                    <a:pt x="787" y="70"/>
                    <a:pt x="785" y="67"/>
                    <a:pt x="794" y="66"/>
                  </a:cubicBezTo>
                  <a:cubicBezTo>
                    <a:pt x="804" y="64"/>
                    <a:pt x="805" y="64"/>
                    <a:pt x="807" y="63"/>
                  </a:cubicBezTo>
                  <a:cubicBezTo>
                    <a:pt x="809" y="61"/>
                    <a:pt x="814" y="53"/>
                    <a:pt x="823" y="51"/>
                  </a:cubicBezTo>
                  <a:cubicBezTo>
                    <a:pt x="832" y="49"/>
                    <a:pt x="843" y="52"/>
                    <a:pt x="847" y="49"/>
                  </a:cubicBezTo>
                  <a:cubicBezTo>
                    <a:pt x="850" y="47"/>
                    <a:pt x="856" y="45"/>
                    <a:pt x="869" y="43"/>
                  </a:cubicBezTo>
                  <a:cubicBezTo>
                    <a:pt x="881" y="42"/>
                    <a:pt x="876" y="40"/>
                    <a:pt x="886" y="38"/>
                  </a:cubicBezTo>
                  <a:cubicBezTo>
                    <a:pt x="896" y="37"/>
                    <a:pt x="889" y="32"/>
                    <a:pt x="896" y="29"/>
                  </a:cubicBezTo>
                  <a:cubicBezTo>
                    <a:pt x="903" y="25"/>
                    <a:pt x="907" y="24"/>
                    <a:pt x="914" y="21"/>
                  </a:cubicBezTo>
                  <a:cubicBezTo>
                    <a:pt x="921" y="19"/>
                    <a:pt x="932" y="20"/>
                    <a:pt x="935" y="19"/>
                  </a:cubicBezTo>
                  <a:cubicBezTo>
                    <a:pt x="937" y="18"/>
                    <a:pt x="944" y="12"/>
                    <a:pt x="947" y="12"/>
                  </a:cubicBezTo>
                  <a:cubicBezTo>
                    <a:pt x="950" y="12"/>
                    <a:pt x="952" y="13"/>
                    <a:pt x="954" y="12"/>
                  </a:cubicBezTo>
                  <a:cubicBezTo>
                    <a:pt x="957" y="10"/>
                    <a:pt x="971" y="0"/>
                    <a:pt x="971" y="0"/>
                  </a:cubicBezTo>
                  <a:cubicBezTo>
                    <a:pt x="971" y="161"/>
                    <a:pt x="971" y="161"/>
                    <a:pt x="971" y="161"/>
                  </a:cubicBezTo>
                  <a:cubicBezTo>
                    <a:pt x="971" y="161"/>
                    <a:pt x="950" y="170"/>
                    <a:pt x="934" y="171"/>
                  </a:cubicBezTo>
                  <a:cubicBezTo>
                    <a:pt x="918" y="172"/>
                    <a:pt x="902" y="174"/>
                    <a:pt x="898" y="176"/>
                  </a:cubicBezTo>
                  <a:cubicBezTo>
                    <a:pt x="894" y="178"/>
                    <a:pt x="882" y="185"/>
                    <a:pt x="876" y="184"/>
                  </a:cubicBezTo>
                  <a:cubicBezTo>
                    <a:pt x="870" y="184"/>
                    <a:pt x="859" y="184"/>
                    <a:pt x="855" y="185"/>
                  </a:cubicBezTo>
                  <a:cubicBezTo>
                    <a:pt x="851" y="187"/>
                    <a:pt x="841" y="189"/>
                    <a:pt x="830" y="189"/>
                  </a:cubicBezTo>
                  <a:cubicBezTo>
                    <a:pt x="818" y="188"/>
                    <a:pt x="812" y="195"/>
                    <a:pt x="808" y="195"/>
                  </a:cubicBezTo>
                  <a:cubicBezTo>
                    <a:pt x="805" y="195"/>
                    <a:pt x="789" y="195"/>
                    <a:pt x="782" y="198"/>
                  </a:cubicBezTo>
                  <a:cubicBezTo>
                    <a:pt x="775" y="201"/>
                    <a:pt x="763" y="200"/>
                    <a:pt x="754" y="201"/>
                  </a:cubicBezTo>
                  <a:cubicBezTo>
                    <a:pt x="745" y="203"/>
                    <a:pt x="731" y="206"/>
                    <a:pt x="728" y="209"/>
                  </a:cubicBezTo>
                  <a:cubicBezTo>
                    <a:pt x="725" y="212"/>
                    <a:pt x="695" y="210"/>
                    <a:pt x="691" y="212"/>
                  </a:cubicBezTo>
                  <a:cubicBezTo>
                    <a:pt x="687" y="214"/>
                    <a:pt x="680" y="217"/>
                    <a:pt x="672" y="216"/>
                  </a:cubicBezTo>
                  <a:cubicBezTo>
                    <a:pt x="665" y="216"/>
                    <a:pt x="654" y="218"/>
                    <a:pt x="650" y="220"/>
                  </a:cubicBezTo>
                  <a:cubicBezTo>
                    <a:pt x="646" y="222"/>
                    <a:pt x="629" y="226"/>
                    <a:pt x="611" y="228"/>
                  </a:cubicBezTo>
                  <a:cubicBezTo>
                    <a:pt x="594" y="229"/>
                    <a:pt x="579" y="231"/>
                    <a:pt x="572" y="236"/>
                  </a:cubicBezTo>
                  <a:cubicBezTo>
                    <a:pt x="566" y="240"/>
                    <a:pt x="563" y="243"/>
                    <a:pt x="542" y="245"/>
                  </a:cubicBezTo>
                  <a:cubicBezTo>
                    <a:pt x="521" y="246"/>
                    <a:pt x="498" y="249"/>
                    <a:pt x="491" y="253"/>
                  </a:cubicBezTo>
                  <a:cubicBezTo>
                    <a:pt x="484" y="256"/>
                    <a:pt x="484" y="257"/>
                    <a:pt x="460" y="260"/>
                  </a:cubicBezTo>
                  <a:cubicBezTo>
                    <a:pt x="436" y="262"/>
                    <a:pt x="429" y="264"/>
                    <a:pt x="419" y="265"/>
                  </a:cubicBezTo>
                  <a:cubicBezTo>
                    <a:pt x="410" y="265"/>
                    <a:pt x="402" y="276"/>
                    <a:pt x="390" y="276"/>
                  </a:cubicBezTo>
                  <a:cubicBezTo>
                    <a:pt x="378" y="277"/>
                    <a:pt x="375" y="276"/>
                    <a:pt x="371" y="278"/>
                  </a:cubicBezTo>
                  <a:cubicBezTo>
                    <a:pt x="367" y="279"/>
                    <a:pt x="352" y="281"/>
                    <a:pt x="345" y="281"/>
                  </a:cubicBezTo>
                  <a:cubicBezTo>
                    <a:pt x="338" y="280"/>
                    <a:pt x="328" y="288"/>
                    <a:pt x="324" y="289"/>
                  </a:cubicBezTo>
                  <a:cubicBezTo>
                    <a:pt x="321" y="290"/>
                    <a:pt x="301" y="292"/>
                    <a:pt x="295" y="293"/>
                  </a:cubicBezTo>
                  <a:cubicBezTo>
                    <a:pt x="289" y="295"/>
                    <a:pt x="278" y="296"/>
                    <a:pt x="263" y="298"/>
                  </a:cubicBezTo>
                  <a:cubicBezTo>
                    <a:pt x="248" y="299"/>
                    <a:pt x="241" y="309"/>
                    <a:pt x="238" y="310"/>
                  </a:cubicBezTo>
                  <a:cubicBezTo>
                    <a:pt x="235" y="311"/>
                    <a:pt x="213" y="311"/>
                    <a:pt x="206" y="313"/>
                  </a:cubicBezTo>
                  <a:cubicBezTo>
                    <a:pt x="199" y="315"/>
                    <a:pt x="190" y="316"/>
                    <a:pt x="187" y="317"/>
                  </a:cubicBezTo>
                  <a:cubicBezTo>
                    <a:pt x="185" y="317"/>
                    <a:pt x="177" y="318"/>
                    <a:pt x="171" y="321"/>
                  </a:cubicBezTo>
                  <a:cubicBezTo>
                    <a:pt x="165" y="325"/>
                    <a:pt x="146" y="329"/>
                    <a:pt x="138" y="329"/>
                  </a:cubicBezTo>
                  <a:cubicBezTo>
                    <a:pt x="130" y="328"/>
                    <a:pt x="124" y="332"/>
                    <a:pt x="116" y="332"/>
                  </a:cubicBezTo>
                  <a:cubicBezTo>
                    <a:pt x="109" y="332"/>
                    <a:pt x="97" y="332"/>
                    <a:pt x="93" y="332"/>
                  </a:cubicBezTo>
                  <a:cubicBezTo>
                    <a:pt x="89" y="333"/>
                    <a:pt x="82" y="336"/>
                    <a:pt x="56" y="337"/>
                  </a:cubicBezTo>
                  <a:cubicBezTo>
                    <a:pt x="30" y="338"/>
                    <a:pt x="6" y="340"/>
                    <a:pt x="0" y="342"/>
                  </a:cubicBezTo>
                  <a:close/>
                </a:path>
              </a:pathLst>
            </a:custGeom>
            <a:solidFill>
              <a:srgbClr val="0076A9"/>
            </a:solidFill>
            <a:ln w="12700" cap="flat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64" name="Freeform 34">
              <a:extLst>
                <a:ext uri="{FF2B5EF4-FFF2-40B4-BE49-F238E27FC236}">
                  <a16:creationId xmlns:a16="http://schemas.microsoft.com/office/drawing/2014/main" id="{1E5F1AD8-B46B-1483-96B3-62A670E7A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1835" y="2454275"/>
              <a:ext cx="3103563" cy="1839913"/>
            </a:xfrm>
            <a:custGeom>
              <a:avLst/>
              <a:gdLst>
                <a:gd name="T0" fmla="*/ 42 w 971"/>
                <a:gd name="T1" fmla="*/ 545 h 575"/>
                <a:gd name="T2" fmla="*/ 88 w 971"/>
                <a:gd name="T3" fmla="*/ 528 h 575"/>
                <a:gd name="T4" fmla="*/ 130 w 971"/>
                <a:gd name="T5" fmla="*/ 516 h 575"/>
                <a:gd name="T6" fmla="*/ 197 w 971"/>
                <a:gd name="T7" fmla="*/ 470 h 575"/>
                <a:gd name="T8" fmla="*/ 236 w 971"/>
                <a:gd name="T9" fmla="*/ 453 h 575"/>
                <a:gd name="T10" fmla="*/ 294 w 971"/>
                <a:gd name="T11" fmla="*/ 404 h 575"/>
                <a:gd name="T12" fmla="*/ 345 w 971"/>
                <a:gd name="T13" fmla="*/ 369 h 575"/>
                <a:gd name="T14" fmla="*/ 382 w 971"/>
                <a:gd name="T15" fmla="*/ 353 h 575"/>
                <a:gd name="T16" fmla="*/ 457 w 971"/>
                <a:gd name="T17" fmla="*/ 305 h 575"/>
                <a:gd name="T18" fmla="*/ 484 w 971"/>
                <a:gd name="T19" fmla="*/ 293 h 575"/>
                <a:gd name="T20" fmla="*/ 521 w 971"/>
                <a:gd name="T21" fmla="*/ 267 h 575"/>
                <a:gd name="T22" fmla="*/ 556 w 971"/>
                <a:gd name="T23" fmla="*/ 250 h 575"/>
                <a:gd name="T24" fmla="*/ 583 w 971"/>
                <a:gd name="T25" fmla="*/ 220 h 575"/>
                <a:gd name="T26" fmla="*/ 634 w 971"/>
                <a:gd name="T27" fmla="*/ 195 h 575"/>
                <a:gd name="T28" fmla="*/ 681 w 971"/>
                <a:gd name="T29" fmla="*/ 167 h 575"/>
                <a:gd name="T30" fmla="*/ 725 w 971"/>
                <a:gd name="T31" fmla="*/ 152 h 575"/>
                <a:gd name="T32" fmla="*/ 753 w 971"/>
                <a:gd name="T33" fmla="*/ 126 h 575"/>
                <a:gd name="T34" fmla="*/ 785 w 971"/>
                <a:gd name="T35" fmla="*/ 111 h 575"/>
                <a:gd name="T36" fmla="*/ 821 w 971"/>
                <a:gd name="T37" fmla="*/ 85 h 575"/>
                <a:gd name="T38" fmla="*/ 879 w 971"/>
                <a:gd name="T39" fmla="*/ 64 h 575"/>
                <a:gd name="T40" fmla="*/ 899 w 971"/>
                <a:gd name="T41" fmla="*/ 44 h 575"/>
                <a:gd name="T42" fmla="*/ 922 w 971"/>
                <a:gd name="T43" fmla="*/ 32 h 575"/>
                <a:gd name="T44" fmla="*/ 945 w 971"/>
                <a:gd name="T45" fmla="*/ 19 h 575"/>
                <a:gd name="T46" fmla="*/ 971 w 971"/>
                <a:gd name="T47" fmla="*/ 0 h 575"/>
                <a:gd name="T48" fmla="*/ 943 w 971"/>
                <a:gd name="T49" fmla="*/ 183 h 575"/>
                <a:gd name="T50" fmla="*/ 863 w 971"/>
                <a:gd name="T51" fmla="*/ 220 h 575"/>
                <a:gd name="T52" fmla="*/ 808 w 971"/>
                <a:gd name="T53" fmla="*/ 241 h 575"/>
                <a:gd name="T54" fmla="*/ 784 w 971"/>
                <a:gd name="T55" fmla="*/ 249 h 575"/>
                <a:gd name="T56" fmla="*/ 744 w 971"/>
                <a:gd name="T57" fmla="*/ 259 h 575"/>
                <a:gd name="T58" fmla="*/ 718 w 971"/>
                <a:gd name="T59" fmla="*/ 277 h 575"/>
                <a:gd name="T60" fmla="*/ 680 w 971"/>
                <a:gd name="T61" fmla="*/ 288 h 575"/>
                <a:gd name="T62" fmla="*/ 637 w 971"/>
                <a:gd name="T63" fmla="*/ 306 h 575"/>
                <a:gd name="T64" fmla="*/ 610 w 971"/>
                <a:gd name="T65" fmla="*/ 316 h 575"/>
                <a:gd name="T66" fmla="*/ 584 w 971"/>
                <a:gd name="T67" fmla="*/ 325 h 575"/>
                <a:gd name="T68" fmla="*/ 567 w 971"/>
                <a:gd name="T69" fmla="*/ 341 h 575"/>
                <a:gd name="T70" fmla="*/ 552 w 971"/>
                <a:gd name="T71" fmla="*/ 350 h 575"/>
                <a:gd name="T72" fmla="*/ 522 w 971"/>
                <a:gd name="T73" fmla="*/ 359 h 575"/>
                <a:gd name="T74" fmla="*/ 490 w 971"/>
                <a:gd name="T75" fmla="*/ 372 h 575"/>
                <a:gd name="T76" fmla="*/ 467 w 971"/>
                <a:gd name="T77" fmla="*/ 385 h 575"/>
                <a:gd name="T78" fmla="*/ 432 w 971"/>
                <a:gd name="T79" fmla="*/ 393 h 575"/>
                <a:gd name="T80" fmla="*/ 388 w 971"/>
                <a:gd name="T81" fmla="*/ 421 h 575"/>
                <a:gd name="T82" fmla="*/ 339 w 971"/>
                <a:gd name="T83" fmla="*/ 435 h 575"/>
                <a:gd name="T84" fmla="*/ 309 w 971"/>
                <a:gd name="T85" fmla="*/ 455 h 575"/>
                <a:gd name="T86" fmla="*/ 271 w 971"/>
                <a:gd name="T87" fmla="*/ 466 h 575"/>
                <a:gd name="T88" fmla="*/ 213 w 971"/>
                <a:gd name="T89" fmla="*/ 500 h 575"/>
                <a:gd name="T90" fmla="*/ 175 w 971"/>
                <a:gd name="T91" fmla="*/ 516 h 575"/>
                <a:gd name="T92" fmla="*/ 126 w 971"/>
                <a:gd name="T93" fmla="*/ 540 h 575"/>
                <a:gd name="T94" fmla="*/ 56 w 971"/>
                <a:gd name="T95" fmla="*/ 554 h 575"/>
                <a:gd name="T96" fmla="*/ 0 w 971"/>
                <a:gd name="T97" fmla="*/ 575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71" h="575">
                  <a:moveTo>
                    <a:pt x="0" y="575"/>
                  </a:moveTo>
                  <a:cubicBezTo>
                    <a:pt x="0" y="575"/>
                    <a:pt x="6" y="554"/>
                    <a:pt x="16" y="550"/>
                  </a:cubicBezTo>
                  <a:cubicBezTo>
                    <a:pt x="25" y="546"/>
                    <a:pt x="35" y="547"/>
                    <a:pt x="42" y="545"/>
                  </a:cubicBezTo>
                  <a:cubicBezTo>
                    <a:pt x="48" y="544"/>
                    <a:pt x="56" y="539"/>
                    <a:pt x="60" y="539"/>
                  </a:cubicBezTo>
                  <a:cubicBezTo>
                    <a:pt x="63" y="539"/>
                    <a:pt x="73" y="539"/>
                    <a:pt x="77" y="537"/>
                  </a:cubicBezTo>
                  <a:cubicBezTo>
                    <a:pt x="82" y="534"/>
                    <a:pt x="86" y="530"/>
                    <a:pt x="88" y="528"/>
                  </a:cubicBezTo>
                  <a:cubicBezTo>
                    <a:pt x="90" y="526"/>
                    <a:pt x="97" y="524"/>
                    <a:pt x="106" y="524"/>
                  </a:cubicBezTo>
                  <a:cubicBezTo>
                    <a:pt x="116" y="523"/>
                    <a:pt x="119" y="519"/>
                    <a:pt x="122" y="519"/>
                  </a:cubicBezTo>
                  <a:cubicBezTo>
                    <a:pt x="125" y="519"/>
                    <a:pt x="127" y="518"/>
                    <a:pt x="130" y="516"/>
                  </a:cubicBezTo>
                  <a:cubicBezTo>
                    <a:pt x="133" y="513"/>
                    <a:pt x="134" y="511"/>
                    <a:pt x="143" y="511"/>
                  </a:cubicBezTo>
                  <a:cubicBezTo>
                    <a:pt x="152" y="511"/>
                    <a:pt x="167" y="493"/>
                    <a:pt x="169" y="490"/>
                  </a:cubicBezTo>
                  <a:cubicBezTo>
                    <a:pt x="171" y="487"/>
                    <a:pt x="185" y="473"/>
                    <a:pt x="197" y="470"/>
                  </a:cubicBezTo>
                  <a:cubicBezTo>
                    <a:pt x="209" y="467"/>
                    <a:pt x="210" y="463"/>
                    <a:pt x="212" y="462"/>
                  </a:cubicBezTo>
                  <a:cubicBezTo>
                    <a:pt x="215" y="461"/>
                    <a:pt x="222" y="461"/>
                    <a:pt x="225" y="459"/>
                  </a:cubicBezTo>
                  <a:cubicBezTo>
                    <a:pt x="228" y="457"/>
                    <a:pt x="228" y="455"/>
                    <a:pt x="236" y="453"/>
                  </a:cubicBezTo>
                  <a:cubicBezTo>
                    <a:pt x="244" y="451"/>
                    <a:pt x="249" y="428"/>
                    <a:pt x="257" y="422"/>
                  </a:cubicBezTo>
                  <a:cubicBezTo>
                    <a:pt x="264" y="417"/>
                    <a:pt x="274" y="415"/>
                    <a:pt x="280" y="414"/>
                  </a:cubicBezTo>
                  <a:cubicBezTo>
                    <a:pt x="286" y="413"/>
                    <a:pt x="291" y="405"/>
                    <a:pt x="294" y="404"/>
                  </a:cubicBezTo>
                  <a:cubicBezTo>
                    <a:pt x="296" y="403"/>
                    <a:pt x="304" y="404"/>
                    <a:pt x="308" y="402"/>
                  </a:cubicBezTo>
                  <a:cubicBezTo>
                    <a:pt x="311" y="400"/>
                    <a:pt x="319" y="396"/>
                    <a:pt x="325" y="389"/>
                  </a:cubicBezTo>
                  <a:cubicBezTo>
                    <a:pt x="330" y="382"/>
                    <a:pt x="334" y="370"/>
                    <a:pt x="345" y="369"/>
                  </a:cubicBezTo>
                  <a:cubicBezTo>
                    <a:pt x="356" y="368"/>
                    <a:pt x="355" y="365"/>
                    <a:pt x="357" y="364"/>
                  </a:cubicBezTo>
                  <a:cubicBezTo>
                    <a:pt x="358" y="363"/>
                    <a:pt x="362" y="363"/>
                    <a:pt x="367" y="361"/>
                  </a:cubicBezTo>
                  <a:cubicBezTo>
                    <a:pt x="372" y="358"/>
                    <a:pt x="371" y="355"/>
                    <a:pt x="382" y="353"/>
                  </a:cubicBezTo>
                  <a:cubicBezTo>
                    <a:pt x="393" y="352"/>
                    <a:pt x="402" y="343"/>
                    <a:pt x="404" y="338"/>
                  </a:cubicBezTo>
                  <a:cubicBezTo>
                    <a:pt x="406" y="334"/>
                    <a:pt x="410" y="319"/>
                    <a:pt x="427" y="315"/>
                  </a:cubicBezTo>
                  <a:cubicBezTo>
                    <a:pt x="444" y="312"/>
                    <a:pt x="453" y="308"/>
                    <a:pt x="457" y="305"/>
                  </a:cubicBezTo>
                  <a:cubicBezTo>
                    <a:pt x="460" y="303"/>
                    <a:pt x="460" y="302"/>
                    <a:pt x="466" y="302"/>
                  </a:cubicBezTo>
                  <a:cubicBezTo>
                    <a:pt x="471" y="302"/>
                    <a:pt x="471" y="297"/>
                    <a:pt x="475" y="296"/>
                  </a:cubicBezTo>
                  <a:cubicBezTo>
                    <a:pt x="479" y="296"/>
                    <a:pt x="481" y="297"/>
                    <a:pt x="484" y="293"/>
                  </a:cubicBezTo>
                  <a:cubicBezTo>
                    <a:pt x="487" y="289"/>
                    <a:pt x="489" y="284"/>
                    <a:pt x="491" y="282"/>
                  </a:cubicBezTo>
                  <a:cubicBezTo>
                    <a:pt x="494" y="281"/>
                    <a:pt x="501" y="272"/>
                    <a:pt x="505" y="271"/>
                  </a:cubicBezTo>
                  <a:cubicBezTo>
                    <a:pt x="509" y="271"/>
                    <a:pt x="517" y="269"/>
                    <a:pt x="521" y="267"/>
                  </a:cubicBezTo>
                  <a:cubicBezTo>
                    <a:pt x="525" y="266"/>
                    <a:pt x="526" y="262"/>
                    <a:pt x="534" y="261"/>
                  </a:cubicBezTo>
                  <a:cubicBezTo>
                    <a:pt x="542" y="260"/>
                    <a:pt x="541" y="255"/>
                    <a:pt x="546" y="255"/>
                  </a:cubicBezTo>
                  <a:cubicBezTo>
                    <a:pt x="551" y="255"/>
                    <a:pt x="555" y="250"/>
                    <a:pt x="556" y="250"/>
                  </a:cubicBezTo>
                  <a:cubicBezTo>
                    <a:pt x="557" y="250"/>
                    <a:pt x="564" y="250"/>
                    <a:pt x="567" y="242"/>
                  </a:cubicBezTo>
                  <a:cubicBezTo>
                    <a:pt x="570" y="235"/>
                    <a:pt x="572" y="231"/>
                    <a:pt x="576" y="228"/>
                  </a:cubicBezTo>
                  <a:cubicBezTo>
                    <a:pt x="580" y="225"/>
                    <a:pt x="581" y="222"/>
                    <a:pt x="583" y="220"/>
                  </a:cubicBezTo>
                  <a:cubicBezTo>
                    <a:pt x="584" y="218"/>
                    <a:pt x="594" y="213"/>
                    <a:pt x="600" y="212"/>
                  </a:cubicBezTo>
                  <a:cubicBezTo>
                    <a:pt x="606" y="211"/>
                    <a:pt x="618" y="202"/>
                    <a:pt x="620" y="201"/>
                  </a:cubicBezTo>
                  <a:cubicBezTo>
                    <a:pt x="623" y="201"/>
                    <a:pt x="629" y="200"/>
                    <a:pt x="634" y="195"/>
                  </a:cubicBezTo>
                  <a:cubicBezTo>
                    <a:pt x="639" y="191"/>
                    <a:pt x="644" y="189"/>
                    <a:pt x="647" y="187"/>
                  </a:cubicBezTo>
                  <a:cubicBezTo>
                    <a:pt x="651" y="186"/>
                    <a:pt x="654" y="173"/>
                    <a:pt x="661" y="170"/>
                  </a:cubicBezTo>
                  <a:cubicBezTo>
                    <a:pt x="668" y="167"/>
                    <a:pt x="676" y="169"/>
                    <a:pt x="681" y="167"/>
                  </a:cubicBezTo>
                  <a:cubicBezTo>
                    <a:pt x="686" y="164"/>
                    <a:pt x="689" y="158"/>
                    <a:pt x="699" y="157"/>
                  </a:cubicBezTo>
                  <a:cubicBezTo>
                    <a:pt x="708" y="156"/>
                    <a:pt x="713" y="155"/>
                    <a:pt x="715" y="154"/>
                  </a:cubicBezTo>
                  <a:cubicBezTo>
                    <a:pt x="718" y="152"/>
                    <a:pt x="723" y="153"/>
                    <a:pt x="725" y="152"/>
                  </a:cubicBezTo>
                  <a:cubicBezTo>
                    <a:pt x="727" y="151"/>
                    <a:pt x="729" y="138"/>
                    <a:pt x="736" y="136"/>
                  </a:cubicBezTo>
                  <a:cubicBezTo>
                    <a:pt x="743" y="133"/>
                    <a:pt x="742" y="128"/>
                    <a:pt x="744" y="127"/>
                  </a:cubicBezTo>
                  <a:cubicBezTo>
                    <a:pt x="745" y="127"/>
                    <a:pt x="751" y="128"/>
                    <a:pt x="753" y="126"/>
                  </a:cubicBezTo>
                  <a:cubicBezTo>
                    <a:pt x="756" y="125"/>
                    <a:pt x="758" y="123"/>
                    <a:pt x="764" y="124"/>
                  </a:cubicBezTo>
                  <a:cubicBezTo>
                    <a:pt x="769" y="124"/>
                    <a:pt x="768" y="119"/>
                    <a:pt x="775" y="116"/>
                  </a:cubicBezTo>
                  <a:cubicBezTo>
                    <a:pt x="782" y="114"/>
                    <a:pt x="782" y="112"/>
                    <a:pt x="785" y="111"/>
                  </a:cubicBezTo>
                  <a:cubicBezTo>
                    <a:pt x="788" y="111"/>
                    <a:pt x="795" y="106"/>
                    <a:pt x="796" y="105"/>
                  </a:cubicBezTo>
                  <a:cubicBezTo>
                    <a:pt x="797" y="104"/>
                    <a:pt x="802" y="105"/>
                    <a:pt x="805" y="103"/>
                  </a:cubicBezTo>
                  <a:cubicBezTo>
                    <a:pt x="809" y="102"/>
                    <a:pt x="811" y="88"/>
                    <a:pt x="821" y="85"/>
                  </a:cubicBezTo>
                  <a:cubicBezTo>
                    <a:pt x="830" y="81"/>
                    <a:pt x="838" y="83"/>
                    <a:pt x="844" y="81"/>
                  </a:cubicBezTo>
                  <a:cubicBezTo>
                    <a:pt x="850" y="78"/>
                    <a:pt x="852" y="73"/>
                    <a:pt x="866" y="70"/>
                  </a:cubicBezTo>
                  <a:cubicBezTo>
                    <a:pt x="880" y="66"/>
                    <a:pt x="878" y="65"/>
                    <a:pt x="879" y="64"/>
                  </a:cubicBezTo>
                  <a:cubicBezTo>
                    <a:pt x="880" y="64"/>
                    <a:pt x="885" y="63"/>
                    <a:pt x="887" y="61"/>
                  </a:cubicBezTo>
                  <a:cubicBezTo>
                    <a:pt x="890" y="58"/>
                    <a:pt x="892" y="55"/>
                    <a:pt x="892" y="52"/>
                  </a:cubicBezTo>
                  <a:cubicBezTo>
                    <a:pt x="892" y="50"/>
                    <a:pt x="896" y="46"/>
                    <a:pt x="899" y="44"/>
                  </a:cubicBezTo>
                  <a:cubicBezTo>
                    <a:pt x="902" y="42"/>
                    <a:pt x="902" y="40"/>
                    <a:pt x="903" y="40"/>
                  </a:cubicBezTo>
                  <a:cubicBezTo>
                    <a:pt x="904" y="39"/>
                    <a:pt x="910" y="37"/>
                    <a:pt x="913" y="36"/>
                  </a:cubicBezTo>
                  <a:cubicBezTo>
                    <a:pt x="916" y="35"/>
                    <a:pt x="918" y="32"/>
                    <a:pt x="922" y="32"/>
                  </a:cubicBezTo>
                  <a:cubicBezTo>
                    <a:pt x="926" y="32"/>
                    <a:pt x="930" y="31"/>
                    <a:pt x="933" y="29"/>
                  </a:cubicBezTo>
                  <a:cubicBezTo>
                    <a:pt x="936" y="26"/>
                    <a:pt x="941" y="26"/>
                    <a:pt x="942" y="24"/>
                  </a:cubicBezTo>
                  <a:cubicBezTo>
                    <a:pt x="942" y="23"/>
                    <a:pt x="944" y="20"/>
                    <a:pt x="945" y="19"/>
                  </a:cubicBezTo>
                  <a:cubicBezTo>
                    <a:pt x="946" y="17"/>
                    <a:pt x="953" y="18"/>
                    <a:pt x="954" y="17"/>
                  </a:cubicBezTo>
                  <a:cubicBezTo>
                    <a:pt x="955" y="16"/>
                    <a:pt x="960" y="8"/>
                    <a:pt x="963" y="7"/>
                  </a:cubicBezTo>
                  <a:cubicBezTo>
                    <a:pt x="966" y="6"/>
                    <a:pt x="971" y="0"/>
                    <a:pt x="971" y="0"/>
                  </a:cubicBezTo>
                  <a:cubicBezTo>
                    <a:pt x="971" y="169"/>
                    <a:pt x="971" y="169"/>
                    <a:pt x="971" y="169"/>
                  </a:cubicBezTo>
                  <a:cubicBezTo>
                    <a:pt x="971" y="169"/>
                    <a:pt x="957" y="179"/>
                    <a:pt x="953" y="180"/>
                  </a:cubicBezTo>
                  <a:cubicBezTo>
                    <a:pt x="949" y="181"/>
                    <a:pt x="945" y="182"/>
                    <a:pt x="943" y="183"/>
                  </a:cubicBezTo>
                  <a:cubicBezTo>
                    <a:pt x="942" y="185"/>
                    <a:pt x="935" y="189"/>
                    <a:pt x="915" y="192"/>
                  </a:cubicBezTo>
                  <a:cubicBezTo>
                    <a:pt x="895" y="195"/>
                    <a:pt x="892" y="209"/>
                    <a:pt x="889" y="211"/>
                  </a:cubicBezTo>
                  <a:cubicBezTo>
                    <a:pt x="886" y="213"/>
                    <a:pt x="877" y="218"/>
                    <a:pt x="863" y="220"/>
                  </a:cubicBezTo>
                  <a:cubicBezTo>
                    <a:pt x="850" y="222"/>
                    <a:pt x="849" y="226"/>
                    <a:pt x="846" y="226"/>
                  </a:cubicBezTo>
                  <a:cubicBezTo>
                    <a:pt x="843" y="227"/>
                    <a:pt x="827" y="227"/>
                    <a:pt x="821" y="230"/>
                  </a:cubicBezTo>
                  <a:cubicBezTo>
                    <a:pt x="815" y="233"/>
                    <a:pt x="808" y="239"/>
                    <a:pt x="808" y="241"/>
                  </a:cubicBezTo>
                  <a:cubicBezTo>
                    <a:pt x="807" y="242"/>
                    <a:pt x="801" y="241"/>
                    <a:pt x="798" y="242"/>
                  </a:cubicBezTo>
                  <a:cubicBezTo>
                    <a:pt x="795" y="243"/>
                    <a:pt x="793" y="248"/>
                    <a:pt x="791" y="248"/>
                  </a:cubicBezTo>
                  <a:cubicBezTo>
                    <a:pt x="790" y="248"/>
                    <a:pt x="786" y="247"/>
                    <a:pt x="784" y="249"/>
                  </a:cubicBezTo>
                  <a:cubicBezTo>
                    <a:pt x="782" y="250"/>
                    <a:pt x="774" y="251"/>
                    <a:pt x="771" y="253"/>
                  </a:cubicBezTo>
                  <a:cubicBezTo>
                    <a:pt x="768" y="254"/>
                    <a:pt x="761" y="257"/>
                    <a:pt x="756" y="257"/>
                  </a:cubicBezTo>
                  <a:cubicBezTo>
                    <a:pt x="752" y="257"/>
                    <a:pt x="746" y="257"/>
                    <a:pt x="744" y="259"/>
                  </a:cubicBezTo>
                  <a:cubicBezTo>
                    <a:pt x="741" y="262"/>
                    <a:pt x="735" y="265"/>
                    <a:pt x="732" y="266"/>
                  </a:cubicBezTo>
                  <a:cubicBezTo>
                    <a:pt x="729" y="266"/>
                    <a:pt x="731" y="273"/>
                    <a:pt x="730" y="273"/>
                  </a:cubicBezTo>
                  <a:cubicBezTo>
                    <a:pt x="728" y="274"/>
                    <a:pt x="723" y="275"/>
                    <a:pt x="718" y="277"/>
                  </a:cubicBezTo>
                  <a:cubicBezTo>
                    <a:pt x="714" y="278"/>
                    <a:pt x="711" y="280"/>
                    <a:pt x="709" y="280"/>
                  </a:cubicBezTo>
                  <a:cubicBezTo>
                    <a:pt x="707" y="281"/>
                    <a:pt x="691" y="279"/>
                    <a:pt x="690" y="280"/>
                  </a:cubicBezTo>
                  <a:cubicBezTo>
                    <a:pt x="689" y="281"/>
                    <a:pt x="684" y="287"/>
                    <a:pt x="680" y="288"/>
                  </a:cubicBezTo>
                  <a:cubicBezTo>
                    <a:pt x="677" y="288"/>
                    <a:pt x="666" y="287"/>
                    <a:pt x="663" y="290"/>
                  </a:cubicBezTo>
                  <a:cubicBezTo>
                    <a:pt x="660" y="292"/>
                    <a:pt x="650" y="298"/>
                    <a:pt x="649" y="300"/>
                  </a:cubicBezTo>
                  <a:cubicBezTo>
                    <a:pt x="647" y="303"/>
                    <a:pt x="639" y="305"/>
                    <a:pt x="637" y="306"/>
                  </a:cubicBezTo>
                  <a:cubicBezTo>
                    <a:pt x="635" y="307"/>
                    <a:pt x="633" y="310"/>
                    <a:pt x="631" y="311"/>
                  </a:cubicBezTo>
                  <a:cubicBezTo>
                    <a:pt x="630" y="311"/>
                    <a:pt x="620" y="310"/>
                    <a:pt x="619" y="311"/>
                  </a:cubicBezTo>
                  <a:cubicBezTo>
                    <a:pt x="617" y="313"/>
                    <a:pt x="613" y="315"/>
                    <a:pt x="610" y="316"/>
                  </a:cubicBezTo>
                  <a:cubicBezTo>
                    <a:pt x="608" y="316"/>
                    <a:pt x="607" y="318"/>
                    <a:pt x="606" y="318"/>
                  </a:cubicBezTo>
                  <a:cubicBezTo>
                    <a:pt x="605" y="319"/>
                    <a:pt x="595" y="319"/>
                    <a:pt x="594" y="321"/>
                  </a:cubicBezTo>
                  <a:cubicBezTo>
                    <a:pt x="592" y="322"/>
                    <a:pt x="588" y="325"/>
                    <a:pt x="584" y="325"/>
                  </a:cubicBezTo>
                  <a:cubicBezTo>
                    <a:pt x="581" y="326"/>
                    <a:pt x="577" y="332"/>
                    <a:pt x="576" y="332"/>
                  </a:cubicBezTo>
                  <a:cubicBezTo>
                    <a:pt x="575" y="333"/>
                    <a:pt x="572" y="332"/>
                    <a:pt x="571" y="333"/>
                  </a:cubicBezTo>
                  <a:cubicBezTo>
                    <a:pt x="571" y="334"/>
                    <a:pt x="568" y="340"/>
                    <a:pt x="567" y="341"/>
                  </a:cubicBezTo>
                  <a:cubicBezTo>
                    <a:pt x="566" y="343"/>
                    <a:pt x="564" y="343"/>
                    <a:pt x="564" y="344"/>
                  </a:cubicBezTo>
                  <a:cubicBezTo>
                    <a:pt x="564" y="344"/>
                    <a:pt x="564" y="345"/>
                    <a:pt x="559" y="346"/>
                  </a:cubicBezTo>
                  <a:cubicBezTo>
                    <a:pt x="554" y="347"/>
                    <a:pt x="553" y="349"/>
                    <a:pt x="552" y="350"/>
                  </a:cubicBezTo>
                  <a:cubicBezTo>
                    <a:pt x="550" y="350"/>
                    <a:pt x="543" y="350"/>
                    <a:pt x="542" y="351"/>
                  </a:cubicBezTo>
                  <a:cubicBezTo>
                    <a:pt x="541" y="352"/>
                    <a:pt x="534" y="356"/>
                    <a:pt x="530" y="356"/>
                  </a:cubicBezTo>
                  <a:cubicBezTo>
                    <a:pt x="525" y="356"/>
                    <a:pt x="523" y="359"/>
                    <a:pt x="522" y="359"/>
                  </a:cubicBezTo>
                  <a:cubicBezTo>
                    <a:pt x="520" y="359"/>
                    <a:pt x="513" y="359"/>
                    <a:pt x="513" y="360"/>
                  </a:cubicBezTo>
                  <a:cubicBezTo>
                    <a:pt x="512" y="361"/>
                    <a:pt x="506" y="362"/>
                    <a:pt x="503" y="363"/>
                  </a:cubicBezTo>
                  <a:cubicBezTo>
                    <a:pt x="501" y="363"/>
                    <a:pt x="490" y="372"/>
                    <a:pt x="490" y="372"/>
                  </a:cubicBezTo>
                  <a:cubicBezTo>
                    <a:pt x="490" y="372"/>
                    <a:pt x="483" y="380"/>
                    <a:pt x="480" y="380"/>
                  </a:cubicBezTo>
                  <a:cubicBezTo>
                    <a:pt x="478" y="381"/>
                    <a:pt x="473" y="380"/>
                    <a:pt x="472" y="381"/>
                  </a:cubicBezTo>
                  <a:cubicBezTo>
                    <a:pt x="472" y="382"/>
                    <a:pt x="469" y="385"/>
                    <a:pt x="467" y="385"/>
                  </a:cubicBezTo>
                  <a:cubicBezTo>
                    <a:pt x="465" y="385"/>
                    <a:pt x="460" y="384"/>
                    <a:pt x="457" y="386"/>
                  </a:cubicBezTo>
                  <a:cubicBezTo>
                    <a:pt x="455" y="388"/>
                    <a:pt x="448" y="392"/>
                    <a:pt x="441" y="392"/>
                  </a:cubicBezTo>
                  <a:cubicBezTo>
                    <a:pt x="435" y="391"/>
                    <a:pt x="433" y="392"/>
                    <a:pt x="432" y="393"/>
                  </a:cubicBezTo>
                  <a:cubicBezTo>
                    <a:pt x="430" y="393"/>
                    <a:pt x="425" y="394"/>
                    <a:pt x="422" y="394"/>
                  </a:cubicBezTo>
                  <a:cubicBezTo>
                    <a:pt x="420" y="393"/>
                    <a:pt x="410" y="399"/>
                    <a:pt x="405" y="407"/>
                  </a:cubicBezTo>
                  <a:cubicBezTo>
                    <a:pt x="401" y="416"/>
                    <a:pt x="397" y="419"/>
                    <a:pt x="388" y="421"/>
                  </a:cubicBezTo>
                  <a:cubicBezTo>
                    <a:pt x="379" y="423"/>
                    <a:pt x="378" y="421"/>
                    <a:pt x="375" y="423"/>
                  </a:cubicBezTo>
                  <a:cubicBezTo>
                    <a:pt x="371" y="425"/>
                    <a:pt x="365" y="431"/>
                    <a:pt x="357" y="432"/>
                  </a:cubicBezTo>
                  <a:cubicBezTo>
                    <a:pt x="349" y="433"/>
                    <a:pt x="342" y="432"/>
                    <a:pt x="339" y="435"/>
                  </a:cubicBezTo>
                  <a:cubicBezTo>
                    <a:pt x="336" y="437"/>
                    <a:pt x="327" y="445"/>
                    <a:pt x="324" y="448"/>
                  </a:cubicBezTo>
                  <a:cubicBezTo>
                    <a:pt x="321" y="452"/>
                    <a:pt x="317" y="450"/>
                    <a:pt x="315" y="452"/>
                  </a:cubicBezTo>
                  <a:cubicBezTo>
                    <a:pt x="314" y="453"/>
                    <a:pt x="313" y="454"/>
                    <a:pt x="309" y="455"/>
                  </a:cubicBezTo>
                  <a:cubicBezTo>
                    <a:pt x="304" y="455"/>
                    <a:pt x="296" y="458"/>
                    <a:pt x="292" y="458"/>
                  </a:cubicBezTo>
                  <a:cubicBezTo>
                    <a:pt x="289" y="458"/>
                    <a:pt x="289" y="462"/>
                    <a:pt x="287" y="463"/>
                  </a:cubicBezTo>
                  <a:cubicBezTo>
                    <a:pt x="285" y="464"/>
                    <a:pt x="277" y="465"/>
                    <a:pt x="271" y="466"/>
                  </a:cubicBezTo>
                  <a:cubicBezTo>
                    <a:pt x="265" y="467"/>
                    <a:pt x="253" y="470"/>
                    <a:pt x="247" y="479"/>
                  </a:cubicBezTo>
                  <a:cubicBezTo>
                    <a:pt x="242" y="488"/>
                    <a:pt x="238" y="494"/>
                    <a:pt x="230" y="497"/>
                  </a:cubicBezTo>
                  <a:cubicBezTo>
                    <a:pt x="223" y="500"/>
                    <a:pt x="215" y="499"/>
                    <a:pt x="213" y="500"/>
                  </a:cubicBezTo>
                  <a:cubicBezTo>
                    <a:pt x="210" y="502"/>
                    <a:pt x="206" y="506"/>
                    <a:pt x="202" y="506"/>
                  </a:cubicBezTo>
                  <a:cubicBezTo>
                    <a:pt x="198" y="507"/>
                    <a:pt x="192" y="507"/>
                    <a:pt x="189" y="509"/>
                  </a:cubicBezTo>
                  <a:cubicBezTo>
                    <a:pt x="186" y="511"/>
                    <a:pt x="180" y="515"/>
                    <a:pt x="175" y="516"/>
                  </a:cubicBezTo>
                  <a:cubicBezTo>
                    <a:pt x="171" y="517"/>
                    <a:pt x="161" y="525"/>
                    <a:pt x="160" y="528"/>
                  </a:cubicBezTo>
                  <a:cubicBezTo>
                    <a:pt x="158" y="530"/>
                    <a:pt x="148" y="534"/>
                    <a:pt x="139" y="536"/>
                  </a:cubicBezTo>
                  <a:cubicBezTo>
                    <a:pt x="130" y="537"/>
                    <a:pt x="132" y="538"/>
                    <a:pt x="126" y="540"/>
                  </a:cubicBezTo>
                  <a:cubicBezTo>
                    <a:pt x="120" y="541"/>
                    <a:pt x="113" y="543"/>
                    <a:pt x="105" y="544"/>
                  </a:cubicBezTo>
                  <a:cubicBezTo>
                    <a:pt x="98" y="545"/>
                    <a:pt x="89" y="546"/>
                    <a:pt x="83" y="549"/>
                  </a:cubicBezTo>
                  <a:cubicBezTo>
                    <a:pt x="77" y="552"/>
                    <a:pt x="71" y="553"/>
                    <a:pt x="56" y="554"/>
                  </a:cubicBezTo>
                  <a:cubicBezTo>
                    <a:pt x="56" y="554"/>
                    <a:pt x="47" y="557"/>
                    <a:pt x="40" y="558"/>
                  </a:cubicBezTo>
                  <a:cubicBezTo>
                    <a:pt x="34" y="560"/>
                    <a:pt x="27" y="560"/>
                    <a:pt x="23" y="561"/>
                  </a:cubicBezTo>
                  <a:cubicBezTo>
                    <a:pt x="20" y="562"/>
                    <a:pt x="4" y="567"/>
                    <a:pt x="0" y="575"/>
                  </a:cubicBezTo>
                  <a:close/>
                </a:path>
              </a:pathLst>
            </a:custGeom>
            <a:solidFill>
              <a:srgbClr val="008764"/>
            </a:solidFill>
            <a:ln w="12700" cap="flat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49" name="Line 19">
              <a:extLst>
                <a:ext uri="{FF2B5EF4-FFF2-40B4-BE49-F238E27FC236}">
                  <a16:creationId xmlns:a16="http://schemas.microsoft.com/office/drawing/2014/main" id="{8E0AB94E-313D-87E6-10F1-2018E139C6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345635" y="2849563"/>
              <a:ext cx="720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0" name="Line 20">
              <a:extLst>
                <a:ext uri="{FF2B5EF4-FFF2-40B4-BE49-F238E27FC236}">
                  <a16:creationId xmlns:a16="http://schemas.microsoft.com/office/drawing/2014/main" id="{8EEEE79C-7DF7-CDD2-89DC-7D405727AB2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345635" y="3573463"/>
              <a:ext cx="720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1" name="Line 21">
              <a:extLst>
                <a:ext uri="{FF2B5EF4-FFF2-40B4-BE49-F238E27FC236}">
                  <a16:creationId xmlns:a16="http://schemas.microsoft.com/office/drawing/2014/main" id="{31E937F1-890F-AE44-F389-75B5EFF75B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345635" y="4294188"/>
              <a:ext cx="720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2" name="Line 22">
              <a:extLst>
                <a:ext uri="{FF2B5EF4-FFF2-40B4-BE49-F238E27FC236}">
                  <a16:creationId xmlns:a16="http://schemas.microsoft.com/office/drawing/2014/main" id="{D338FE6F-28F4-3C15-C788-2CB500C2D9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21835" y="4294188"/>
              <a:ext cx="0" cy="720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3" name="Line 23">
              <a:extLst>
                <a:ext uri="{FF2B5EF4-FFF2-40B4-BE49-F238E27FC236}">
                  <a16:creationId xmlns:a16="http://schemas.microsoft.com/office/drawing/2014/main" id="{8A7E3FF8-377D-E0B5-7135-E2ED57A045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40948" y="4294188"/>
              <a:ext cx="0" cy="720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4" name="Line 24">
              <a:extLst>
                <a:ext uri="{FF2B5EF4-FFF2-40B4-BE49-F238E27FC236}">
                  <a16:creationId xmlns:a16="http://schemas.microsoft.com/office/drawing/2014/main" id="{A36969AD-CA00-1758-1637-971A164146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8473" y="4294188"/>
              <a:ext cx="0" cy="720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5" name="Line 25">
              <a:extLst>
                <a:ext uri="{FF2B5EF4-FFF2-40B4-BE49-F238E27FC236}">
                  <a16:creationId xmlns:a16="http://schemas.microsoft.com/office/drawing/2014/main" id="{5246330B-59B1-46A3-0C0F-595569DBF1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75998" y="4294188"/>
              <a:ext cx="0" cy="720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6" name="Line 26">
              <a:extLst>
                <a:ext uri="{FF2B5EF4-FFF2-40B4-BE49-F238E27FC236}">
                  <a16:creationId xmlns:a16="http://schemas.microsoft.com/office/drawing/2014/main" id="{ACD55566-D4EF-2709-8E31-8F8CAC47E2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93523" y="4294188"/>
              <a:ext cx="0" cy="720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7" name="Line 27">
              <a:extLst>
                <a:ext uri="{FF2B5EF4-FFF2-40B4-BE49-F238E27FC236}">
                  <a16:creationId xmlns:a16="http://schemas.microsoft.com/office/drawing/2014/main" id="{2A381911-CA5C-9B7B-3349-710791F96E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7873" y="4294188"/>
              <a:ext cx="0" cy="720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8" name="Line 28">
              <a:extLst>
                <a:ext uri="{FF2B5EF4-FFF2-40B4-BE49-F238E27FC236}">
                  <a16:creationId xmlns:a16="http://schemas.microsoft.com/office/drawing/2014/main" id="{CAE25A42-E399-5699-B0E1-E51C9A048E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25398" y="4294188"/>
              <a:ext cx="0" cy="7200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59" name="Line 29">
              <a:extLst>
                <a:ext uri="{FF2B5EF4-FFF2-40B4-BE49-F238E27FC236}">
                  <a16:creationId xmlns:a16="http://schemas.microsoft.com/office/drawing/2014/main" id="{ED7436C9-5957-F10D-B101-759628F3EBA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345635" y="2130425"/>
              <a:ext cx="720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60" name="Freeform 30">
              <a:extLst>
                <a:ext uri="{FF2B5EF4-FFF2-40B4-BE49-F238E27FC236}">
                  <a16:creationId xmlns:a16="http://schemas.microsoft.com/office/drawing/2014/main" id="{80B2BC1B-7038-A9DB-8E3C-DCBC7248E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1835" y="2130425"/>
              <a:ext cx="3103563" cy="2163763"/>
            </a:xfrm>
            <a:custGeom>
              <a:avLst/>
              <a:gdLst>
                <a:gd name="T0" fmla="*/ 0 w 1955"/>
                <a:gd name="T1" fmla="*/ 0 h 1363"/>
                <a:gd name="T2" fmla="*/ 0 w 1955"/>
                <a:gd name="T3" fmla="*/ 1363 h 1363"/>
                <a:gd name="T4" fmla="*/ 1955 w 1955"/>
                <a:gd name="T5" fmla="*/ 1363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55" h="1363">
                  <a:moveTo>
                    <a:pt x="0" y="0"/>
                  </a:moveTo>
                  <a:lnTo>
                    <a:pt x="0" y="1363"/>
                  </a:lnTo>
                  <a:lnTo>
                    <a:pt x="1955" y="1363"/>
                  </a:lnTo>
                </a:path>
              </a:pathLst>
            </a:cu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61" name="Freeform 31">
              <a:extLst>
                <a:ext uri="{FF2B5EF4-FFF2-40B4-BE49-F238E27FC236}">
                  <a16:creationId xmlns:a16="http://schemas.microsoft.com/office/drawing/2014/main" id="{456CE8C0-15B3-9B63-4860-2F7D4D1F4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1835" y="3490913"/>
              <a:ext cx="3103563" cy="803275"/>
            </a:xfrm>
            <a:custGeom>
              <a:avLst/>
              <a:gdLst>
                <a:gd name="T0" fmla="*/ 0 w 971"/>
                <a:gd name="T1" fmla="*/ 251 h 251"/>
                <a:gd name="T2" fmla="*/ 24 w 971"/>
                <a:gd name="T3" fmla="*/ 241 h 251"/>
                <a:gd name="T4" fmla="*/ 45 w 971"/>
                <a:gd name="T5" fmla="*/ 240 h 251"/>
                <a:gd name="T6" fmla="*/ 65 w 971"/>
                <a:gd name="T7" fmla="*/ 238 h 251"/>
                <a:gd name="T8" fmla="*/ 96 w 971"/>
                <a:gd name="T9" fmla="*/ 230 h 251"/>
                <a:gd name="T10" fmla="*/ 127 w 971"/>
                <a:gd name="T11" fmla="*/ 229 h 251"/>
                <a:gd name="T12" fmla="*/ 145 w 971"/>
                <a:gd name="T13" fmla="*/ 225 h 251"/>
                <a:gd name="T14" fmla="*/ 168 w 971"/>
                <a:gd name="T15" fmla="*/ 216 h 251"/>
                <a:gd name="T16" fmla="*/ 183 w 971"/>
                <a:gd name="T17" fmla="*/ 210 h 251"/>
                <a:gd name="T18" fmla="*/ 197 w 971"/>
                <a:gd name="T19" fmla="*/ 207 h 251"/>
                <a:gd name="T20" fmla="*/ 215 w 971"/>
                <a:gd name="T21" fmla="*/ 203 h 251"/>
                <a:gd name="T22" fmla="*/ 242 w 971"/>
                <a:gd name="T23" fmla="*/ 195 h 251"/>
                <a:gd name="T24" fmla="*/ 274 w 971"/>
                <a:gd name="T25" fmla="*/ 182 h 251"/>
                <a:gd name="T26" fmla="*/ 298 w 971"/>
                <a:gd name="T27" fmla="*/ 177 h 251"/>
                <a:gd name="T28" fmla="*/ 324 w 971"/>
                <a:gd name="T29" fmla="*/ 171 h 251"/>
                <a:gd name="T30" fmla="*/ 347 w 971"/>
                <a:gd name="T31" fmla="*/ 162 h 251"/>
                <a:gd name="T32" fmla="*/ 370 w 971"/>
                <a:gd name="T33" fmla="*/ 158 h 251"/>
                <a:gd name="T34" fmla="*/ 386 w 971"/>
                <a:gd name="T35" fmla="*/ 155 h 251"/>
                <a:gd name="T36" fmla="*/ 408 w 971"/>
                <a:gd name="T37" fmla="*/ 143 h 251"/>
                <a:gd name="T38" fmla="*/ 429 w 971"/>
                <a:gd name="T39" fmla="*/ 138 h 251"/>
                <a:gd name="T40" fmla="*/ 455 w 971"/>
                <a:gd name="T41" fmla="*/ 135 h 251"/>
                <a:gd name="T42" fmla="*/ 467 w 971"/>
                <a:gd name="T43" fmla="*/ 132 h 251"/>
                <a:gd name="T44" fmla="*/ 476 w 971"/>
                <a:gd name="T45" fmla="*/ 129 h 251"/>
                <a:gd name="T46" fmla="*/ 489 w 971"/>
                <a:gd name="T47" fmla="*/ 124 h 251"/>
                <a:gd name="T48" fmla="*/ 524 w 971"/>
                <a:gd name="T49" fmla="*/ 116 h 251"/>
                <a:gd name="T50" fmla="*/ 552 w 971"/>
                <a:gd name="T51" fmla="*/ 110 h 251"/>
                <a:gd name="T52" fmla="*/ 567 w 971"/>
                <a:gd name="T53" fmla="*/ 105 h 251"/>
                <a:gd name="T54" fmla="*/ 594 w 971"/>
                <a:gd name="T55" fmla="*/ 93 h 251"/>
                <a:gd name="T56" fmla="*/ 641 w 971"/>
                <a:gd name="T57" fmla="*/ 84 h 251"/>
                <a:gd name="T58" fmla="*/ 661 w 971"/>
                <a:gd name="T59" fmla="*/ 74 h 251"/>
                <a:gd name="T60" fmla="*/ 682 w 971"/>
                <a:gd name="T61" fmla="*/ 71 h 251"/>
                <a:gd name="T62" fmla="*/ 705 w 971"/>
                <a:gd name="T63" fmla="*/ 68 h 251"/>
                <a:gd name="T64" fmla="*/ 730 w 971"/>
                <a:gd name="T65" fmla="*/ 62 h 251"/>
                <a:gd name="T66" fmla="*/ 755 w 971"/>
                <a:gd name="T67" fmla="*/ 53 h 251"/>
                <a:gd name="T68" fmla="*/ 800 w 971"/>
                <a:gd name="T69" fmla="*/ 45 h 251"/>
                <a:gd name="T70" fmla="*/ 813 w 971"/>
                <a:gd name="T71" fmla="*/ 41 h 251"/>
                <a:gd name="T72" fmla="*/ 840 w 971"/>
                <a:gd name="T73" fmla="*/ 34 h 251"/>
                <a:gd name="T74" fmla="*/ 870 w 971"/>
                <a:gd name="T75" fmla="*/ 29 h 251"/>
                <a:gd name="T76" fmla="*/ 889 w 971"/>
                <a:gd name="T77" fmla="*/ 25 h 251"/>
                <a:gd name="T78" fmla="*/ 917 w 971"/>
                <a:gd name="T79" fmla="*/ 13 h 251"/>
                <a:gd name="T80" fmla="*/ 944 w 971"/>
                <a:gd name="T81" fmla="*/ 8 h 251"/>
                <a:gd name="T82" fmla="*/ 955 w 971"/>
                <a:gd name="T83" fmla="*/ 6 h 251"/>
                <a:gd name="T84" fmla="*/ 971 w 971"/>
                <a:gd name="T85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71" h="251">
                  <a:moveTo>
                    <a:pt x="0" y="251"/>
                  </a:moveTo>
                  <a:cubicBezTo>
                    <a:pt x="0" y="251"/>
                    <a:pt x="9" y="241"/>
                    <a:pt x="24" y="241"/>
                  </a:cubicBezTo>
                  <a:cubicBezTo>
                    <a:pt x="38" y="240"/>
                    <a:pt x="42" y="241"/>
                    <a:pt x="45" y="240"/>
                  </a:cubicBezTo>
                  <a:cubicBezTo>
                    <a:pt x="48" y="239"/>
                    <a:pt x="56" y="237"/>
                    <a:pt x="65" y="238"/>
                  </a:cubicBezTo>
                  <a:cubicBezTo>
                    <a:pt x="73" y="239"/>
                    <a:pt x="89" y="230"/>
                    <a:pt x="96" y="230"/>
                  </a:cubicBezTo>
                  <a:cubicBezTo>
                    <a:pt x="104" y="230"/>
                    <a:pt x="123" y="230"/>
                    <a:pt x="127" y="229"/>
                  </a:cubicBezTo>
                  <a:cubicBezTo>
                    <a:pt x="131" y="227"/>
                    <a:pt x="134" y="225"/>
                    <a:pt x="145" y="225"/>
                  </a:cubicBezTo>
                  <a:cubicBezTo>
                    <a:pt x="156" y="224"/>
                    <a:pt x="168" y="216"/>
                    <a:pt x="168" y="216"/>
                  </a:cubicBezTo>
                  <a:cubicBezTo>
                    <a:pt x="168" y="216"/>
                    <a:pt x="175" y="211"/>
                    <a:pt x="183" y="210"/>
                  </a:cubicBezTo>
                  <a:cubicBezTo>
                    <a:pt x="192" y="210"/>
                    <a:pt x="192" y="207"/>
                    <a:pt x="197" y="207"/>
                  </a:cubicBezTo>
                  <a:cubicBezTo>
                    <a:pt x="203" y="207"/>
                    <a:pt x="208" y="203"/>
                    <a:pt x="215" y="203"/>
                  </a:cubicBezTo>
                  <a:cubicBezTo>
                    <a:pt x="222" y="203"/>
                    <a:pt x="236" y="201"/>
                    <a:pt x="242" y="195"/>
                  </a:cubicBezTo>
                  <a:cubicBezTo>
                    <a:pt x="248" y="190"/>
                    <a:pt x="256" y="183"/>
                    <a:pt x="274" y="182"/>
                  </a:cubicBezTo>
                  <a:cubicBezTo>
                    <a:pt x="292" y="182"/>
                    <a:pt x="289" y="176"/>
                    <a:pt x="298" y="177"/>
                  </a:cubicBezTo>
                  <a:cubicBezTo>
                    <a:pt x="308" y="177"/>
                    <a:pt x="317" y="175"/>
                    <a:pt x="324" y="171"/>
                  </a:cubicBezTo>
                  <a:cubicBezTo>
                    <a:pt x="331" y="166"/>
                    <a:pt x="337" y="161"/>
                    <a:pt x="347" y="162"/>
                  </a:cubicBezTo>
                  <a:cubicBezTo>
                    <a:pt x="358" y="163"/>
                    <a:pt x="370" y="158"/>
                    <a:pt x="370" y="158"/>
                  </a:cubicBezTo>
                  <a:cubicBezTo>
                    <a:pt x="370" y="158"/>
                    <a:pt x="374" y="154"/>
                    <a:pt x="386" y="155"/>
                  </a:cubicBezTo>
                  <a:cubicBezTo>
                    <a:pt x="398" y="155"/>
                    <a:pt x="406" y="145"/>
                    <a:pt x="408" y="143"/>
                  </a:cubicBezTo>
                  <a:cubicBezTo>
                    <a:pt x="411" y="141"/>
                    <a:pt x="418" y="138"/>
                    <a:pt x="429" y="138"/>
                  </a:cubicBezTo>
                  <a:cubicBezTo>
                    <a:pt x="440" y="138"/>
                    <a:pt x="452" y="136"/>
                    <a:pt x="455" y="135"/>
                  </a:cubicBezTo>
                  <a:cubicBezTo>
                    <a:pt x="458" y="133"/>
                    <a:pt x="462" y="131"/>
                    <a:pt x="467" y="132"/>
                  </a:cubicBezTo>
                  <a:cubicBezTo>
                    <a:pt x="470" y="133"/>
                    <a:pt x="473" y="129"/>
                    <a:pt x="476" y="129"/>
                  </a:cubicBezTo>
                  <a:cubicBezTo>
                    <a:pt x="480" y="129"/>
                    <a:pt x="481" y="129"/>
                    <a:pt x="489" y="124"/>
                  </a:cubicBezTo>
                  <a:cubicBezTo>
                    <a:pt x="497" y="119"/>
                    <a:pt x="506" y="118"/>
                    <a:pt x="524" y="116"/>
                  </a:cubicBezTo>
                  <a:cubicBezTo>
                    <a:pt x="542" y="115"/>
                    <a:pt x="547" y="111"/>
                    <a:pt x="552" y="110"/>
                  </a:cubicBezTo>
                  <a:cubicBezTo>
                    <a:pt x="556" y="110"/>
                    <a:pt x="563" y="109"/>
                    <a:pt x="567" y="105"/>
                  </a:cubicBezTo>
                  <a:cubicBezTo>
                    <a:pt x="570" y="102"/>
                    <a:pt x="578" y="95"/>
                    <a:pt x="594" y="93"/>
                  </a:cubicBezTo>
                  <a:cubicBezTo>
                    <a:pt x="609" y="92"/>
                    <a:pt x="636" y="87"/>
                    <a:pt x="641" y="84"/>
                  </a:cubicBezTo>
                  <a:cubicBezTo>
                    <a:pt x="645" y="82"/>
                    <a:pt x="654" y="75"/>
                    <a:pt x="661" y="74"/>
                  </a:cubicBezTo>
                  <a:cubicBezTo>
                    <a:pt x="668" y="73"/>
                    <a:pt x="677" y="73"/>
                    <a:pt x="682" y="71"/>
                  </a:cubicBezTo>
                  <a:cubicBezTo>
                    <a:pt x="688" y="70"/>
                    <a:pt x="697" y="66"/>
                    <a:pt x="705" y="68"/>
                  </a:cubicBezTo>
                  <a:cubicBezTo>
                    <a:pt x="713" y="69"/>
                    <a:pt x="726" y="66"/>
                    <a:pt x="730" y="62"/>
                  </a:cubicBezTo>
                  <a:cubicBezTo>
                    <a:pt x="735" y="58"/>
                    <a:pt x="741" y="54"/>
                    <a:pt x="755" y="53"/>
                  </a:cubicBezTo>
                  <a:cubicBezTo>
                    <a:pt x="769" y="53"/>
                    <a:pt x="796" y="45"/>
                    <a:pt x="800" y="45"/>
                  </a:cubicBezTo>
                  <a:cubicBezTo>
                    <a:pt x="803" y="45"/>
                    <a:pt x="811" y="43"/>
                    <a:pt x="813" y="41"/>
                  </a:cubicBezTo>
                  <a:cubicBezTo>
                    <a:pt x="814" y="38"/>
                    <a:pt x="827" y="34"/>
                    <a:pt x="840" y="34"/>
                  </a:cubicBezTo>
                  <a:cubicBezTo>
                    <a:pt x="852" y="34"/>
                    <a:pt x="863" y="29"/>
                    <a:pt x="870" y="29"/>
                  </a:cubicBezTo>
                  <a:cubicBezTo>
                    <a:pt x="876" y="29"/>
                    <a:pt x="886" y="27"/>
                    <a:pt x="889" y="25"/>
                  </a:cubicBezTo>
                  <a:cubicBezTo>
                    <a:pt x="891" y="23"/>
                    <a:pt x="906" y="13"/>
                    <a:pt x="917" y="13"/>
                  </a:cubicBezTo>
                  <a:cubicBezTo>
                    <a:pt x="928" y="13"/>
                    <a:pt x="940" y="11"/>
                    <a:pt x="944" y="8"/>
                  </a:cubicBezTo>
                  <a:cubicBezTo>
                    <a:pt x="947" y="6"/>
                    <a:pt x="952" y="7"/>
                    <a:pt x="955" y="6"/>
                  </a:cubicBezTo>
                  <a:cubicBezTo>
                    <a:pt x="958" y="5"/>
                    <a:pt x="971" y="0"/>
                    <a:pt x="971" y="0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63" name="Freeform 33">
              <a:extLst>
                <a:ext uri="{FF2B5EF4-FFF2-40B4-BE49-F238E27FC236}">
                  <a16:creationId xmlns:a16="http://schemas.microsoft.com/office/drawing/2014/main" id="{DFCE39FC-2916-5E76-36EA-38C1C5806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1835" y="2747963"/>
              <a:ext cx="3103563" cy="1546225"/>
            </a:xfrm>
            <a:custGeom>
              <a:avLst/>
              <a:gdLst>
                <a:gd name="T0" fmla="*/ 22 w 971"/>
                <a:gd name="T1" fmla="*/ 463 h 483"/>
                <a:gd name="T2" fmla="*/ 64 w 971"/>
                <a:gd name="T3" fmla="*/ 455 h 483"/>
                <a:gd name="T4" fmla="*/ 104 w 971"/>
                <a:gd name="T5" fmla="*/ 443 h 483"/>
                <a:gd name="T6" fmla="*/ 132 w 971"/>
                <a:gd name="T7" fmla="*/ 436 h 483"/>
                <a:gd name="T8" fmla="*/ 156 w 971"/>
                <a:gd name="T9" fmla="*/ 427 h 483"/>
                <a:gd name="T10" fmla="*/ 181 w 971"/>
                <a:gd name="T11" fmla="*/ 406 h 483"/>
                <a:gd name="T12" fmla="*/ 214 w 971"/>
                <a:gd name="T13" fmla="*/ 390 h 483"/>
                <a:gd name="T14" fmla="*/ 239 w 971"/>
                <a:gd name="T15" fmla="*/ 384 h 483"/>
                <a:gd name="T16" fmla="*/ 246 w 971"/>
                <a:gd name="T17" fmla="*/ 369 h 483"/>
                <a:gd name="T18" fmla="*/ 253 w 971"/>
                <a:gd name="T19" fmla="*/ 358 h 483"/>
                <a:gd name="T20" fmla="*/ 272 w 971"/>
                <a:gd name="T21" fmla="*/ 352 h 483"/>
                <a:gd name="T22" fmla="*/ 288 w 971"/>
                <a:gd name="T23" fmla="*/ 345 h 483"/>
                <a:gd name="T24" fmla="*/ 314 w 971"/>
                <a:gd name="T25" fmla="*/ 336 h 483"/>
                <a:gd name="T26" fmla="*/ 341 w 971"/>
                <a:gd name="T27" fmla="*/ 314 h 483"/>
                <a:gd name="T28" fmla="*/ 376 w 971"/>
                <a:gd name="T29" fmla="*/ 299 h 483"/>
                <a:gd name="T30" fmla="*/ 411 w 971"/>
                <a:gd name="T31" fmla="*/ 275 h 483"/>
                <a:gd name="T32" fmla="*/ 456 w 971"/>
                <a:gd name="T33" fmla="*/ 258 h 483"/>
                <a:gd name="T34" fmla="*/ 474 w 971"/>
                <a:gd name="T35" fmla="*/ 251 h 483"/>
                <a:gd name="T36" fmla="*/ 510 w 971"/>
                <a:gd name="T37" fmla="*/ 228 h 483"/>
                <a:gd name="T38" fmla="*/ 537 w 971"/>
                <a:gd name="T39" fmla="*/ 220 h 483"/>
                <a:gd name="T40" fmla="*/ 556 w 971"/>
                <a:gd name="T41" fmla="*/ 211 h 483"/>
                <a:gd name="T42" fmla="*/ 570 w 971"/>
                <a:gd name="T43" fmla="*/ 196 h 483"/>
                <a:gd name="T44" fmla="*/ 600 w 971"/>
                <a:gd name="T45" fmla="*/ 179 h 483"/>
                <a:gd name="T46" fmla="*/ 640 w 971"/>
                <a:gd name="T47" fmla="*/ 161 h 483"/>
                <a:gd name="T48" fmla="*/ 672 w 971"/>
                <a:gd name="T49" fmla="*/ 142 h 483"/>
                <a:gd name="T50" fmla="*/ 706 w 971"/>
                <a:gd name="T51" fmla="*/ 132 h 483"/>
                <a:gd name="T52" fmla="*/ 735 w 971"/>
                <a:gd name="T53" fmla="*/ 116 h 483"/>
                <a:gd name="T54" fmla="*/ 755 w 971"/>
                <a:gd name="T55" fmla="*/ 105 h 483"/>
                <a:gd name="T56" fmla="*/ 775 w 971"/>
                <a:gd name="T57" fmla="*/ 98 h 483"/>
                <a:gd name="T58" fmla="*/ 796 w 971"/>
                <a:gd name="T59" fmla="*/ 88 h 483"/>
                <a:gd name="T60" fmla="*/ 822 w 971"/>
                <a:gd name="T61" fmla="*/ 70 h 483"/>
                <a:gd name="T62" fmla="*/ 864 w 971"/>
                <a:gd name="T63" fmla="*/ 60 h 483"/>
                <a:gd name="T64" fmla="*/ 892 w 971"/>
                <a:gd name="T65" fmla="*/ 46 h 483"/>
                <a:gd name="T66" fmla="*/ 928 w 971"/>
                <a:gd name="T67" fmla="*/ 26 h 483"/>
                <a:gd name="T68" fmla="*/ 953 w 971"/>
                <a:gd name="T69" fmla="*/ 1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71" h="483">
                  <a:moveTo>
                    <a:pt x="0" y="483"/>
                  </a:moveTo>
                  <a:cubicBezTo>
                    <a:pt x="0" y="483"/>
                    <a:pt x="9" y="465"/>
                    <a:pt x="22" y="463"/>
                  </a:cubicBezTo>
                  <a:cubicBezTo>
                    <a:pt x="34" y="461"/>
                    <a:pt x="42" y="461"/>
                    <a:pt x="46" y="460"/>
                  </a:cubicBezTo>
                  <a:cubicBezTo>
                    <a:pt x="50" y="458"/>
                    <a:pt x="59" y="455"/>
                    <a:pt x="64" y="455"/>
                  </a:cubicBezTo>
                  <a:cubicBezTo>
                    <a:pt x="68" y="455"/>
                    <a:pt x="78" y="455"/>
                    <a:pt x="83" y="451"/>
                  </a:cubicBezTo>
                  <a:cubicBezTo>
                    <a:pt x="87" y="447"/>
                    <a:pt x="95" y="443"/>
                    <a:pt x="104" y="443"/>
                  </a:cubicBezTo>
                  <a:cubicBezTo>
                    <a:pt x="112" y="444"/>
                    <a:pt x="118" y="440"/>
                    <a:pt x="121" y="439"/>
                  </a:cubicBezTo>
                  <a:cubicBezTo>
                    <a:pt x="125" y="439"/>
                    <a:pt x="129" y="439"/>
                    <a:pt x="132" y="436"/>
                  </a:cubicBezTo>
                  <a:cubicBezTo>
                    <a:pt x="135" y="432"/>
                    <a:pt x="139" y="435"/>
                    <a:pt x="142" y="434"/>
                  </a:cubicBezTo>
                  <a:cubicBezTo>
                    <a:pt x="146" y="433"/>
                    <a:pt x="154" y="427"/>
                    <a:pt x="156" y="427"/>
                  </a:cubicBezTo>
                  <a:cubicBezTo>
                    <a:pt x="158" y="427"/>
                    <a:pt x="166" y="419"/>
                    <a:pt x="168" y="417"/>
                  </a:cubicBezTo>
                  <a:cubicBezTo>
                    <a:pt x="170" y="414"/>
                    <a:pt x="176" y="407"/>
                    <a:pt x="181" y="406"/>
                  </a:cubicBezTo>
                  <a:cubicBezTo>
                    <a:pt x="185" y="406"/>
                    <a:pt x="188" y="400"/>
                    <a:pt x="194" y="400"/>
                  </a:cubicBezTo>
                  <a:cubicBezTo>
                    <a:pt x="200" y="400"/>
                    <a:pt x="210" y="390"/>
                    <a:pt x="214" y="390"/>
                  </a:cubicBezTo>
                  <a:cubicBezTo>
                    <a:pt x="218" y="390"/>
                    <a:pt x="226" y="389"/>
                    <a:pt x="229" y="386"/>
                  </a:cubicBezTo>
                  <a:cubicBezTo>
                    <a:pt x="232" y="383"/>
                    <a:pt x="236" y="386"/>
                    <a:pt x="239" y="384"/>
                  </a:cubicBezTo>
                  <a:cubicBezTo>
                    <a:pt x="242" y="383"/>
                    <a:pt x="239" y="377"/>
                    <a:pt x="241" y="375"/>
                  </a:cubicBezTo>
                  <a:cubicBezTo>
                    <a:pt x="243" y="374"/>
                    <a:pt x="246" y="373"/>
                    <a:pt x="246" y="369"/>
                  </a:cubicBezTo>
                  <a:cubicBezTo>
                    <a:pt x="246" y="366"/>
                    <a:pt x="248" y="366"/>
                    <a:pt x="250" y="366"/>
                  </a:cubicBezTo>
                  <a:cubicBezTo>
                    <a:pt x="253" y="366"/>
                    <a:pt x="250" y="359"/>
                    <a:pt x="253" y="358"/>
                  </a:cubicBezTo>
                  <a:cubicBezTo>
                    <a:pt x="256" y="358"/>
                    <a:pt x="258" y="357"/>
                    <a:pt x="259" y="355"/>
                  </a:cubicBezTo>
                  <a:cubicBezTo>
                    <a:pt x="261" y="352"/>
                    <a:pt x="270" y="354"/>
                    <a:pt x="272" y="352"/>
                  </a:cubicBezTo>
                  <a:cubicBezTo>
                    <a:pt x="275" y="351"/>
                    <a:pt x="277" y="349"/>
                    <a:pt x="281" y="349"/>
                  </a:cubicBezTo>
                  <a:cubicBezTo>
                    <a:pt x="284" y="350"/>
                    <a:pt x="286" y="348"/>
                    <a:pt x="288" y="345"/>
                  </a:cubicBezTo>
                  <a:cubicBezTo>
                    <a:pt x="289" y="342"/>
                    <a:pt x="292" y="341"/>
                    <a:pt x="295" y="341"/>
                  </a:cubicBezTo>
                  <a:cubicBezTo>
                    <a:pt x="298" y="342"/>
                    <a:pt x="309" y="339"/>
                    <a:pt x="314" y="336"/>
                  </a:cubicBezTo>
                  <a:cubicBezTo>
                    <a:pt x="318" y="334"/>
                    <a:pt x="326" y="330"/>
                    <a:pt x="327" y="327"/>
                  </a:cubicBezTo>
                  <a:cubicBezTo>
                    <a:pt x="327" y="323"/>
                    <a:pt x="334" y="314"/>
                    <a:pt x="341" y="314"/>
                  </a:cubicBezTo>
                  <a:cubicBezTo>
                    <a:pt x="348" y="313"/>
                    <a:pt x="360" y="309"/>
                    <a:pt x="365" y="306"/>
                  </a:cubicBezTo>
                  <a:cubicBezTo>
                    <a:pt x="369" y="304"/>
                    <a:pt x="374" y="299"/>
                    <a:pt x="376" y="299"/>
                  </a:cubicBezTo>
                  <a:cubicBezTo>
                    <a:pt x="379" y="299"/>
                    <a:pt x="390" y="297"/>
                    <a:pt x="393" y="294"/>
                  </a:cubicBezTo>
                  <a:cubicBezTo>
                    <a:pt x="397" y="291"/>
                    <a:pt x="407" y="282"/>
                    <a:pt x="411" y="275"/>
                  </a:cubicBezTo>
                  <a:cubicBezTo>
                    <a:pt x="416" y="267"/>
                    <a:pt x="426" y="266"/>
                    <a:pt x="429" y="266"/>
                  </a:cubicBezTo>
                  <a:cubicBezTo>
                    <a:pt x="433" y="266"/>
                    <a:pt x="453" y="260"/>
                    <a:pt x="456" y="258"/>
                  </a:cubicBezTo>
                  <a:cubicBezTo>
                    <a:pt x="459" y="256"/>
                    <a:pt x="463" y="254"/>
                    <a:pt x="466" y="254"/>
                  </a:cubicBezTo>
                  <a:cubicBezTo>
                    <a:pt x="470" y="254"/>
                    <a:pt x="471" y="250"/>
                    <a:pt x="474" y="251"/>
                  </a:cubicBezTo>
                  <a:cubicBezTo>
                    <a:pt x="476" y="251"/>
                    <a:pt x="481" y="251"/>
                    <a:pt x="484" y="247"/>
                  </a:cubicBezTo>
                  <a:cubicBezTo>
                    <a:pt x="487" y="244"/>
                    <a:pt x="497" y="230"/>
                    <a:pt x="510" y="228"/>
                  </a:cubicBezTo>
                  <a:cubicBezTo>
                    <a:pt x="523" y="226"/>
                    <a:pt x="523" y="227"/>
                    <a:pt x="526" y="224"/>
                  </a:cubicBezTo>
                  <a:cubicBezTo>
                    <a:pt x="528" y="221"/>
                    <a:pt x="532" y="219"/>
                    <a:pt x="537" y="220"/>
                  </a:cubicBezTo>
                  <a:cubicBezTo>
                    <a:pt x="541" y="220"/>
                    <a:pt x="542" y="215"/>
                    <a:pt x="546" y="216"/>
                  </a:cubicBezTo>
                  <a:cubicBezTo>
                    <a:pt x="549" y="216"/>
                    <a:pt x="553" y="211"/>
                    <a:pt x="556" y="211"/>
                  </a:cubicBezTo>
                  <a:cubicBezTo>
                    <a:pt x="558" y="211"/>
                    <a:pt x="562" y="210"/>
                    <a:pt x="565" y="206"/>
                  </a:cubicBezTo>
                  <a:cubicBezTo>
                    <a:pt x="569" y="202"/>
                    <a:pt x="567" y="197"/>
                    <a:pt x="570" y="196"/>
                  </a:cubicBezTo>
                  <a:cubicBezTo>
                    <a:pt x="573" y="195"/>
                    <a:pt x="578" y="192"/>
                    <a:pt x="581" y="188"/>
                  </a:cubicBezTo>
                  <a:cubicBezTo>
                    <a:pt x="584" y="184"/>
                    <a:pt x="593" y="180"/>
                    <a:pt x="600" y="179"/>
                  </a:cubicBezTo>
                  <a:cubicBezTo>
                    <a:pt x="607" y="178"/>
                    <a:pt x="616" y="170"/>
                    <a:pt x="620" y="170"/>
                  </a:cubicBezTo>
                  <a:cubicBezTo>
                    <a:pt x="624" y="170"/>
                    <a:pt x="636" y="163"/>
                    <a:pt x="640" y="161"/>
                  </a:cubicBezTo>
                  <a:cubicBezTo>
                    <a:pt x="645" y="159"/>
                    <a:pt x="654" y="152"/>
                    <a:pt x="655" y="149"/>
                  </a:cubicBezTo>
                  <a:cubicBezTo>
                    <a:pt x="656" y="146"/>
                    <a:pt x="662" y="142"/>
                    <a:pt x="672" y="142"/>
                  </a:cubicBezTo>
                  <a:cubicBezTo>
                    <a:pt x="681" y="142"/>
                    <a:pt x="684" y="139"/>
                    <a:pt x="687" y="136"/>
                  </a:cubicBezTo>
                  <a:cubicBezTo>
                    <a:pt x="690" y="133"/>
                    <a:pt x="700" y="132"/>
                    <a:pt x="706" y="132"/>
                  </a:cubicBezTo>
                  <a:cubicBezTo>
                    <a:pt x="712" y="131"/>
                    <a:pt x="728" y="130"/>
                    <a:pt x="730" y="123"/>
                  </a:cubicBezTo>
                  <a:cubicBezTo>
                    <a:pt x="731" y="116"/>
                    <a:pt x="734" y="116"/>
                    <a:pt x="735" y="116"/>
                  </a:cubicBezTo>
                  <a:cubicBezTo>
                    <a:pt x="736" y="115"/>
                    <a:pt x="741" y="108"/>
                    <a:pt x="743" y="107"/>
                  </a:cubicBezTo>
                  <a:cubicBezTo>
                    <a:pt x="745" y="107"/>
                    <a:pt x="753" y="107"/>
                    <a:pt x="755" y="105"/>
                  </a:cubicBezTo>
                  <a:cubicBezTo>
                    <a:pt x="757" y="103"/>
                    <a:pt x="762" y="104"/>
                    <a:pt x="764" y="103"/>
                  </a:cubicBezTo>
                  <a:cubicBezTo>
                    <a:pt x="767" y="102"/>
                    <a:pt x="773" y="97"/>
                    <a:pt x="775" y="98"/>
                  </a:cubicBezTo>
                  <a:cubicBezTo>
                    <a:pt x="778" y="98"/>
                    <a:pt x="786" y="93"/>
                    <a:pt x="787" y="93"/>
                  </a:cubicBezTo>
                  <a:cubicBezTo>
                    <a:pt x="789" y="94"/>
                    <a:pt x="795" y="91"/>
                    <a:pt x="796" y="88"/>
                  </a:cubicBezTo>
                  <a:cubicBezTo>
                    <a:pt x="797" y="86"/>
                    <a:pt x="806" y="89"/>
                    <a:pt x="809" y="83"/>
                  </a:cubicBezTo>
                  <a:cubicBezTo>
                    <a:pt x="813" y="77"/>
                    <a:pt x="816" y="70"/>
                    <a:pt x="822" y="70"/>
                  </a:cubicBezTo>
                  <a:cubicBezTo>
                    <a:pt x="828" y="69"/>
                    <a:pt x="847" y="69"/>
                    <a:pt x="850" y="66"/>
                  </a:cubicBezTo>
                  <a:cubicBezTo>
                    <a:pt x="853" y="64"/>
                    <a:pt x="858" y="61"/>
                    <a:pt x="864" y="60"/>
                  </a:cubicBezTo>
                  <a:cubicBezTo>
                    <a:pt x="870" y="60"/>
                    <a:pt x="882" y="54"/>
                    <a:pt x="882" y="54"/>
                  </a:cubicBezTo>
                  <a:cubicBezTo>
                    <a:pt x="882" y="54"/>
                    <a:pt x="891" y="49"/>
                    <a:pt x="892" y="46"/>
                  </a:cubicBezTo>
                  <a:cubicBezTo>
                    <a:pt x="893" y="43"/>
                    <a:pt x="897" y="37"/>
                    <a:pt x="903" y="34"/>
                  </a:cubicBezTo>
                  <a:cubicBezTo>
                    <a:pt x="909" y="31"/>
                    <a:pt x="917" y="28"/>
                    <a:pt x="928" y="26"/>
                  </a:cubicBezTo>
                  <a:cubicBezTo>
                    <a:pt x="939" y="25"/>
                    <a:pt x="943" y="18"/>
                    <a:pt x="945" y="16"/>
                  </a:cubicBezTo>
                  <a:cubicBezTo>
                    <a:pt x="948" y="13"/>
                    <a:pt x="952" y="15"/>
                    <a:pt x="953" y="14"/>
                  </a:cubicBezTo>
                  <a:cubicBezTo>
                    <a:pt x="955" y="13"/>
                    <a:pt x="971" y="0"/>
                    <a:pt x="971" y="0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D549C9E6-86ED-A114-9D02-F17855B7956E}"/>
                </a:ext>
              </a:extLst>
            </p:cNvPr>
            <p:cNvSpPr txBox="1"/>
            <p:nvPr/>
          </p:nvSpPr>
          <p:spPr>
            <a:xfrm>
              <a:off x="4165308" y="2054226"/>
              <a:ext cx="174271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6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DE9043FF-2E78-D1A1-9B42-6BCA5641D0EC}"/>
                </a:ext>
              </a:extLst>
            </p:cNvPr>
            <p:cNvSpPr txBox="1"/>
            <p:nvPr/>
          </p:nvSpPr>
          <p:spPr>
            <a:xfrm>
              <a:off x="4165308" y="2774324"/>
              <a:ext cx="174271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4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A8E9FF1E-4E46-71BD-FC0C-117EE52B6F7B}"/>
                </a:ext>
              </a:extLst>
            </p:cNvPr>
            <p:cNvSpPr txBox="1"/>
            <p:nvPr/>
          </p:nvSpPr>
          <p:spPr>
            <a:xfrm>
              <a:off x="4165308" y="3494422"/>
              <a:ext cx="174271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6CE2861F-C813-8A05-8672-7BABA4E92873}"/>
                </a:ext>
              </a:extLst>
            </p:cNvPr>
            <p:cNvSpPr txBox="1"/>
            <p:nvPr/>
          </p:nvSpPr>
          <p:spPr>
            <a:xfrm>
              <a:off x="4165308" y="4214520"/>
              <a:ext cx="174271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0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6464CF8E-FE46-9EE6-1E91-A661FA75A11C}"/>
                </a:ext>
              </a:extLst>
            </p:cNvPr>
            <p:cNvSpPr txBox="1"/>
            <p:nvPr/>
          </p:nvSpPr>
          <p:spPr>
            <a:xfrm rot="16200000">
              <a:off x="2969633" y="3136108"/>
              <a:ext cx="2170116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ct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Number of Units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2C23BADA-5645-29C1-D8EA-05551338CF15}"/>
                </a:ext>
              </a:extLst>
            </p:cNvPr>
            <p:cNvSpPr txBox="1"/>
            <p:nvPr/>
          </p:nvSpPr>
          <p:spPr>
            <a:xfrm>
              <a:off x="4337214" y="4376738"/>
              <a:ext cx="174271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ct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0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CB4463E4-7826-8A4E-76FC-30BB0C71A8A5}"/>
                </a:ext>
              </a:extLst>
            </p:cNvPr>
            <p:cNvSpPr txBox="1"/>
            <p:nvPr/>
          </p:nvSpPr>
          <p:spPr>
            <a:xfrm>
              <a:off x="4854129" y="4376738"/>
              <a:ext cx="174271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ct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4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3B8AA542-CE5A-8493-83CD-7837475085FC}"/>
                </a:ext>
              </a:extLst>
            </p:cNvPr>
            <p:cNvSpPr txBox="1"/>
            <p:nvPr/>
          </p:nvSpPr>
          <p:spPr>
            <a:xfrm>
              <a:off x="5371044" y="4376738"/>
              <a:ext cx="174271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ct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8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056CA9E5-B45F-D506-CCA1-38CF2CF4343A}"/>
                </a:ext>
              </a:extLst>
            </p:cNvPr>
            <p:cNvSpPr txBox="1"/>
            <p:nvPr/>
          </p:nvSpPr>
          <p:spPr>
            <a:xfrm>
              <a:off x="5887959" y="4376738"/>
              <a:ext cx="174271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ct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12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BEA2BA91-8553-6919-E3DB-2FFACB428FB7}"/>
                </a:ext>
              </a:extLst>
            </p:cNvPr>
            <p:cNvSpPr txBox="1"/>
            <p:nvPr/>
          </p:nvSpPr>
          <p:spPr>
            <a:xfrm>
              <a:off x="6404874" y="4376738"/>
              <a:ext cx="174271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ct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16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45BA6D24-74EF-1EED-88D9-6DBEFE4D483A}"/>
                </a:ext>
              </a:extLst>
            </p:cNvPr>
            <p:cNvSpPr txBox="1"/>
            <p:nvPr/>
          </p:nvSpPr>
          <p:spPr>
            <a:xfrm>
              <a:off x="6921789" y="4376738"/>
              <a:ext cx="174271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ct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20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347F004E-73C9-D77A-3E24-F7B3D5104415}"/>
                </a:ext>
              </a:extLst>
            </p:cNvPr>
            <p:cNvSpPr txBox="1"/>
            <p:nvPr/>
          </p:nvSpPr>
          <p:spPr>
            <a:xfrm>
              <a:off x="7438706" y="4376738"/>
              <a:ext cx="174271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ct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24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1937DA82-AED7-DFA4-8C88-43F2BFA7E098}"/>
                </a:ext>
              </a:extLst>
            </p:cNvPr>
            <p:cNvSpPr txBox="1"/>
            <p:nvPr/>
          </p:nvSpPr>
          <p:spPr>
            <a:xfrm>
              <a:off x="4417635" y="4547672"/>
              <a:ext cx="3101856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ct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Week</a:t>
              </a:r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C79BE2E2-101F-7CF7-F4C1-AFBDB563F260}"/>
                </a:ext>
              </a:extLst>
            </p:cNvPr>
            <p:cNvGrpSpPr/>
            <p:nvPr/>
          </p:nvGrpSpPr>
          <p:grpSpPr>
            <a:xfrm>
              <a:off x="4692014" y="2296968"/>
              <a:ext cx="932499" cy="386051"/>
              <a:chOff x="4692014" y="2308638"/>
              <a:chExt cx="932499" cy="386051"/>
            </a:xfrm>
          </p:grpSpPr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0AE4B6FC-D7DF-9F08-4087-7F01C07E21B3}"/>
                  </a:ext>
                </a:extLst>
              </p:cNvPr>
              <p:cNvSpPr/>
              <p:nvPr/>
            </p:nvSpPr>
            <p:spPr>
              <a:xfrm>
                <a:off x="4692014" y="2343563"/>
                <a:ext cx="180000" cy="85725"/>
              </a:xfrm>
              <a:prstGeom prst="rect">
                <a:avLst/>
              </a:prstGeom>
              <a:solidFill>
                <a:srgbClr val="00876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n-GB" sz="750">
                  <a:solidFill>
                    <a:prstClr val="white"/>
                  </a:solidFill>
                  <a:latin typeface="Arial" panose="020B0604020202020204"/>
                </a:endParaRPr>
              </a:p>
            </p:txBody>
          </p: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92449ECB-012F-125E-DC6F-93A8AB4481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92014" y="2386425"/>
                <a:ext cx="180000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D609AC8C-E97B-1999-E814-156FDCD94582}"/>
                  </a:ext>
                </a:extLst>
              </p:cNvPr>
              <p:cNvSpPr/>
              <p:nvPr/>
            </p:nvSpPr>
            <p:spPr>
              <a:xfrm>
                <a:off x="4692014" y="2574039"/>
                <a:ext cx="180000" cy="85725"/>
              </a:xfrm>
              <a:prstGeom prst="rect">
                <a:avLst/>
              </a:prstGeom>
              <a:solidFill>
                <a:srgbClr val="0076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n-GB" sz="750">
                  <a:solidFill>
                    <a:prstClr val="white"/>
                  </a:solidFill>
                  <a:latin typeface="Arial" panose="020B0604020202020204"/>
                </a:endParaRPr>
              </a:p>
            </p:txBody>
          </p: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7D343430-E8EA-A4CA-A890-972C364C5D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92014" y="2616901"/>
                <a:ext cx="180000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21149D7F-3B57-80BC-6953-52FA0D3570DC}"/>
                  </a:ext>
                </a:extLst>
              </p:cNvPr>
              <p:cNvSpPr txBox="1"/>
              <p:nvPr/>
            </p:nvSpPr>
            <p:spPr>
              <a:xfrm>
                <a:off x="4892249" y="2308638"/>
                <a:ext cx="732264" cy="155575"/>
              </a:xfrm>
              <a:prstGeom prst="rect">
                <a:avLst/>
              </a:prstGeom>
              <a:noFill/>
            </p:spPr>
            <p:txBody>
              <a:bodyPr wrap="none" lIns="27000" tIns="27000" rIns="27000" bIns="27000" rtlCol="0" anchor="ctr">
                <a:noAutofit/>
              </a:bodyPr>
              <a:lstStyle/>
              <a:p>
                <a:pPr defTabSz="685800"/>
                <a:r>
                  <a:rPr lang="en-GB" sz="750" b="1" err="1">
                    <a:solidFill>
                      <a:prstClr val="black"/>
                    </a:solidFill>
                    <a:latin typeface="Arial" panose="020B0604020202020204"/>
                  </a:rPr>
                  <a:t>Ruxolitinib</a:t>
                </a:r>
                <a:endParaRPr lang="en-GB" sz="750" b="1">
                  <a:solidFill>
                    <a:prstClr val="black"/>
                  </a:solidFill>
                  <a:latin typeface="Arial" panose="020B0604020202020204"/>
                </a:endParaRPr>
              </a:p>
            </p:txBody>
          </p: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BC885090-0AEA-B908-D1A8-21DB3BB53C9C}"/>
                  </a:ext>
                </a:extLst>
              </p:cNvPr>
              <p:cNvSpPr txBox="1"/>
              <p:nvPr/>
            </p:nvSpPr>
            <p:spPr>
              <a:xfrm>
                <a:off x="4892249" y="2539114"/>
                <a:ext cx="732264" cy="155575"/>
              </a:xfrm>
              <a:prstGeom prst="rect">
                <a:avLst/>
              </a:prstGeom>
              <a:noFill/>
            </p:spPr>
            <p:txBody>
              <a:bodyPr wrap="none" lIns="27000" tIns="27000" rIns="27000" bIns="27000" rtlCol="0" anchor="ctr">
                <a:noAutofit/>
              </a:bodyPr>
              <a:lstStyle/>
              <a:p>
                <a:pPr defTabSz="685800"/>
                <a:r>
                  <a:rPr lang="en-GB" sz="750" b="1" err="1">
                    <a:solidFill>
                      <a:prstClr val="black"/>
                    </a:solidFill>
                    <a:latin typeface="Arial" panose="020B0604020202020204"/>
                  </a:rPr>
                  <a:t>Momelotinib</a:t>
                </a:r>
                <a:endParaRPr lang="en-GB" sz="750" b="1" err="1">
                  <a:solidFill>
                    <a:prstClr val="black"/>
                  </a:solidFill>
                  <a:latin typeface="Arial" panose="020B0604020202020204"/>
                  <a:cs typeface="Arial"/>
                </a:endParaRPr>
              </a:p>
            </p:txBody>
          </p:sp>
        </p:grp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37CEC8F1-CB07-3C32-02CD-5FB6333FF6FD}"/>
              </a:ext>
            </a:extLst>
          </p:cNvPr>
          <p:cNvGrpSpPr/>
          <p:nvPr/>
        </p:nvGrpSpPr>
        <p:grpSpPr>
          <a:xfrm>
            <a:off x="7444814" y="1968376"/>
            <a:ext cx="1542030" cy="2147515"/>
            <a:chOff x="7775348" y="1504360"/>
            <a:chExt cx="2056040" cy="2863353"/>
          </a:xfrm>
        </p:grpSpPr>
        <p:sp>
          <p:nvSpPr>
            <p:cNvPr id="79" name="Freeform 47">
              <a:extLst>
                <a:ext uri="{FF2B5EF4-FFF2-40B4-BE49-F238E27FC236}">
                  <a16:creationId xmlns:a16="http://schemas.microsoft.com/office/drawing/2014/main" id="{ACCF94EA-AEA2-4F20-CA2B-0968FD9A3D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4056" y="2132013"/>
              <a:ext cx="1447800" cy="2157413"/>
            </a:xfrm>
            <a:custGeom>
              <a:avLst/>
              <a:gdLst>
                <a:gd name="T0" fmla="*/ 24 w 912"/>
                <a:gd name="T1" fmla="*/ 1353 h 1359"/>
                <a:gd name="T2" fmla="*/ 48 w 912"/>
                <a:gd name="T3" fmla="*/ 1333 h 1359"/>
                <a:gd name="T4" fmla="*/ 62 w 912"/>
                <a:gd name="T5" fmla="*/ 1301 h 1359"/>
                <a:gd name="T6" fmla="*/ 74 w 912"/>
                <a:gd name="T7" fmla="*/ 1291 h 1359"/>
                <a:gd name="T8" fmla="*/ 82 w 912"/>
                <a:gd name="T9" fmla="*/ 1281 h 1359"/>
                <a:gd name="T10" fmla="*/ 120 w 912"/>
                <a:gd name="T11" fmla="*/ 1269 h 1359"/>
                <a:gd name="T12" fmla="*/ 136 w 912"/>
                <a:gd name="T13" fmla="*/ 1249 h 1359"/>
                <a:gd name="T14" fmla="*/ 164 w 912"/>
                <a:gd name="T15" fmla="*/ 1223 h 1359"/>
                <a:gd name="T16" fmla="*/ 188 w 912"/>
                <a:gd name="T17" fmla="*/ 1199 h 1359"/>
                <a:gd name="T18" fmla="*/ 214 w 912"/>
                <a:gd name="T19" fmla="*/ 1173 h 1359"/>
                <a:gd name="T20" fmla="*/ 230 w 912"/>
                <a:gd name="T21" fmla="*/ 1163 h 1359"/>
                <a:gd name="T22" fmla="*/ 244 w 912"/>
                <a:gd name="T23" fmla="*/ 1146 h 1359"/>
                <a:gd name="T24" fmla="*/ 270 w 912"/>
                <a:gd name="T25" fmla="*/ 1140 h 1359"/>
                <a:gd name="T26" fmla="*/ 284 w 912"/>
                <a:gd name="T27" fmla="*/ 1122 h 1359"/>
                <a:gd name="T28" fmla="*/ 298 w 912"/>
                <a:gd name="T29" fmla="*/ 1110 h 1359"/>
                <a:gd name="T30" fmla="*/ 314 w 912"/>
                <a:gd name="T31" fmla="*/ 1102 h 1359"/>
                <a:gd name="T32" fmla="*/ 326 w 912"/>
                <a:gd name="T33" fmla="*/ 1082 h 1359"/>
                <a:gd name="T34" fmla="*/ 338 w 912"/>
                <a:gd name="T35" fmla="*/ 1070 h 1359"/>
                <a:gd name="T36" fmla="*/ 348 w 912"/>
                <a:gd name="T37" fmla="*/ 1062 h 1359"/>
                <a:gd name="T38" fmla="*/ 356 w 912"/>
                <a:gd name="T39" fmla="*/ 1054 h 1359"/>
                <a:gd name="T40" fmla="*/ 382 w 912"/>
                <a:gd name="T41" fmla="*/ 1046 h 1359"/>
                <a:gd name="T42" fmla="*/ 400 w 912"/>
                <a:gd name="T43" fmla="*/ 1032 h 1359"/>
                <a:gd name="T44" fmla="*/ 410 w 912"/>
                <a:gd name="T45" fmla="*/ 1010 h 1359"/>
                <a:gd name="T46" fmla="*/ 416 w 912"/>
                <a:gd name="T47" fmla="*/ 1000 h 1359"/>
                <a:gd name="T48" fmla="*/ 434 w 912"/>
                <a:gd name="T49" fmla="*/ 994 h 1359"/>
                <a:gd name="T50" fmla="*/ 446 w 912"/>
                <a:gd name="T51" fmla="*/ 984 h 1359"/>
                <a:gd name="T52" fmla="*/ 476 w 912"/>
                <a:gd name="T53" fmla="*/ 978 h 1359"/>
                <a:gd name="T54" fmla="*/ 490 w 912"/>
                <a:gd name="T55" fmla="*/ 972 h 1359"/>
                <a:gd name="T56" fmla="*/ 496 w 912"/>
                <a:gd name="T57" fmla="*/ 964 h 1359"/>
                <a:gd name="T58" fmla="*/ 510 w 912"/>
                <a:gd name="T59" fmla="*/ 960 h 1359"/>
                <a:gd name="T60" fmla="*/ 524 w 912"/>
                <a:gd name="T61" fmla="*/ 948 h 1359"/>
                <a:gd name="T62" fmla="*/ 540 w 912"/>
                <a:gd name="T63" fmla="*/ 934 h 1359"/>
                <a:gd name="T64" fmla="*/ 548 w 912"/>
                <a:gd name="T65" fmla="*/ 930 h 1359"/>
                <a:gd name="T66" fmla="*/ 566 w 912"/>
                <a:gd name="T67" fmla="*/ 910 h 1359"/>
                <a:gd name="T68" fmla="*/ 578 w 912"/>
                <a:gd name="T69" fmla="*/ 896 h 1359"/>
                <a:gd name="T70" fmla="*/ 592 w 912"/>
                <a:gd name="T71" fmla="*/ 876 h 1359"/>
                <a:gd name="T72" fmla="*/ 612 w 912"/>
                <a:gd name="T73" fmla="*/ 862 h 1359"/>
                <a:gd name="T74" fmla="*/ 630 w 912"/>
                <a:gd name="T75" fmla="*/ 852 h 1359"/>
                <a:gd name="T76" fmla="*/ 638 w 912"/>
                <a:gd name="T77" fmla="*/ 844 h 1359"/>
                <a:gd name="T78" fmla="*/ 658 w 912"/>
                <a:gd name="T79" fmla="*/ 834 h 1359"/>
                <a:gd name="T80" fmla="*/ 876 w 912"/>
                <a:gd name="T81" fmla="*/ 0 h 1359"/>
                <a:gd name="T82" fmla="*/ 864 w 912"/>
                <a:gd name="T83" fmla="*/ 319 h 1359"/>
                <a:gd name="T84" fmla="*/ 854 w 912"/>
                <a:gd name="T85" fmla="*/ 497 h 1359"/>
                <a:gd name="T86" fmla="*/ 844 w 912"/>
                <a:gd name="T87" fmla="*/ 567 h 1359"/>
                <a:gd name="T88" fmla="*/ 834 w 912"/>
                <a:gd name="T89" fmla="*/ 593 h 1359"/>
                <a:gd name="T90" fmla="*/ 816 w 912"/>
                <a:gd name="T91" fmla="*/ 603 h 1359"/>
                <a:gd name="T92" fmla="*/ 808 w 912"/>
                <a:gd name="T93" fmla="*/ 623 h 1359"/>
                <a:gd name="T94" fmla="*/ 796 w 912"/>
                <a:gd name="T95" fmla="*/ 651 h 1359"/>
                <a:gd name="T96" fmla="*/ 786 w 912"/>
                <a:gd name="T97" fmla="*/ 669 h 1359"/>
                <a:gd name="T98" fmla="*/ 776 w 912"/>
                <a:gd name="T99" fmla="*/ 695 h 1359"/>
                <a:gd name="T100" fmla="*/ 766 w 912"/>
                <a:gd name="T101" fmla="*/ 710 h 1359"/>
                <a:gd name="T102" fmla="*/ 754 w 912"/>
                <a:gd name="T103" fmla="*/ 726 h 1359"/>
                <a:gd name="T104" fmla="*/ 744 w 912"/>
                <a:gd name="T105" fmla="*/ 734 h 1359"/>
                <a:gd name="T106" fmla="*/ 738 w 912"/>
                <a:gd name="T107" fmla="*/ 740 h 1359"/>
                <a:gd name="T108" fmla="*/ 730 w 912"/>
                <a:gd name="T109" fmla="*/ 768 h 1359"/>
                <a:gd name="T110" fmla="*/ 720 w 912"/>
                <a:gd name="T111" fmla="*/ 778 h 1359"/>
                <a:gd name="T112" fmla="*/ 710 w 912"/>
                <a:gd name="T113" fmla="*/ 788 h 1359"/>
                <a:gd name="T114" fmla="*/ 700 w 912"/>
                <a:gd name="T115" fmla="*/ 796 h 1359"/>
                <a:gd name="T116" fmla="*/ 682 w 912"/>
                <a:gd name="T117" fmla="*/ 810 h 1359"/>
                <a:gd name="T118" fmla="*/ 0 w 912"/>
                <a:gd name="T119" fmla="*/ 1359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12" h="1359">
                  <a:moveTo>
                    <a:pt x="0" y="1359"/>
                  </a:moveTo>
                  <a:lnTo>
                    <a:pt x="20" y="1359"/>
                  </a:lnTo>
                  <a:lnTo>
                    <a:pt x="20" y="1353"/>
                  </a:lnTo>
                  <a:lnTo>
                    <a:pt x="24" y="1353"/>
                  </a:lnTo>
                  <a:lnTo>
                    <a:pt x="24" y="1339"/>
                  </a:lnTo>
                  <a:lnTo>
                    <a:pt x="38" y="1339"/>
                  </a:lnTo>
                  <a:lnTo>
                    <a:pt x="38" y="1333"/>
                  </a:lnTo>
                  <a:lnTo>
                    <a:pt x="48" y="1333"/>
                  </a:lnTo>
                  <a:lnTo>
                    <a:pt x="48" y="1325"/>
                  </a:lnTo>
                  <a:lnTo>
                    <a:pt x="52" y="1325"/>
                  </a:lnTo>
                  <a:lnTo>
                    <a:pt x="52" y="1301"/>
                  </a:lnTo>
                  <a:lnTo>
                    <a:pt x="62" y="1301"/>
                  </a:lnTo>
                  <a:lnTo>
                    <a:pt x="62" y="1293"/>
                  </a:lnTo>
                  <a:lnTo>
                    <a:pt x="68" y="1293"/>
                  </a:lnTo>
                  <a:lnTo>
                    <a:pt x="68" y="1291"/>
                  </a:lnTo>
                  <a:lnTo>
                    <a:pt x="74" y="1291"/>
                  </a:lnTo>
                  <a:lnTo>
                    <a:pt x="74" y="1289"/>
                  </a:lnTo>
                  <a:lnTo>
                    <a:pt x="80" y="1289"/>
                  </a:lnTo>
                  <a:lnTo>
                    <a:pt x="80" y="1281"/>
                  </a:lnTo>
                  <a:lnTo>
                    <a:pt x="82" y="1281"/>
                  </a:lnTo>
                  <a:lnTo>
                    <a:pt x="82" y="1275"/>
                  </a:lnTo>
                  <a:lnTo>
                    <a:pt x="110" y="1275"/>
                  </a:lnTo>
                  <a:lnTo>
                    <a:pt x="110" y="1269"/>
                  </a:lnTo>
                  <a:lnTo>
                    <a:pt x="120" y="1269"/>
                  </a:lnTo>
                  <a:lnTo>
                    <a:pt x="120" y="1265"/>
                  </a:lnTo>
                  <a:lnTo>
                    <a:pt x="130" y="1265"/>
                  </a:lnTo>
                  <a:lnTo>
                    <a:pt x="130" y="1249"/>
                  </a:lnTo>
                  <a:lnTo>
                    <a:pt x="136" y="1249"/>
                  </a:lnTo>
                  <a:lnTo>
                    <a:pt x="136" y="1245"/>
                  </a:lnTo>
                  <a:lnTo>
                    <a:pt x="144" y="1245"/>
                  </a:lnTo>
                  <a:lnTo>
                    <a:pt x="144" y="1223"/>
                  </a:lnTo>
                  <a:lnTo>
                    <a:pt x="164" y="1223"/>
                  </a:lnTo>
                  <a:lnTo>
                    <a:pt x="164" y="1219"/>
                  </a:lnTo>
                  <a:lnTo>
                    <a:pt x="184" y="1219"/>
                  </a:lnTo>
                  <a:lnTo>
                    <a:pt x="184" y="1199"/>
                  </a:lnTo>
                  <a:lnTo>
                    <a:pt x="188" y="1199"/>
                  </a:lnTo>
                  <a:lnTo>
                    <a:pt x="188" y="1185"/>
                  </a:lnTo>
                  <a:lnTo>
                    <a:pt x="202" y="1185"/>
                  </a:lnTo>
                  <a:lnTo>
                    <a:pt x="202" y="1173"/>
                  </a:lnTo>
                  <a:lnTo>
                    <a:pt x="214" y="1173"/>
                  </a:lnTo>
                  <a:lnTo>
                    <a:pt x="214" y="1167"/>
                  </a:lnTo>
                  <a:lnTo>
                    <a:pt x="222" y="1167"/>
                  </a:lnTo>
                  <a:lnTo>
                    <a:pt x="222" y="1163"/>
                  </a:lnTo>
                  <a:lnTo>
                    <a:pt x="230" y="1163"/>
                  </a:lnTo>
                  <a:lnTo>
                    <a:pt x="230" y="1150"/>
                  </a:lnTo>
                  <a:lnTo>
                    <a:pt x="238" y="1150"/>
                  </a:lnTo>
                  <a:lnTo>
                    <a:pt x="238" y="1146"/>
                  </a:lnTo>
                  <a:lnTo>
                    <a:pt x="244" y="1146"/>
                  </a:lnTo>
                  <a:lnTo>
                    <a:pt x="244" y="1144"/>
                  </a:lnTo>
                  <a:lnTo>
                    <a:pt x="252" y="1144"/>
                  </a:lnTo>
                  <a:lnTo>
                    <a:pt x="252" y="1140"/>
                  </a:lnTo>
                  <a:lnTo>
                    <a:pt x="270" y="1140"/>
                  </a:lnTo>
                  <a:lnTo>
                    <a:pt x="270" y="1126"/>
                  </a:lnTo>
                  <a:lnTo>
                    <a:pt x="278" y="1126"/>
                  </a:lnTo>
                  <a:lnTo>
                    <a:pt x="278" y="1122"/>
                  </a:lnTo>
                  <a:lnTo>
                    <a:pt x="284" y="1122"/>
                  </a:lnTo>
                  <a:lnTo>
                    <a:pt x="284" y="1114"/>
                  </a:lnTo>
                  <a:lnTo>
                    <a:pt x="290" y="1114"/>
                  </a:lnTo>
                  <a:lnTo>
                    <a:pt x="290" y="1110"/>
                  </a:lnTo>
                  <a:lnTo>
                    <a:pt x="298" y="1110"/>
                  </a:lnTo>
                  <a:lnTo>
                    <a:pt x="298" y="1106"/>
                  </a:lnTo>
                  <a:lnTo>
                    <a:pt x="304" y="1106"/>
                  </a:lnTo>
                  <a:lnTo>
                    <a:pt x="304" y="1102"/>
                  </a:lnTo>
                  <a:lnTo>
                    <a:pt x="314" y="1102"/>
                  </a:lnTo>
                  <a:lnTo>
                    <a:pt x="314" y="1084"/>
                  </a:lnTo>
                  <a:lnTo>
                    <a:pt x="322" y="1084"/>
                  </a:lnTo>
                  <a:lnTo>
                    <a:pt x="322" y="1082"/>
                  </a:lnTo>
                  <a:lnTo>
                    <a:pt x="326" y="1082"/>
                  </a:lnTo>
                  <a:lnTo>
                    <a:pt x="326" y="1078"/>
                  </a:lnTo>
                  <a:lnTo>
                    <a:pt x="328" y="1078"/>
                  </a:lnTo>
                  <a:lnTo>
                    <a:pt x="328" y="1070"/>
                  </a:lnTo>
                  <a:lnTo>
                    <a:pt x="338" y="1070"/>
                  </a:lnTo>
                  <a:lnTo>
                    <a:pt x="338" y="1066"/>
                  </a:lnTo>
                  <a:lnTo>
                    <a:pt x="344" y="1066"/>
                  </a:lnTo>
                  <a:lnTo>
                    <a:pt x="344" y="1062"/>
                  </a:lnTo>
                  <a:lnTo>
                    <a:pt x="348" y="1062"/>
                  </a:lnTo>
                  <a:lnTo>
                    <a:pt x="348" y="1058"/>
                  </a:lnTo>
                  <a:lnTo>
                    <a:pt x="350" y="1058"/>
                  </a:lnTo>
                  <a:lnTo>
                    <a:pt x="350" y="1054"/>
                  </a:lnTo>
                  <a:lnTo>
                    <a:pt x="356" y="1054"/>
                  </a:lnTo>
                  <a:lnTo>
                    <a:pt x="356" y="1052"/>
                  </a:lnTo>
                  <a:lnTo>
                    <a:pt x="370" y="1052"/>
                  </a:lnTo>
                  <a:lnTo>
                    <a:pt x="370" y="1046"/>
                  </a:lnTo>
                  <a:lnTo>
                    <a:pt x="382" y="1046"/>
                  </a:lnTo>
                  <a:lnTo>
                    <a:pt x="382" y="1038"/>
                  </a:lnTo>
                  <a:lnTo>
                    <a:pt x="392" y="1038"/>
                  </a:lnTo>
                  <a:lnTo>
                    <a:pt x="392" y="1032"/>
                  </a:lnTo>
                  <a:lnTo>
                    <a:pt x="400" y="1032"/>
                  </a:lnTo>
                  <a:lnTo>
                    <a:pt x="400" y="1024"/>
                  </a:lnTo>
                  <a:lnTo>
                    <a:pt x="404" y="1024"/>
                  </a:lnTo>
                  <a:lnTo>
                    <a:pt x="404" y="1010"/>
                  </a:lnTo>
                  <a:lnTo>
                    <a:pt x="410" y="1010"/>
                  </a:lnTo>
                  <a:lnTo>
                    <a:pt x="410" y="1006"/>
                  </a:lnTo>
                  <a:lnTo>
                    <a:pt x="412" y="1006"/>
                  </a:lnTo>
                  <a:lnTo>
                    <a:pt x="412" y="1000"/>
                  </a:lnTo>
                  <a:lnTo>
                    <a:pt x="416" y="1000"/>
                  </a:lnTo>
                  <a:lnTo>
                    <a:pt x="416" y="998"/>
                  </a:lnTo>
                  <a:lnTo>
                    <a:pt x="422" y="998"/>
                  </a:lnTo>
                  <a:lnTo>
                    <a:pt x="422" y="994"/>
                  </a:lnTo>
                  <a:lnTo>
                    <a:pt x="434" y="994"/>
                  </a:lnTo>
                  <a:lnTo>
                    <a:pt x="434" y="986"/>
                  </a:lnTo>
                  <a:lnTo>
                    <a:pt x="442" y="986"/>
                  </a:lnTo>
                  <a:lnTo>
                    <a:pt x="442" y="984"/>
                  </a:lnTo>
                  <a:lnTo>
                    <a:pt x="446" y="984"/>
                  </a:lnTo>
                  <a:lnTo>
                    <a:pt x="446" y="982"/>
                  </a:lnTo>
                  <a:lnTo>
                    <a:pt x="452" y="982"/>
                  </a:lnTo>
                  <a:lnTo>
                    <a:pt x="452" y="978"/>
                  </a:lnTo>
                  <a:lnTo>
                    <a:pt x="476" y="978"/>
                  </a:lnTo>
                  <a:lnTo>
                    <a:pt x="476" y="976"/>
                  </a:lnTo>
                  <a:lnTo>
                    <a:pt x="484" y="976"/>
                  </a:lnTo>
                  <a:lnTo>
                    <a:pt x="484" y="972"/>
                  </a:lnTo>
                  <a:lnTo>
                    <a:pt x="490" y="972"/>
                  </a:lnTo>
                  <a:lnTo>
                    <a:pt x="490" y="970"/>
                  </a:lnTo>
                  <a:lnTo>
                    <a:pt x="492" y="970"/>
                  </a:lnTo>
                  <a:lnTo>
                    <a:pt x="492" y="964"/>
                  </a:lnTo>
                  <a:lnTo>
                    <a:pt x="496" y="964"/>
                  </a:lnTo>
                  <a:lnTo>
                    <a:pt x="496" y="962"/>
                  </a:lnTo>
                  <a:lnTo>
                    <a:pt x="506" y="962"/>
                  </a:lnTo>
                  <a:lnTo>
                    <a:pt x="506" y="960"/>
                  </a:lnTo>
                  <a:lnTo>
                    <a:pt x="510" y="960"/>
                  </a:lnTo>
                  <a:lnTo>
                    <a:pt x="510" y="956"/>
                  </a:lnTo>
                  <a:lnTo>
                    <a:pt x="516" y="956"/>
                  </a:lnTo>
                  <a:lnTo>
                    <a:pt x="516" y="948"/>
                  </a:lnTo>
                  <a:lnTo>
                    <a:pt x="524" y="948"/>
                  </a:lnTo>
                  <a:lnTo>
                    <a:pt x="524" y="940"/>
                  </a:lnTo>
                  <a:lnTo>
                    <a:pt x="532" y="940"/>
                  </a:lnTo>
                  <a:lnTo>
                    <a:pt x="532" y="934"/>
                  </a:lnTo>
                  <a:lnTo>
                    <a:pt x="540" y="934"/>
                  </a:lnTo>
                  <a:lnTo>
                    <a:pt x="540" y="932"/>
                  </a:lnTo>
                  <a:lnTo>
                    <a:pt x="546" y="932"/>
                  </a:lnTo>
                  <a:lnTo>
                    <a:pt x="546" y="930"/>
                  </a:lnTo>
                  <a:lnTo>
                    <a:pt x="548" y="930"/>
                  </a:lnTo>
                  <a:lnTo>
                    <a:pt x="548" y="924"/>
                  </a:lnTo>
                  <a:lnTo>
                    <a:pt x="552" y="924"/>
                  </a:lnTo>
                  <a:lnTo>
                    <a:pt x="552" y="910"/>
                  </a:lnTo>
                  <a:lnTo>
                    <a:pt x="566" y="910"/>
                  </a:lnTo>
                  <a:lnTo>
                    <a:pt x="566" y="904"/>
                  </a:lnTo>
                  <a:lnTo>
                    <a:pt x="574" y="904"/>
                  </a:lnTo>
                  <a:lnTo>
                    <a:pt x="574" y="896"/>
                  </a:lnTo>
                  <a:lnTo>
                    <a:pt x="578" y="896"/>
                  </a:lnTo>
                  <a:lnTo>
                    <a:pt x="578" y="894"/>
                  </a:lnTo>
                  <a:lnTo>
                    <a:pt x="586" y="894"/>
                  </a:lnTo>
                  <a:lnTo>
                    <a:pt x="586" y="876"/>
                  </a:lnTo>
                  <a:lnTo>
                    <a:pt x="592" y="876"/>
                  </a:lnTo>
                  <a:lnTo>
                    <a:pt x="592" y="872"/>
                  </a:lnTo>
                  <a:lnTo>
                    <a:pt x="602" y="872"/>
                  </a:lnTo>
                  <a:lnTo>
                    <a:pt x="602" y="862"/>
                  </a:lnTo>
                  <a:lnTo>
                    <a:pt x="612" y="862"/>
                  </a:lnTo>
                  <a:lnTo>
                    <a:pt x="612" y="856"/>
                  </a:lnTo>
                  <a:lnTo>
                    <a:pt x="622" y="856"/>
                  </a:lnTo>
                  <a:lnTo>
                    <a:pt x="622" y="852"/>
                  </a:lnTo>
                  <a:lnTo>
                    <a:pt x="630" y="852"/>
                  </a:lnTo>
                  <a:lnTo>
                    <a:pt x="630" y="850"/>
                  </a:lnTo>
                  <a:lnTo>
                    <a:pt x="632" y="850"/>
                  </a:lnTo>
                  <a:lnTo>
                    <a:pt x="632" y="844"/>
                  </a:lnTo>
                  <a:lnTo>
                    <a:pt x="638" y="844"/>
                  </a:lnTo>
                  <a:lnTo>
                    <a:pt x="638" y="840"/>
                  </a:lnTo>
                  <a:lnTo>
                    <a:pt x="644" y="840"/>
                  </a:lnTo>
                  <a:lnTo>
                    <a:pt x="644" y="834"/>
                  </a:lnTo>
                  <a:lnTo>
                    <a:pt x="658" y="834"/>
                  </a:lnTo>
                  <a:lnTo>
                    <a:pt x="658" y="818"/>
                  </a:lnTo>
                  <a:lnTo>
                    <a:pt x="912" y="818"/>
                  </a:lnTo>
                  <a:lnTo>
                    <a:pt x="912" y="0"/>
                  </a:lnTo>
                  <a:lnTo>
                    <a:pt x="876" y="0"/>
                  </a:lnTo>
                  <a:lnTo>
                    <a:pt x="876" y="204"/>
                  </a:lnTo>
                  <a:lnTo>
                    <a:pt x="872" y="204"/>
                  </a:lnTo>
                  <a:lnTo>
                    <a:pt x="872" y="319"/>
                  </a:lnTo>
                  <a:lnTo>
                    <a:pt x="864" y="319"/>
                  </a:lnTo>
                  <a:lnTo>
                    <a:pt x="864" y="413"/>
                  </a:lnTo>
                  <a:lnTo>
                    <a:pt x="860" y="413"/>
                  </a:lnTo>
                  <a:lnTo>
                    <a:pt x="860" y="497"/>
                  </a:lnTo>
                  <a:lnTo>
                    <a:pt x="854" y="497"/>
                  </a:lnTo>
                  <a:lnTo>
                    <a:pt x="854" y="539"/>
                  </a:lnTo>
                  <a:lnTo>
                    <a:pt x="850" y="539"/>
                  </a:lnTo>
                  <a:lnTo>
                    <a:pt x="850" y="567"/>
                  </a:lnTo>
                  <a:lnTo>
                    <a:pt x="844" y="567"/>
                  </a:lnTo>
                  <a:lnTo>
                    <a:pt x="844" y="569"/>
                  </a:lnTo>
                  <a:lnTo>
                    <a:pt x="836" y="569"/>
                  </a:lnTo>
                  <a:lnTo>
                    <a:pt x="836" y="593"/>
                  </a:lnTo>
                  <a:lnTo>
                    <a:pt x="834" y="593"/>
                  </a:lnTo>
                  <a:lnTo>
                    <a:pt x="834" y="597"/>
                  </a:lnTo>
                  <a:lnTo>
                    <a:pt x="820" y="597"/>
                  </a:lnTo>
                  <a:lnTo>
                    <a:pt x="820" y="603"/>
                  </a:lnTo>
                  <a:lnTo>
                    <a:pt x="816" y="603"/>
                  </a:lnTo>
                  <a:lnTo>
                    <a:pt x="816" y="617"/>
                  </a:lnTo>
                  <a:lnTo>
                    <a:pt x="812" y="617"/>
                  </a:lnTo>
                  <a:lnTo>
                    <a:pt x="812" y="623"/>
                  </a:lnTo>
                  <a:lnTo>
                    <a:pt x="808" y="623"/>
                  </a:lnTo>
                  <a:lnTo>
                    <a:pt x="802" y="623"/>
                  </a:lnTo>
                  <a:lnTo>
                    <a:pt x="802" y="635"/>
                  </a:lnTo>
                  <a:lnTo>
                    <a:pt x="796" y="635"/>
                  </a:lnTo>
                  <a:lnTo>
                    <a:pt x="796" y="651"/>
                  </a:lnTo>
                  <a:lnTo>
                    <a:pt x="792" y="651"/>
                  </a:lnTo>
                  <a:lnTo>
                    <a:pt x="792" y="657"/>
                  </a:lnTo>
                  <a:lnTo>
                    <a:pt x="786" y="657"/>
                  </a:lnTo>
                  <a:lnTo>
                    <a:pt x="786" y="669"/>
                  </a:lnTo>
                  <a:lnTo>
                    <a:pt x="780" y="669"/>
                  </a:lnTo>
                  <a:lnTo>
                    <a:pt x="780" y="687"/>
                  </a:lnTo>
                  <a:lnTo>
                    <a:pt x="776" y="687"/>
                  </a:lnTo>
                  <a:lnTo>
                    <a:pt x="776" y="695"/>
                  </a:lnTo>
                  <a:lnTo>
                    <a:pt x="770" y="695"/>
                  </a:lnTo>
                  <a:lnTo>
                    <a:pt x="770" y="706"/>
                  </a:lnTo>
                  <a:lnTo>
                    <a:pt x="766" y="706"/>
                  </a:lnTo>
                  <a:lnTo>
                    <a:pt x="766" y="710"/>
                  </a:lnTo>
                  <a:lnTo>
                    <a:pt x="760" y="710"/>
                  </a:lnTo>
                  <a:lnTo>
                    <a:pt x="760" y="720"/>
                  </a:lnTo>
                  <a:lnTo>
                    <a:pt x="754" y="720"/>
                  </a:lnTo>
                  <a:lnTo>
                    <a:pt x="754" y="726"/>
                  </a:lnTo>
                  <a:lnTo>
                    <a:pt x="752" y="726"/>
                  </a:lnTo>
                  <a:lnTo>
                    <a:pt x="752" y="730"/>
                  </a:lnTo>
                  <a:lnTo>
                    <a:pt x="744" y="730"/>
                  </a:lnTo>
                  <a:lnTo>
                    <a:pt x="744" y="734"/>
                  </a:lnTo>
                  <a:lnTo>
                    <a:pt x="740" y="734"/>
                  </a:lnTo>
                  <a:lnTo>
                    <a:pt x="740" y="736"/>
                  </a:lnTo>
                  <a:lnTo>
                    <a:pt x="738" y="736"/>
                  </a:lnTo>
                  <a:lnTo>
                    <a:pt x="738" y="740"/>
                  </a:lnTo>
                  <a:lnTo>
                    <a:pt x="734" y="740"/>
                  </a:lnTo>
                  <a:lnTo>
                    <a:pt x="734" y="744"/>
                  </a:lnTo>
                  <a:lnTo>
                    <a:pt x="730" y="744"/>
                  </a:lnTo>
                  <a:lnTo>
                    <a:pt x="730" y="768"/>
                  </a:lnTo>
                  <a:lnTo>
                    <a:pt x="724" y="768"/>
                  </a:lnTo>
                  <a:lnTo>
                    <a:pt x="724" y="772"/>
                  </a:lnTo>
                  <a:lnTo>
                    <a:pt x="720" y="772"/>
                  </a:lnTo>
                  <a:lnTo>
                    <a:pt x="720" y="778"/>
                  </a:lnTo>
                  <a:lnTo>
                    <a:pt x="714" y="778"/>
                  </a:lnTo>
                  <a:lnTo>
                    <a:pt x="714" y="786"/>
                  </a:lnTo>
                  <a:lnTo>
                    <a:pt x="710" y="786"/>
                  </a:lnTo>
                  <a:lnTo>
                    <a:pt x="710" y="788"/>
                  </a:lnTo>
                  <a:lnTo>
                    <a:pt x="706" y="788"/>
                  </a:lnTo>
                  <a:lnTo>
                    <a:pt x="706" y="790"/>
                  </a:lnTo>
                  <a:lnTo>
                    <a:pt x="700" y="790"/>
                  </a:lnTo>
                  <a:lnTo>
                    <a:pt x="700" y="796"/>
                  </a:lnTo>
                  <a:lnTo>
                    <a:pt x="694" y="796"/>
                  </a:lnTo>
                  <a:lnTo>
                    <a:pt x="694" y="800"/>
                  </a:lnTo>
                  <a:lnTo>
                    <a:pt x="682" y="800"/>
                  </a:lnTo>
                  <a:lnTo>
                    <a:pt x="682" y="810"/>
                  </a:lnTo>
                  <a:lnTo>
                    <a:pt x="676" y="810"/>
                  </a:lnTo>
                  <a:lnTo>
                    <a:pt x="676" y="818"/>
                  </a:lnTo>
                  <a:lnTo>
                    <a:pt x="0" y="818"/>
                  </a:lnTo>
                  <a:lnTo>
                    <a:pt x="0" y="1359"/>
                  </a:lnTo>
                  <a:lnTo>
                    <a:pt x="0" y="1359"/>
                  </a:lnTo>
                  <a:close/>
                </a:path>
              </a:pathLst>
            </a:custGeom>
            <a:solidFill>
              <a:srgbClr val="0076A9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3875768-4010-8229-5462-50A06E30ADDD}"/>
                </a:ext>
              </a:extLst>
            </p:cNvPr>
            <p:cNvSpPr txBox="1"/>
            <p:nvPr/>
          </p:nvSpPr>
          <p:spPr>
            <a:xfrm>
              <a:off x="8319884" y="1504360"/>
              <a:ext cx="1509715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342900">
                <a:defRPr/>
              </a:pPr>
              <a:r>
                <a:rPr lang="en-US" sz="750" b="1" err="1">
                  <a:solidFill>
                    <a:prstClr val="black"/>
                  </a:solidFill>
                  <a:latin typeface="Arial" panose="020B0604020202020204" pitchFamily="34" charset="0"/>
                </a:rPr>
                <a:t>JAKi</a:t>
              </a:r>
              <a:r>
                <a:rPr lang="en-US" sz="750" b="1">
                  <a:solidFill>
                    <a:prstClr val="black"/>
                  </a:solidFill>
                  <a:latin typeface="Arial" panose="020B0604020202020204" pitchFamily="34" charset="0"/>
                </a:rPr>
                <a:t>-Naïve</a:t>
              </a:r>
            </a:p>
            <a:p>
              <a:pPr algn="ctr" defTabSz="342900">
                <a:defRPr/>
              </a:pPr>
              <a:r>
                <a:rPr lang="en-US" sz="750" b="1">
                  <a:solidFill>
                    <a:prstClr val="black"/>
                  </a:solidFill>
                  <a:latin typeface="Arial" panose="020B0604020202020204" pitchFamily="34" charset="0"/>
                </a:rPr>
                <a:t>(SIMPLIFY-1)</a:t>
              </a:r>
            </a:p>
            <a:p>
              <a:pPr algn="ctr" defTabSz="342900">
                <a:defRPr/>
              </a:pPr>
              <a:endParaRPr lang="en-US" sz="750" b="1">
                <a:solidFill>
                  <a:prstClr val="black"/>
                </a:solidFill>
                <a:latin typeface="Arial" panose="020B0604020202020204" pitchFamily="34" charset="0"/>
              </a:endParaRPr>
            </a:p>
            <a:p>
              <a:pPr algn="ctr" defTabSz="342900">
                <a:defRPr/>
              </a:pPr>
              <a:r>
                <a:rPr lang="en-US" sz="750" b="1">
                  <a:solidFill>
                    <a:prstClr val="black"/>
                  </a:solidFill>
                  <a:latin typeface="Arial" panose="020B0604020202020204" pitchFamily="34" charset="0"/>
                </a:rPr>
                <a:t>Momelotinib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312F934-D921-D40F-E093-BFF527A61B4B}"/>
                </a:ext>
              </a:extLst>
            </p:cNvPr>
            <p:cNvSpPr txBox="1"/>
            <p:nvPr/>
          </p:nvSpPr>
          <p:spPr>
            <a:xfrm>
              <a:off x="8500367" y="2408481"/>
              <a:ext cx="1152331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 defTabSz="342900">
                <a:defRPr/>
              </a:pPr>
              <a:r>
                <a:rPr lang="en-US" sz="750" b="1">
                  <a:solidFill>
                    <a:prstClr val="black"/>
                  </a:solidFill>
                  <a:latin typeface="Arial" panose="020B0604020202020204" pitchFamily="34" charset="0"/>
                </a:rPr>
                <a:t>28% TSS</a:t>
              </a:r>
            </a:p>
            <a:p>
              <a:pPr algn="ctr" defTabSz="342900">
                <a:defRPr/>
              </a:pPr>
              <a:r>
                <a:rPr lang="en-US" sz="750" b="1">
                  <a:solidFill>
                    <a:prstClr val="black"/>
                  </a:solidFill>
                  <a:latin typeface="Arial" panose="020B0604020202020204" pitchFamily="34" charset="0"/>
                </a:rPr>
                <a:t>Response Rate</a:t>
              </a:r>
              <a:r>
                <a:rPr lang="en-US" sz="750">
                  <a:solidFill>
                    <a:prstClr val="black"/>
                  </a:solidFill>
                  <a:latin typeface="Arial" panose="020B0604020202020204" pitchFamily="34" charset="0"/>
                </a:rPr>
                <a:t> </a:t>
              </a:r>
            </a:p>
            <a:p>
              <a:pPr algn="ctr" defTabSz="342900">
                <a:defRPr/>
              </a:pPr>
              <a:r>
                <a:rPr lang="en-US" sz="750">
                  <a:solidFill>
                    <a:prstClr val="black"/>
                  </a:solidFill>
                  <a:latin typeface="Arial" panose="020B0604020202020204" pitchFamily="34" charset="0"/>
                </a:rPr>
                <a:t>(60/211)</a:t>
              </a:r>
            </a:p>
          </p:txBody>
        </p:sp>
        <p:sp>
          <p:nvSpPr>
            <p:cNvPr id="71" name="Line 39">
              <a:extLst>
                <a:ext uri="{FF2B5EF4-FFF2-40B4-BE49-F238E27FC236}">
                  <a16:creationId xmlns:a16="http://schemas.microsoft.com/office/drawing/2014/main" id="{18350053-8046-F2F1-82D8-704E05F2FF4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258175" y="3862388"/>
              <a:ext cx="635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2" name="Line 40">
              <a:extLst>
                <a:ext uri="{FF2B5EF4-FFF2-40B4-BE49-F238E27FC236}">
                  <a16:creationId xmlns:a16="http://schemas.microsoft.com/office/drawing/2014/main" id="{08572B58-2CF8-38C6-C5D1-C1AEBD96169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321675" y="3862388"/>
              <a:ext cx="1509713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3" name="Line 41">
              <a:extLst>
                <a:ext uri="{FF2B5EF4-FFF2-40B4-BE49-F238E27FC236}">
                  <a16:creationId xmlns:a16="http://schemas.microsoft.com/office/drawing/2014/main" id="{A5C9AAEA-0006-AC5B-80E6-4765FED53E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321675" y="3430588"/>
              <a:ext cx="1509713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4" name="Line 42">
              <a:extLst>
                <a:ext uri="{FF2B5EF4-FFF2-40B4-BE49-F238E27FC236}">
                  <a16:creationId xmlns:a16="http://schemas.microsoft.com/office/drawing/2014/main" id="{6D1777A0-0157-1843-F813-5FA4DDB6FA4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258175" y="3430588"/>
              <a:ext cx="635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5" name="Line 43">
              <a:extLst>
                <a:ext uri="{FF2B5EF4-FFF2-40B4-BE49-F238E27FC236}">
                  <a16:creationId xmlns:a16="http://schemas.microsoft.com/office/drawing/2014/main" id="{4B41B1DA-43C4-54A8-AE0E-ECD7CD689E8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258175" y="2997201"/>
              <a:ext cx="635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6" name="Line 44">
              <a:extLst>
                <a:ext uri="{FF2B5EF4-FFF2-40B4-BE49-F238E27FC236}">
                  <a16:creationId xmlns:a16="http://schemas.microsoft.com/office/drawing/2014/main" id="{F8650BF5-4D81-EE91-4433-DD87049651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258175" y="2565401"/>
              <a:ext cx="635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7" name="Line 45">
              <a:extLst>
                <a:ext uri="{FF2B5EF4-FFF2-40B4-BE49-F238E27FC236}">
                  <a16:creationId xmlns:a16="http://schemas.microsoft.com/office/drawing/2014/main" id="{97FDBFD7-69FD-B7C8-7524-FFDBBDD6900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258175" y="2132013"/>
              <a:ext cx="635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78" name="Line 46">
              <a:extLst>
                <a:ext uri="{FF2B5EF4-FFF2-40B4-BE49-F238E27FC236}">
                  <a16:creationId xmlns:a16="http://schemas.microsoft.com/office/drawing/2014/main" id="{B08A7E65-667B-11B5-355C-AE222A83FFE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258175" y="4295776"/>
              <a:ext cx="63500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AB34A978-C9C9-0025-8703-07942B1FB848}"/>
                </a:ext>
              </a:extLst>
            </p:cNvPr>
            <p:cNvSpPr txBox="1"/>
            <p:nvPr/>
          </p:nvSpPr>
          <p:spPr>
            <a:xfrm rot="16200000">
              <a:off x="6771257" y="3137690"/>
              <a:ext cx="2163758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ct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Change in TSS From Baseline (%) 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5E535488-F327-53D9-387E-889C0BF85CD7}"/>
                </a:ext>
              </a:extLst>
            </p:cNvPr>
            <p:cNvSpPr txBox="1"/>
            <p:nvPr/>
          </p:nvSpPr>
          <p:spPr>
            <a:xfrm>
              <a:off x="7947183" y="2051844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150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63109398-5F61-F8DE-BBEF-21DC13BB2567}"/>
                </a:ext>
              </a:extLst>
            </p:cNvPr>
            <p:cNvSpPr txBox="1"/>
            <p:nvPr/>
          </p:nvSpPr>
          <p:spPr>
            <a:xfrm>
              <a:off x="7947183" y="2483903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100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522A9DB3-EC10-ED93-086D-2C7437421CAC}"/>
                </a:ext>
              </a:extLst>
            </p:cNvPr>
            <p:cNvSpPr txBox="1"/>
            <p:nvPr/>
          </p:nvSpPr>
          <p:spPr>
            <a:xfrm>
              <a:off x="7947183" y="2915962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50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6015AFA5-1649-02AB-C316-2D0F35A3B531}"/>
                </a:ext>
              </a:extLst>
            </p:cNvPr>
            <p:cNvSpPr txBox="1"/>
            <p:nvPr/>
          </p:nvSpPr>
          <p:spPr>
            <a:xfrm>
              <a:off x="7947183" y="3348021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0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5AFE209A-FBF2-ADAE-0A72-E3507C06330F}"/>
                </a:ext>
              </a:extLst>
            </p:cNvPr>
            <p:cNvSpPr txBox="1"/>
            <p:nvPr/>
          </p:nvSpPr>
          <p:spPr>
            <a:xfrm>
              <a:off x="7947183" y="3780080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–5</a:t>
              </a:r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0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AEBE01BC-D91D-2867-0322-9AB0381106F6}"/>
                </a:ext>
              </a:extLst>
            </p:cNvPr>
            <p:cNvSpPr txBox="1"/>
            <p:nvPr/>
          </p:nvSpPr>
          <p:spPr>
            <a:xfrm>
              <a:off x="7947183" y="4212138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–100</a:t>
              </a:r>
            </a:p>
          </p:txBody>
        </p:sp>
        <p:sp>
          <p:nvSpPr>
            <p:cNvPr id="70" name="Line 38">
              <a:extLst>
                <a:ext uri="{FF2B5EF4-FFF2-40B4-BE49-F238E27FC236}">
                  <a16:creationId xmlns:a16="http://schemas.microsoft.com/office/drawing/2014/main" id="{DC24127F-E0CF-6148-9BF9-4CF708A49D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21675" y="2132013"/>
              <a:ext cx="0" cy="2163763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2C83A1B1-6CBE-43B8-ED8E-1F10444FB1C2}"/>
              </a:ext>
            </a:extLst>
          </p:cNvPr>
          <p:cNvGrpSpPr/>
          <p:nvPr/>
        </p:nvGrpSpPr>
        <p:grpSpPr>
          <a:xfrm>
            <a:off x="9056532" y="1964866"/>
            <a:ext cx="1469957" cy="2152811"/>
            <a:chOff x="9995744" y="1499680"/>
            <a:chExt cx="1959943" cy="2870414"/>
          </a:xfrm>
        </p:grpSpPr>
        <p:sp>
          <p:nvSpPr>
            <p:cNvPr id="91" name="Freeform 59">
              <a:extLst>
                <a:ext uri="{FF2B5EF4-FFF2-40B4-BE49-F238E27FC236}">
                  <a16:creationId xmlns:a16="http://schemas.microsoft.com/office/drawing/2014/main" id="{B34F13DA-4BE5-1E6F-0936-18BBD59B36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70344" y="2125663"/>
              <a:ext cx="1473200" cy="2160588"/>
            </a:xfrm>
            <a:custGeom>
              <a:avLst/>
              <a:gdLst>
                <a:gd name="T0" fmla="*/ 14 w 928"/>
                <a:gd name="T1" fmla="*/ 1361 h 1361"/>
                <a:gd name="T2" fmla="*/ 24 w 928"/>
                <a:gd name="T3" fmla="*/ 1351 h 1361"/>
                <a:gd name="T4" fmla="*/ 38 w 928"/>
                <a:gd name="T5" fmla="*/ 1327 h 1361"/>
                <a:gd name="T6" fmla="*/ 40 w 928"/>
                <a:gd name="T7" fmla="*/ 1315 h 1361"/>
                <a:gd name="T8" fmla="*/ 58 w 928"/>
                <a:gd name="T9" fmla="*/ 1305 h 1361"/>
                <a:gd name="T10" fmla="*/ 74 w 928"/>
                <a:gd name="T11" fmla="*/ 1301 h 1361"/>
                <a:gd name="T12" fmla="*/ 84 w 928"/>
                <a:gd name="T13" fmla="*/ 1289 h 1361"/>
                <a:gd name="T14" fmla="*/ 100 w 928"/>
                <a:gd name="T15" fmla="*/ 1279 h 1361"/>
                <a:gd name="T16" fmla="*/ 110 w 928"/>
                <a:gd name="T17" fmla="*/ 1273 h 1361"/>
                <a:gd name="T18" fmla="*/ 134 w 928"/>
                <a:gd name="T19" fmla="*/ 1271 h 1361"/>
                <a:gd name="T20" fmla="*/ 172 w 928"/>
                <a:gd name="T21" fmla="*/ 1267 h 1361"/>
                <a:gd name="T22" fmla="*/ 186 w 928"/>
                <a:gd name="T23" fmla="*/ 1265 h 1361"/>
                <a:gd name="T24" fmla="*/ 196 w 928"/>
                <a:gd name="T25" fmla="*/ 1235 h 1361"/>
                <a:gd name="T26" fmla="*/ 212 w 928"/>
                <a:gd name="T27" fmla="*/ 1231 h 1361"/>
                <a:gd name="T28" fmla="*/ 246 w 928"/>
                <a:gd name="T29" fmla="*/ 1215 h 1361"/>
                <a:gd name="T30" fmla="*/ 272 w 928"/>
                <a:gd name="T31" fmla="*/ 1213 h 1361"/>
                <a:gd name="T32" fmla="*/ 284 w 928"/>
                <a:gd name="T33" fmla="*/ 1207 h 1361"/>
                <a:gd name="T34" fmla="*/ 298 w 928"/>
                <a:gd name="T35" fmla="*/ 1201 h 1361"/>
                <a:gd name="T36" fmla="*/ 308 w 928"/>
                <a:gd name="T37" fmla="*/ 1189 h 1361"/>
                <a:gd name="T38" fmla="*/ 346 w 928"/>
                <a:gd name="T39" fmla="*/ 1185 h 1361"/>
                <a:gd name="T40" fmla="*/ 368 w 928"/>
                <a:gd name="T41" fmla="*/ 1181 h 1361"/>
                <a:gd name="T42" fmla="*/ 396 w 928"/>
                <a:gd name="T43" fmla="*/ 1169 h 1361"/>
                <a:gd name="T44" fmla="*/ 408 w 928"/>
                <a:gd name="T45" fmla="*/ 1164 h 1361"/>
                <a:gd name="T46" fmla="*/ 418 w 928"/>
                <a:gd name="T47" fmla="*/ 1160 h 1361"/>
                <a:gd name="T48" fmla="*/ 434 w 928"/>
                <a:gd name="T49" fmla="*/ 1156 h 1361"/>
                <a:gd name="T50" fmla="*/ 444 w 928"/>
                <a:gd name="T51" fmla="*/ 1152 h 1361"/>
                <a:gd name="T52" fmla="*/ 456 w 928"/>
                <a:gd name="T53" fmla="*/ 1140 h 1361"/>
                <a:gd name="T54" fmla="*/ 494 w 928"/>
                <a:gd name="T55" fmla="*/ 1106 h 1361"/>
                <a:gd name="T56" fmla="*/ 504 w 928"/>
                <a:gd name="T57" fmla="*/ 1098 h 1361"/>
                <a:gd name="T58" fmla="*/ 518 w 928"/>
                <a:gd name="T59" fmla="*/ 1086 h 1361"/>
                <a:gd name="T60" fmla="*/ 530 w 928"/>
                <a:gd name="T61" fmla="*/ 1080 h 1361"/>
                <a:gd name="T62" fmla="*/ 544 w 928"/>
                <a:gd name="T63" fmla="*/ 1054 h 1361"/>
                <a:gd name="T64" fmla="*/ 556 w 928"/>
                <a:gd name="T65" fmla="*/ 1040 h 1361"/>
                <a:gd name="T66" fmla="*/ 568 w 928"/>
                <a:gd name="T67" fmla="*/ 1034 h 1361"/>
                <a:gd name="T68" fmla="*/ 580 w 928"/>
                <a:gd name="T69" fmla="*/ 1022 h 1361"/>
                <a:gd name="T70" fmla="*/ 606 w 928"/>
                <a:gd name="T71" fmla="*/ 1016 h 1361"/>
                <a:gd name="T72" fmla="*/ 928 w 928"/>
                <a:gd name="T73" fmla="*/ 0 h 1361"/>
                <a:gd name="T74" fmla="*/ 904 w 928"/>
                <a:gd name="T75" fmla="*/ 86 h 1361"/>
                <a:gd name="T76" fmla="*/ 890 w 928"/>
                <a:gd name="T77" fmla="*/ 391 h 1361"/>
                <a:gd name="T78" fmla="*/ 880 w 928"/>
                <a:gd name="T79" fmla="*/ 655 h 1361"/>
                <a:gd name="T80" fmla="*/ 868 w 928"/>
                <a:gd name="T81" fmla="*/ 736 h 1361"/>
                <a:gd name="T82" fmla="*/ 854 w 928"/>
                <a:gd name="T83" fmla="*/ 768 h 1361"/>
                <a:gd name="T84" fmla="*/ 842 w 928"/>
                <a:gd name="T85" fmla="*/ 780 h 1361"/>
                <a:gd name="T86" fmla="*/ 828 w 928"/>
                <a:gd name="T87" fmla="*/ 838 h 1361"/>
                <a:gd name="T88" fmla="*/ 818 w 928"/>
                <a:gd name="T89" fmla="*/ 854 h 1361"/>
                <a:gd name="T90" fmla="*/ 804 w 928"/>
                <a:gd name="T91" fmla="*/ 864 h 1361"/>
                <a:gd name="T92" fmla="*/ 792 w 928"/>
                <a:gd name="T93" fmla="*/ 878 h 1361"/>
                <a:gd name="T94" fmla="*/ 768 w 928"/>
                <a:gd name="T95" fmla="*/ 896 h 1361"/>
                <a:gd name="T96" fmla="*/ 742 w 928"/>
                <a:gd name="T97" fmla="*/ 936 h 1361"/>
                <a:gd name="T98" fmla="*/ 732 w 928"/>
                <a:gd name="T99" fmla="*/ 952 h 1361"/>
                <a:gd name="T100" fmla="*/ 718 w 928"/>
                <a:gd name="T101" fmla="*/ 960 h 1361"/>
                <a:gd name="T102" fmla="*/ 692 w 928"/>
                <a:gd name="T103" fmla="*/ 978 h 1361"/>
                <a:gd name="T104" fmla="*/ 680 w 928"/>
                <a:gd name="T105" fmla="*/ 982 h 1361"/>
                <a:gd name="T106" fmla="*/ 668 w 928"/>
                <a:gd name="T107" fmla="*/ 992 h 1361"/>
                <a:gd name="T108" fmla="*/ 656 w 928"/>
                <a:gd name="T109" fmla="*/ 998 h 1361"/>
                <a:gd name="T110" fmla="*/ 646 w 928"/>
                <a:gd name="T111" fmla="*/ 1004 h 1361"/>
                <a:gd name="T112" fmla="*/ 632 w 928"/>
                <a:gd name="T113" fmla="*/ 1016 h 1361"/>
                <a:gd name="T114" fmla="*/ 0 w 928"/>
                <a:gd name="T115" fmla="*/ 1361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28" h="1361">
                  <a:moveTo>
                    <a:pt x="0" y="1361"/>
                  </a:moveTo>
                  <a:lnTo>
                    <a:pt x="14" y="1361"/>
                  </a:lnTo>
                  <a:lnTo>
                    <a:pt x="14" y="1351"/>
                  </a:lnTo>
                  <a:lnTo>
                    <a:pt x="24" y="1351"/>
                  </a:lnTo>
                  <a:lnTo>
                    <a:pt x="24" y="1327"/>
                  </a:lnTo>
                  <a:lnTo>
                    <a:pt x="38" y="1327"/>
                  </a:lnTo>
                  <a:lnTo>
                    <a:pt x="38" y="1315"/>
                  </a:lnTo>
                  <a:lnTo>
                    <a:pt x="40" y="1315"/>
                  </a:lnTo>
                  <a:lnTo>
                    <a:pt x="58" y="1315"/>
                  </a:lnTo>
                  <a:lnTo>
                    <a:pt x="58" y="1305"/>
                  </a:lnTo>
                  <a:lnTo>
                    <a:pt x="74" y="1305"/>
                  </a:lnTo>
                  <a:lnTo>
                    <a:pt x="74" y="1301"/>
                  </a:lnTo>
                  <a:lnTo>
                    <a:pt x="84" y="1301"/>
                  </a:lnTo>
                  <a:lnTo>
                    <a:pt x="84" y="1289"/>
                  </a:lnTo>
                  <a:lnTo>
                    <a:pt x="100" y="1289"/>
                  </a:lnTo>
                  <a:lnTo>
                    <a:pt x="100" y="1279"/>
                  </a:lnTo>
                  <a:lnTo>
                    <a:pt x="110" y="1279"/>
                  </a:lnTo>
                  <a:lnTo>
                    <a:pt x="110" y="1273"/>
                  </a:lnTo>
                  <a:lnTo>
                    <a:pt x="134" y="1273"/>
                  </a:lnTo>
                  <a:lnTo>
                    <a:pt x="134" y="1271"/>
                  </a:lnTo>
                  <a:lnTo>
                    <a:pt x="172" y="1271"/>
                  </a:lnTo>
                  <a:lnTo>
                    <a:pt x="172" y="1267"/>
                  </a:lnTo>
                  <a:lnTo>
                    <a:pt x="186" y="1267"/>
                  </a:lnTo>
                  <a:lnTo>
                    <a:pt x="186" y="1265"/>
                  </a:lnTo>
                  <a:lnTo>
                    <a:pt x="196" y="1265"/>
                  </a:lnTo>
                  <a:lnTo>
                    <a:pt x="196" y="1235"/>
                  </a:lnTo>
                  <a:lnTo>
                    <a:pt x="212" y="1235"/>
                  </a:lnTo>
                  <a:lnTo>
                    <a:pt x="212" y="1231"/>
                  </a:lnTo>
                  <a:lnTo>
                    <a:pt x="246" y="1231"/>
                  </a:lnTo>
                  <a:lnTo>
                    <a:pt x="246" y="1215"/>
                  </a:lnTo>
                  <a:lnTo>
                    <a:pt x="272" y="1215"/>
                  </a:lnTo>
                  <a:lnTo>
                    <a:pt x="272" y="1213"/>
                  </a:lnTo>
                  <a:lnTo>
                    <a:pt x="284" y="1213"/>
                  </a:lnTo>
                  <a:lnTo>
                    <a:pt x="284" y="1207"/>
                  </a:lnTo>
                  <a:lnTo>
                    <a:pt x="298" y="1207"/>
                  </a:lnTo>
                  <a:lnTo>
                    <a:pt x="298" y="1201"/>
                  </a:lnTo>
                  <a:lnTo>
                    <a:pt x="308" y="1201"/>
                  </a:lnTo>
                  <a:lnTo>
                    <a:pt x="308" y="1189"/>
                  </a:lnTo>
                  <a:lnTo>
                    <a:pt x="346" y="1189"/>
                  </a:lnTo>
                  <a:lnTo>
                    <a:pt x="346" y="1185"/>
                  </a:lnTo>
                  <a:lnTo>
                    <a:pt x="368" y="1185"/>
                  </a:lnTo>
                  <a:lnTo>
                    <a:pt x="368" y="1181"/>
                  </a:lnTo>
                  <a:lnTo>
                    <a:pt x="396" y="1181"/>
                  </a:lnTo>
                  <a:lnTo>
                    <a:pt x="396" y="1169"/>
                  </a:lnTo>
                  <a:lnTo>
                    <a:pt x="408" y="1169"/>
                  </a:lnTo>
                  <a:lnTo>
                    <a:pt x="408" y="1164"/>
                  </a:lnTo>
                  <a:lnTo>
                    <a:pt x="418" y="1164"/>
                  </a:lnTo>
                  <a:lnTo>
                    <a:pt x="418" y="1160"/>
                  </a:lnTo>
                  <a:lnTo>
                    <a:pt x="434" y="1160"/>
                  </a:lnTo>
                  <a:lnTo>
                    <a:pt x="434" y="1156"/>
                  </a:lnTo>
                  <a:lnTo>
                    <a:pt x="444" y="1156"/>
                  </a:lnTo>
                  <a:lnTo>
                    <a:pt x="444" y="1152"/>
                  </a:lnTo>
                  <a:lnTo>
                    <a:pt x="456" y="1152"/>
                  </a:lnTo>
                  <a:lnTo>
                    <a:pt x="456" y="1140"/>
                  </a:lnTo>
                  <a:lnTo>
                    <a:pt x="494" y="1140"/>
                  </a:lnTo>
                  <a:lnTo>
                    <a:pt x="494" y="1106"/>
                  </a:lnTo>
                  <a:lnTo>
                    <a:pt x="504" y="1106"/>
                  </a:lnTo>
                  <a:lnTo>
                    <a:pt x="504" y="1098"/>
                  </a:lnTo>
                  <a:lnTo>
                    <a:pt x="518" y="1098"/>
                  </a:lnTo>
                  <a:lnTo>
                    <a:pt x="518" y="1086"/>
                  </a:lnTo>
                  <a:lnTo>
                    <a:pt x="530" y="1086"/>
                  </a:lnTo>
                  <a:lnTo>
                    <a:pt x="530" y="1080"/>
                  </a:lnTo>
                  <a:lnTo>
                    <a:pt x="544" y="1080"/>
                  </a:lnTo>
                  <a:lnTo>
                    <a:pt x="544" y="1054"/>
                  </a:lnTo>
                  <a:lnTo>
                    <a:pt x="556" y="1054"/>
                  </a:lnTo>
                  <a:lnTo>
                    <a:pt x="556" y="1040"/>
                  </a:lnTo>
                  <a:lnTo>
                    <a:pt x="568" y="1040"/>
                  </a:lnTo>
                  <a:lnTo>
                    <a:pt x="568" y="1034"/>
                  </a:lnTo>
                  <a:lnTo>
                    <a:pt x="580" y="1034"/>
                  </a:lnTo>
                  <a:lnTo>
                    <a:pt x="580" y="1022"/>
                  </a:lnTo>
                  <a:lnTo>
                    <a:pt x="606" y="1022"/>
                  </a:lnTo>
                  <a:lnTo>
                    <a:pt x="606" y="1016"/>
                  </a:lnTo>
                  <a:lnTo>
                    <a:pt x="928" y="1016"/>
                  </a:lnTo>
                  <a:lnTo>
                    <a:pt x="928" y="0"/>
                  </a:lnTo>
                  <a:lnTo>
                    <a:pt x="904" y="0"/>
                  </a:lnTo>
                  <a:lnTo>
                    <a:pt x="904" y="86"/>
                  </a:lnTo>
                  <a:lnTo>
                    <a:pt x="890" y="86"/>
                  </a:lnTo>
                  <a:lnTo>
                    <a:pt x="890" y="391"/>
                  </a:lnTo>
                  <a:lnTo>
                    <a:pt x="880" y="391"/>
                  </a:lnTo>
                  <a:lnTo>
                    <a:pt x="880" y="655"/>
                  </a:lnTo>
                  <a:lnTo>
                    <a:pt x="868" y="655"/>
                  </a:lnTo>
                  <a:lnTo>
                    <a:pt x="868" y="736"/>
                  </a:lnTo>
                  <a:lnTo>
                    <a:pt x="854" y="736"/>
                  </a:lnTo>
                  <a:lnTo>
                    <a:pt x="854" y="768"/>
                  </a:lnTo>
                  <a:lnTo>
                    <a:pt x="842" y="768"/>
                  </a:lnTo>
                  <a:lnTo>
                    <a:pt x="842" y="780"/>
                  </a:lnTo>
                  <a:lnTo>
                    <a:pt x="828" y="780"/>
                  </a:lnTo>
                  <a:lnTo>
                    <a:pt x="828" y="838"/>
                  </a:lnTo>
                  <a:lnTo>
                    <a:pt x="818" y="838"/>
                  </a:lnTo>
                  <a:lnTo>
                    <a:pt x="818" y="854"/>
                  </a:lnTo>
                  <a:lnTo>
                    <a:pt x="804" y="854"/>
                  </a:lnTo>
                  <a:lnTo>
                    <a:pt x="804" y="864"/>
                  </a:lnTo>
                  <a:lnTo>
                    <a:pt x="792" y="864"/>
                  </a:lnTo>
                  <a:lnTo>
                    <a:pt x="792" y="878"/>
                  </a:lnTo>
                  <a:lnTo>
                    <a:pt x="768" y="878"/>
                  </a:lnTo>
                  <a:lnTo>
                    <a:pt x="768" y="896"/>
                  </a:lnTo>
                  <a:lnTo>
                    <a:pt x="742" y="896"/>
                  </a:lnTo>
                  <a:lnTo>
                    <a:pt x="742" y="936"/>
                  </a:lnTo>
                  <a:lnTo>
                    <a:pt x="732" y="936"/>
                  </a:lnTo>
                  <a:lnTo>
                    <a:pt x="732" y="952"/>
                  </a:lnTo>
                  <a:lnTo>
                    <a:pt x="718" y="952"/>
                  </a:lnTo>
                  <a:lnTo>
                    <a:pt x="718" y="960"/>
                  </a:lnTo>
                  <a:lnTo>
                    <a:pt x="692" y="960"/>
                  </a:lnTo>
                  <a:lnTo>
                    <a:pt x="692" y="978"/>
                  </a:lnTo>
                  <a:lnTo>
                    <a:pt x="680" y="978"/>
                  </a:lnTo>
                  <a:lnTo>
                    <a:pt x="680" y="982"/>
                  </a:lnTo>
                  <a:lnTo>
                    <a:pt x="668" y="982"/>
                  </a:lnTo>
                  <a:lnTo>
                    <a:pt x="668" y="992"/>
                  </a:lnTo>
                  <a:lnTo>
                    <a:pt x="656" y="992"/>
                  </a:lnTo>
                  <a:lnTo>
                    <a:pt x="656" y="998"/>
                  </a:lnTo>
                  <a:lnTo>
                    <a:pt x="646" y="998"/>
                  </a:lnTo>
                  <a:lnTo>
                    <a:pt x="646" y="1004"/>
                  </a:lnTo>
                  <a:lnTo>
                    <a:pt x="632" y="1004"/>
                  </a:lnTo>
                  <a:lnTo>
                    <a:pt x="632" y="1016"/>
                  </a:lnTo>
                  <a:lnTo>
                    <a:pt x="0" y="1016"/>
                  </a:lnTo>
                  <a:lnTo>
                    <a:pt x="0" y="1361"/>
                  </a:lnTo>
                  <a:close/>
                </a:path>
              </a:pathLst>
            </a:custGeom>
            <a:solidFill>
              <a:srgbClr val="0076A9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BC483B1-015E-E337-A46F-F1E3947C3E61}"/>
                </a:ext>
              </a:extLst>
            </p:cNvPr>
            <p:cNvSpPr txBox="1"/>
            <p:nvPr/>
          </p:nvSpPr>
          <p:spPr>
            <a:xfrm>
              <a:off x="10369596" y="1499680"/>
              <a:ext cx="1586091" cy="89255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342900">
                <a:defRPr/>
              </a:pPr>
              <a:r>
                <a:rPr lang="en-US" sz="750" b="1">
                  <a:solidFill>
                    <a:prstClr val="black"/>
                  </a:solidFill>
                  <a:latin typeface="Arial" panose="020B0604020202020204" pitchFamily="34" charset="0"/>
                </a:rPr>
                <a:t>Post-RUX, No Washout</a:t>
              </a:r>
            </a:p>
            <a:p>
              <a:pPr algn="ctr" defTabSz="342900">
                <a:defRPr/>
              </a:pPr>
              <a:r>
                <a:rPr lang="en-US" sz="750" b="1">
                  <a:solidFill>
                    <a:prstClr val="black"/>
                  </a:solidFill>
                  <a:latin typeface="Arial" panose="020B0604020202020204" pitchFamily="34" charset="0"/>
                </a:rPr>
                <a:t>(SIMPLIFY-2)</a:t>
              </a:r>
            </a:p>
            <a:p>
              <a:pPr algn="ctr" defTabSz="342900">
                <a:defRPr/>
              </a:pPr>
              <a:endParaRPr lang="en-US" sz="750" b="1">
                <a:solidFill>
                  <a:prstClr val="black"/>
                </a:solidFill>
                <a:latin typeface="Arial" panose="020B0604020202020204" pitchFamily="34" charset="0"/>
              </a:endParaRPr>
            </a:p>
            <a:p>
              <a:pPr algn="ctr" defTabSz="342900">
                <a:defRPr/>
              </a:pPr>
              <a:r>
                <a:rPr lang="en-US" sz="750" b="1">
                  <a:solidFill>
                    <a:prstClr val="black"/>
                  </a:solidFill>
                  <a:latin typeface="Arial" panose="020B0604020202020204" pitchFamily="34" charset="0"/>
                </a:rPr>
                <a:t>Momelotinib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0C62300-DC91-FE76-D8AA-98E4BF5483BA}"/>
                </a:ext>
              </a:extLst>
            </p:cNvPr>
            <p:cNvSpPr txBox="1"/>
            <p:nvPr/>
          </p:nvSpPr>
          <p:spPr>
            <a:xfrm>
              <a:off x="10545860" y="2408481"/>
              <a:ext cx="1152331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 defTabSz="342900">
                <a:defRPr/>
              </a:pPr>
              <a:r>
                <a:rPr lang="en-US" sz="750" b="1">
                  <a:solidFill>
                    <a:prstClr val="black"/>
                  </a:solidFill>
                  <a:latin typeface="Arial" panose="020B0604020202020204" pitchFamily="34" charset="0"/>
                </a:rPr>
                <a:t>26% TSS</a:t>
              </a:r>
            </a:p>
            <a:p>
              <a:pPr algn="ctr" defTabSz="342900">
                <a:defRPr/>
              </a:pPr>
              <a:r>
                <a:rPr lang="en-US" sz="750" b="1">
                  <a:solidFill>
                    <a:prstClr val="black"/>
                  </a:solidFill>
                  <a:latin typeface="Arial" panose="020B0604020202020204" pitchFamily="34" charset="0"/>
                </a:rPr>
                <a:t>Response Rate</a:t>
              </a:r>
              <a:r>
                <a:rPr lang="en-US" sz="750">
                  <a:solidFill>
                    <a:prstClr val="black"/>
                  </a:solidFill>
                  <a:latin typeface="Arial" panose="020B0604020202020204" pitchFamily="34" charset="0"/>
                </a:rPr>
                <a:t> </a:t>
              </a:r>
            </a:p>
            <a:p>
              <a:pPr algn="ctr" defTabSz="342900">
                <a:defRPr/>
              </a:pPr>
              <a:r>
                <a:rPr lang="en-US" sz="750">
                  <a:solidFill>
                    <a:prstClr val="black"/>
                  </a:solidFill>
                  <a:latin typeface="Arial" panose="020B0604020202020204" pitchFamily="34" charset="0"/>
                </a:rPr>
                <a:t>(27/103)</a:t>
              </a:r>
            </a:p>
          </p:txBody>
        </p:sp>
        <p:sp>
          <p:nvSpPr>
            <p:cNvPr id="80" name="Line 48">
              <a:extLst>
                <a:ext uri="{FF2B5EF4-FFF2-40B4-BE49-F238E27FC236}">
                  <a16:creationId xmlns:a16="http://schemas.microsoft.com/office/drawing/2014/main" id="{374DBF98-7157-D87F-9ED4-8B75E065C2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367963" y="2132013"/>
              <a:ext cx="0" cy="2163763"/>
            </a:xfrm>
            <a:prstGeom prst="line">
              <a:avLst/>
            </a:prstGeom>
            <a:noFill/>
            <a:ln w="12700" cap="sq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81" name="Line 49">
              <a:extLst>
                <a:ext uri="{FF2B5EF4-FFF2-40B4-BE49-F238E27FC236}">
                  <a16:creationId xmlns:a16="http://schemas.microsoft.com/office/drawing/2014/main" id="{7E51E99A-942E-7C70-C118-D0CC33DFC5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307638" y="4016376"/>
              <a:ext cx="6032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82" name="Line 50">
              <a:extLst>
                <a:ext uri="{FF2B5EF4-FFF2-40B4-BE49-F238E27FC236}">
                  <a16:creationId xmlns:a16="http://schemas.microsoft.com/office/drawing/2014/main" id="{6230771C-3078-D84F-57F3-30353B93C17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367963" y="4016376"/>
              <a:ext cx="150812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83" name="Line 51">
              <a:extLst>
                <a:ext uri="{FF2B5EF4-FFF2-40B4-BE49-F238E27FC236}">
                  <a16:creationId xmlns:a16="http://schemas.microsoft.com/office/drawing/2014/main" id="{2B76518B-8E01-EFBA-F6F3-EE6D35C6759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367963" y="3738563"/>
              <a:ext cx="150812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84" name="Line 52">
              <a:extLst>
                <a:ext uri="{FF2B5EF4-FFF2-40B4-BE49-F238E27FC236}">
                  <a16:creationId xmlns:a16="http://schemas.microsoft.com/office/drawing/2014/main" id="{0F6C517B-B7A6-5331-C796-4C3B6218C0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307638" y="3738563"/>
              <a:ext cx="6032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85" name="Line 53">
              <a:extLst>
                <a:ext uri="{FF2B5EF4-FFF2-40B4-BE49-F238E27FC236}">
                  <a16:creationId xmlns:a16="http://schemas.microsoft.com/office/drawing/2014/main" id="{A8D3A297-2CB2-B390-CF47-9C749226F0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307638" y="3459163"/>
              <a:ext cx="6032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86" name="Line 54">
              <a:extLst>
                <a:ext uri="{FF2B5EF4-FFF2-40B4-BE49-F238E27FC236}">
                  <a16:creationId xmlns:a16="http://schemas.microsoft.com/office/drawing/2014/main" id="{CA4A800E-B133-D342-F87D-EFFBEEEC2F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307638" y="2905126"/>
              <a:ext cx="6032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87" name="Line 55">
              <a:extLst>
                <a:ext uri="{FF2B5EF4-FFF2-40B4-BE49-F238E27FC236}">
                  <a16:creationId xmlns:a16="http://schemas.microsoft.com/office/drawing/2014/main" id="{C876F332-DC7B-32B4-DA0D-847ADF7298A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307638" y="3181351"/>
              <a:ext cx="6032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88" name="Line 56">
              <a:extLst>
                <a:ext uri="{FF2B5EF4-FFF2-40B4-BE49-F238E27FC236}">
                  <a16:creationId xmlns:a16="http://schemas.microsoft.com/office/drawing/2014/main" id="{181A0D00-622F-8ADF-0688-BC4E3F4DFD1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307638" y="2625726"/>
              <a:ext cx="6032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89" name="Line 57">
              <a:extLst>
                <a:ext uri="{FF2B5EF4-FFF2-40B4-BE49-F238E27FC236}">
                  <a16:creationId xmlns:a16="http://schemas.microsoft.com/office/drawing/2014/main" id="{2E0DF719-09FC-7FFD-AF63-3BB51552C71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307638" y="2347913"/>
              <a:ext cx="6032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90" name="Line 58">
              <a:extLst>
                <a:ext uri="{FF2B5EF4-FFF2-40B4-BE49-F238E27FC236}">
                  <a16:creationId xmlns:a16="http://schemas.microsoft.com/office/drawing/2014/main" id="{9DBC21D6-AB15-3B9B-7083-041B3088E54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307638" y="4295776"/>
              <a:ext cx="60325" cy="0"/>
            </a:xfrm>
            <a:prstGeom prst="line">
              <a:avLst/>
            </a:pr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750">
                <a:solidFill>
                  <a:prstClr val="black"/>
                </a:solidFill>
                <a:latin typeface="Arial" panose="020B0604020202020204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F541D18F-BFCC-F772-AE68-26EFAA917E5A}"/>
                </a:ext>
              </a:extLst>
            </p:cNvPr>
            <p:cNvSpPr txBox="1"/>
            <p:nvPr/>
          </p:nvSpPr>
          <p:spPr>
            <a:xfrm>
              <a:off x="9995744" y="2827524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150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C73F4F76-191A-BFD0-BE15-77AB52E68B6B}"/>
                </a:ext>
              </a:extLst>
            </p:cNvPr>
            <p:cNvSpPr txBox="1"/>
            <p:nvPr/>
          </p:nvSpPr>
          <p:spPr>
            <a:xfrm>
              <a:off x="9995744" y="3104923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100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E7187F0B-56AA-3663-57BA-4A439E2DCA8A}"/>
                </a:ext>
              </a:extLst>
            </p:cNvPr>
            <p:cNvSpPr txBox="1"/>
            <p:nvPr/>
          </p:nvSpPr>
          <p:spPr>
            <a:xfrm>
              <a:off x="9995744" y="3382322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50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4C785BBF-9F86-40E6-B4D6-A5F02672F7D0}"/>
                </a:ext>
              </a:extLst>
            </p:cNvPr>
            <p:cNvSpPr txBox="1"/>
            <p:nvPr/>
          </p:nvSpPr>
          <p:spPr>
            <a:xfrm>
              <a:off x="9995744" y="3659721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0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C4E576F6-BE65-22B5-6705-55CE1863DFD0}"/>
                </a:ext>
              </a:extLst>
            </p:cNvPr>
            <p:cNvSpPr txBox="1"/>
            <p:nvPr/>
          </p:nvSpPr>
          <p:spPr>
            <a:xfrm>
              <a:off x="9995744" y="3937120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–5</a:t>
              </a:r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0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FCC74403-FEC6-7AE3-B310-FC0C6CF2AA47}"/>
                </a:ext>
              </a:extLst>
            </p:cNvPr>
            <p:cNvSpPr txBox="1"/>
            <p:nvPr/>
          </p:nvSpPr>
          <p:spPr>
            <a:xfrm>
              <a:off x="9995744" y="4214519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–100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A66061CD-9BEC-CEBD-DCB5-818E1CE372B9}"/>
                </a:ext>
              </a:extLst>
            </p:cNvPr>
            <p:cNvSpPr txBox="1"/>
            <p:nvPr/>
          </p:nvSpPr>
          <p:spPr>
            <a:xfrm>
              <a:off x="9995744" y="2272726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250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04E18720-C5FE-CBC2-3508-763D32014993}"/>
                </a:ext>
              </a:extLst>
            </p:cNvPr>
            <p:cNvSpPr txBox="1"/>
            <p:nvPr/>
          </p:nvSpPr>
          <p:spPr>
            <a:xfrm>
              <a:off x="9995744" y="2550125"/>
              <a:ext cx="313335" cy="155575"/>
            </a:xfrm>
            <a:prstGeom prst="rect">
              <a:avLst/>
            </a:prstGeom>
            <a:noFill/>
          </p:spPr>
          <p:txBody>
            <a:bodyPr wrap="none" lIns="27000" tIns="27000" rIns="27000" bIns="27000" rtlCol="0" anchor="ctr">
              <a:noAutofit/>
            </a:bodyPr>
            <a:lstStyle/>
            <a:p>
              <a:pPr algn="r" defTabSz="685800"/>
              <a:r>
                <a:rPr lang="en-GB" sz="750">
                  <a:solidFill>
                    <a:prstClr val="black"/>
                  </a:solidFill>
                  <a:latin typeface="Arial" panose="020B0604020202020204"/>
                </a:rPr>
                <a:t>200</a:t>
              </a:r>
            </a:p>
          </p:txBody>
        </p:sp>
      </p:grpSp>
      <p:sp>
        <p:nvSpPr>
          <p:cNvPr id="126" name="TextBox 125">
            <a:extLst>
              <a:ext uri="{FF2B5EF4-FFF2-40B4-BE49-F238E27FC236}">
                <a16:creationId xmlns:a16="http://schemas.microsoft.com/office/drawing/2014/main" id="{51A75E95-D214-C41D-7CB3-48CB6DE64C2F}"/>
              </a:ext>
            </a:extLst>
          </p:cNvPr>
          <p:cNvSpPr txBox="1"/>
          <p:nvPr/>
        </p:nvSpPr>
        <p:spPr>
          <a:xfrm>
            <a:off x="8307557" y="3760616"/>
            <a:ext cx="691144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750" b="1">
                <a:solidFill>
                  <a:prstClr val="black"/>
                </a:solidFill>
                <a:latin typeface="Arial" panose="020B0604020202020204"/>
              </a:rPr>
              <a:t>50% decrease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7E669135-627E-C018-9580-9116FDA15EB6}"/>
              </a:ext>
            </a:extLst>
          </p:cNvPr>
          <p:cNvSpPr txBox="1"/>
          <p:nvPr/>
        </p:nvSpPr>
        <p:spPr>
          <a:xfrm>
            <a:off x="9787376" y="3882204"/>
            <a:ext cx="691144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750" b="1">
                <a:solidFill>
                  <a:prstClr val="black"/>
                </a:solidFill>
                <a:latin typeface="Arial" panose="020B0604020202020204"/>
              </a:rPr>
              <a:t>50% decrease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8726DA7E-C4C8-A0FC-CCC2-C878A2F81B96}"/>
              </a:ext>
            </a:extLst>
          </p:cNvPr>
          <p:cNvSpPr txBox="1"/>
          <p:nvPr/>
        </p:nvSpPr>
        <p:spPr>
          <a:xfrm>
            <a:off x="7686181" y="4093555"/>
            <a:ext cx="1473421" cy="141019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ctr" defTabSz="685800"/>
            <a:r>
              <a:rPr lang="en-GB" sz="750">
                <a:solidFill>
                  <a:prstClr val="black"/>
                </a:solidFill>
                <a:latin typeface="Arial" panose="020B0604020202020204"/>
              </a:rPr>
              <a:t>Individual Patients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65DB3DA3-19CC-5B7A-98E1-0E5A41A028DD}"/>
              </a:ext>
            </a:extLst>
          </p:cNvPr>
          <p:cNvSpPr txBox="1"/>
          <p:nvPr/>
        </p:nvSpPr>
        <p:spPr>
          <a:xfrm>
            <a:off x="9281314" y="4085035"/>
            <a:ext cx="1293122" cy="158059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ctr" defTabSz="685800"/>
            <a:r>
              <a:rPr lang="en-GB" sz="750">
                <a:solidFill>
                  <a:prstClr val="black"/>
                </a:solidFill>
                <a:latin typeface="Arial" panose="020B0604020202020204"/>
              </a:rPr>
              <a:t>Individual Patients</a:t>
            </a:r>
          </a:p>
        </p:txBody>
      </p:sp>
    </p:spTree>
    <p:extLst>
      <p:ext uri="{BB962C8B-B14F-4D97-AF65-F5344CB8AC3E}">
        <p14:creationId xmlns:p14="http://schemas.microsoft.com/office/powerpoint/2010/main" val="104557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5DBA96E-4056-3445-ED8B-56D4302C13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MENTUM Study Desig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EC01E73-5BFD-A567-7077-ACB8DF3358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BE33F7A0-71F0-446B-9DE8-6D75BE64EE0F}" type="slidenum">
              <a:rPr lang="en-US"/>
              <a:pPr defTabSz="685800"/>
              <a:t>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C332AE-9F2A-9FB3-89DE-790D0FB6F07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Ruben Mesa, MD, FACP</a:t>
            </a:r>
          </a:p>
          <a:p>
            <a:r>
              <a:rPr lang="en-US"/>
              <a:t>Director, Mays Cancer Center at UT Health San Antonio MD Anders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10296EE-A631-84BA-4D8B-43021A2CD8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defTabSz="685783">
              <a:defRPr/>
            </a:pPr>
            <a:r>
              <a:rPr lang="en-US"/>
              <a:t>ClinicalTrials.gov: </a:t>
            </a:r>
            <a:r>
              <a:rPr lang="en-US" b="1"/>
              <a:t>NCT04173494</a:t>
            </a:r>
          </a:p>
          <a:p>
            <a:pPr defTabSz="685783">
              <a:defRPr/>
            </a:pPr>
            <a:r>
              <a:rPr lang="en-US"/>
              <a:t>*Danazol was selected as an appropriate comparator given its use to ameliorate anemia in MF patients, as recommended by NCCN, ESMO guidelines.</a:t>
            </a:r>
          </a:p>
          <a:p>
            <a:pPr defTabSz="457189">
              <a:defRPr/>
            </a:pPr>
            <a:r>
              <a:rPr lang="en-US" b="1"/>
              <a:t>TSS response</a:t>
            </a:r>
            <a:r>
              <a:rPr lang="en-US"/>
              <a:t> defined as achieving ≥50% reduction in TSS over the 28 days immediately prior to the end of week 24 compared to baseline.</a:t>
            </a:r>
            <a:endParaRPr lang="en-US" baseline="30000"/>
          </a:p>
          <a:p>
            <a:pPr defTabSz="457189">
              <a:defRPr/>
            </a:pPr>
            <a:r>
              <a:rPr lang="en-US" b="1"/>
              <a:t>TI</a:t>
            </a:r>
            <a:r>
              <a:rPr lang="en-US"/>
              <a:t> defined as not requiring red blood cell transfusion in the last 12 weeks of the 24-week randomized period, with all hemoglobin levels during the 12-week interval of ≥8 g/dL.  </a:t>
            </a:r>
          </a:p>
          <a:p>
            <a:pPr defTabSz="457189">
              <a:defRPr/>
            </a:pPr>
            <a:r>
              <a:rPr lang="en-US" b="1"/>
              <a:t>SRR</a:t>
            </a:r>
            <a:r>
              <a:rPr lang="en-US"/>
              <a:t> defined as achieving a </a:t>
            </a:r>
            <a:r>
              <a:rPr lang="en-US" b="1"/>
              <a:t>≥25% </a:t>
            </a:r>
            <a:r>
              <a:rPr lang="en-US"/>
              <a:t>or</a:t>
            </a:r>
            <a:r>
              <a:rPr lang="en-US" b="1"/>
              <a:t> ≥35% </a:t>
            </a:r>
            <a:r>
              <a:rPr lang="en-US"/>
              <a:t>reduction in spleen volume from baseline.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F43E36C-422E-6F61-C2A8-A4EED8DBC88A}"/>
              </a:ext>
            </a:extLst>
          </p:cNvPr>
          <p:cNvSpPr txBox="1"/>
          <p:nvPr/>
        </p:nvSpPr>
        <p:spPr>
          <a:xfrm>
            <a:off x="1752600" y="4323386"/>
            <a:ext cx="4206240" cy="2585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135731" indent="-135731" defTabSz="685766">
              <a:lnSpc>
                <a:spcPct val="90000"/>
              </a:lnSpc>
              <a:spcBef>
                <a:spcPts val="600"/>
              </a:spcBef>
              <a:buClr>
                <a:srgbClr val="0076A9"/>
              </a:buClr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symptom score (TSS) response rate at Week 24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9ECB6C3-F3D4-C11B-7A89-DD311AFE5C2C}"/>
              </a:ext>
            </a:extLst>
          </p:cNvPr>
          <p:cNvSpPr txBox="1"/>
          <p:nvPr/>
        </p:nvSpPr>
        <p:spPr>
          <a:xfrm>
            <a:off x="6229985" y="4323386"/>
            <a:ext cx="4206240" cy="501676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135731" indent="-135731" defTabSz="685766">
              <a:lnSpc>
                <a:spcPct val="90000"/>
              </a:lnSpc>
              <a:spcBef>
                <a:spcPts val="600"/>
              </a:spcBef>
              <a:buClr>
                <a:srgbClr val="0076A9"/>
              </a:buClr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usion independence (TI) rate at Week 24 </a:t>
            </a:r>
          </a:p>
          <a:p>
            <a:pPr marL="135731" indent="-135731" defTabSz="685766">
              <a:lnSpc>
                <a:spcPct val="90000"/>
              </a:lnSpc>
              <a:spcBef>
                <a:spcPts val="600"/>
              </a:spcBef>
              <a:buClr>
                <a:srgbClr val="0076A9"/>
              </a:buClr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lenic response rate (SRR) at Week 24 </a:t>
            </a:r>
          </a:p>
        </p:txBody>
      </p:sp>
      <p:sp>
        <p:nvSpPr>
          <p:cNvPr id="53" name="Text Box 16">
            <a:extLst>
              <a:ext uri="{FF2B5EF4-FFF2-40B4-BE49-F238E27FC236}">
                <a16:creationId xmlns:a16="http://schemas.microsoft.com/office/drawing/2014/main" id="{599BDE28-0894-8784-23E2-F52A664293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52600" y="4037602"/>
            <a:ext cx="4206240" cy="240066"/>
          </a:xfrm>
          <a:prstGeom prst="rect">
            <a:avLst/>
          </a:prstGeom>
          <a:noFill/>
        </p:spPr>
        <p:txBody>
          <a:bodyPr wrap="square" lIns="0" tIns="0" r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600" b="1">
                <a:solidFill>
                  <a:schemeClr val="accent2"/>
                </a:solidFill>
              </a:defRPr>
            </a:lvl1pPr>
          </a:lstStyle>
          <a:p>
            <a:pPr defTabSz="457178">
              <a:defRPr/>
            </a:pPr>
            <a:r>
              <a:rPr lang="en-US" sz="1400">
                <a:solidFill>
                  <a:srgbClr val="008764"/>
                </a:solidFill>
                <a:latin typeface="Arial" panose="020B0604020202020204" pitchFamily="34" charset="0"/>
              </a:rPr>
              <a:t>Primary Endpoint</a:t>
            </a:r>
          </a:p>
        </p:txBody>
      </p:sp>
      <p:sp>
        <p:nvSpPr>
          <p:cNvPr id="54" name="Text Box 16">
            <a:extLst>
              <a:ext uri="{FF2B5EF4-FFF2-40B4-BE49-F238E27FC236}">
                <a16:creationId xmlns:a16="http://schemas.microsoft.com/office/drawing/2014/main" id="{60B7CF5B-AAC6-A9B3-9907-B734FB3700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29985" y="4037602"/>
            <a:ext cx="4206240" cy="240066"/>
          </a:xfrm>
          <a:prstGeom prst="rect">
            <a:avLst/>
          </a:prstGeom>
          <a:noFill/>
        </p:spPr>
        <p:txBody>
          <a:bodyPr wrap="square" lIns="0" tIns="0" r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600" b="1">
                <a:solidFill>
                  <a:schemeClr val="accent2"/>
                </a:solidFill>
              </a:defRPr>
            </a:lvl1pPr>
          </a:lstStyle>
          <a:p>
            <a:pPr defTabSz="457178">
              <a:defRPr/>
            </a:pPr>
            <a:r>
              <a:rPr lang="en-US" sz="1400">
                <a:solidFill>
                  <a:srgbClr val="008764"/>
                </a:solidFill>
                <a:latin typeface="Arial" panose="020B0604020202020204" pitchFamily="34" charset="0"/>
              </a:rPr>
              <a:t>Key Secondary Endpoints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24D89D66-DEF6-4A24-21E5-15BDC0F0AF4D}"/>
              </a:ext>
            </a:extLst>
          </p:cNvPr>
          <p:cNvCxnSpPr>
            <a:cxnSpLocks/>
          </p:cNvCxnSpPr>
          <p:nvPr/>
        </p:nvCxnSpPr>
        <p:spPr>
          <a:xfrm>
            <a:off x="1752600" y="4277666"/>
            <a:ext cx="4206240" cy="0"/>
          </a:xfrm>
          <a:prstGeom prst="line">
            <a:avLst/>
          </a:prstGeom>
          <a:noFill/>
          <a:ln w="12700" cap="flat" cmpd="sng" algn="ctr">
            <a:solidFill>
              <a:srgbClr val="28B67B"/>
            </a:solidFill>
            <a:prstDash val="solid"/>
            <a:miter lim="800000"/>
          </a:ln>
          <a:effectLst/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ADA09FD-4A33-EA70-9406-79F6F1B27DB6}"/>
              </a:ext>
            </a:extLst>
          </p:cNvPr>
          <p:cNvCxnSpPr>
            <a:cxnSpLocks/>
          </p:cNvCxnSpPr>
          <p:nvPr/>
        </p:nvCxnSpPr>
        <p:spPr>
          <a:xfrm>
            <a:off x="6229985" y="4277666"/>
            <a:ext cx="4206240" cy="0"/>
          </a:xfrm>
          <a:prstGeom prst="line">
            <a:avLst/>
          </a:prstGeom>
          <a:noFill/>
          <a:ln w="12700" cap="flat" cmpd="sng" algn="ctr">
            <a:solidFill>
              <a:srgbClr val="28B67B"/>
            </a:solidFill>
            <a:prstDash val="solid"/>
            <a:miter lim="800000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69E741E-AD6F-4A84-DAD9-9AF1632D32A6}"/>
              </a:ext>
            </a:extLst>
          </p:cNvPr>
          <p:cNvCxnSpPr>
            <a:cxnSpLocks/>
            <a:stCxn id="89" idx="3"/>
            <a:endCxn id="62" idx="1"/>
          </p:cNvCxnSpPr>
          <p:nvPr/>
        </p:nvCxnSpPr>
        <p:spPr>
          <a:xfrm>
            <a:off x="9508600" y="2467505"/>
            <a:ext cx="777842" cy="0"/>
          </a:xfrm>
          <a:prstGeom prst="line">
            <a:avLst/>
          </a:prstGeom>
          <a:noFill/>
          <a:ln w="19050" cap="sq" cmpd="sng" algn="ctr">
            <a:solidFill>
              <a:srgbClr val="383A3B"/>
            </a:solidFill>
            <a:prstDash val="solid"/>
            <a:miter lim="800000"/>
          </a:ln>
          <a:effectLst/>
        </p:spPr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2C99BBC9-393D-4D23-BE0D-94281EF2493D}"/>
              </a:ext>
            </a:extLst>
          </p:cNvPr>
          <p:cNvSpPr/>
          <p:nvPr/>
        </p:nvSpPr>
        <p:spPr>
          <a:xfrm>
            <a:off x="5034194" y="2056433"/>
            <a:ext cx="3779454" cy="822148"/>
          </a:xfrm>
          <a:prstGeom prst="rect">
            <a:avLst/>
          </a:prstGeom>
          <a:noFill/>
          <a:ln w="19050" cap="flat" cmpd="sng" algn="ctr">
            <a:solidFill>
              <a:srgbClr val="383A3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66">
              <a:defRPr/>
            </a:pPr>
            <a:endParaRPr lang="en-US" sz="1050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734C8BD3-9343-B8DB-466B-9E66B7F75E81}"/>
              </a:ext>
            </a:extLst>
          </p:cNvPr>
          <p:cNvCxnSpPr>
            <a:cxnSpLocks/>
          </p:cNvCxnSpPr>
          <p:nvPr/>
        </p:nvCxnSpPr>
        <p:spPr>
          <a:xfrm flipH="1" flipV="1">
            <a:off x="3517938" y="2467507"/>
            <a:ext cx="1513821" cy="1"/>
          </a:xfrm>
          <a:prstGeom prst="line">
            <a:avLst/>
          </a:prstGeom>
          <a:noFill/>
          <a:ln w="19050" cap="flat" cmpd="sng" algn="ctr">
            <a:solidFill>
              <a:srgbClr val="383A3B"/>
            </a:solidFill>
            <a:prstDash val="solid"/>
            <a:miter lim="800000"/>
          </a:ln>
          <a:effectLst/>
        </p:spPr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BCB33567-DF11-5A40-B2B2-72DFE8A83BBB}"/>
              </a:ext>
            </a:extLst>
          </p:cNvPr>
          <p:cNvSpPr/>
          <p:nvPr/>
        </p:nvSpPr>
        <p:spPr>
          <a:xfrm>
            <a:off x="3632368" y="2529389"/>
            <a:ext cx="137709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766">
              <a:defRPr/>
            </a:pPr>
            <a:r>
              <a:rPr lang="en-US" sz="9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:1 randomization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D36A988B-4CC0-9C48-DEC5-A476F4648AB4}"/>
              </a:ext>
            </a:extLst>
          </p:cNvPr>
          <p:cNvCxnSpPr>
            <a:cxnSpLocks/>
          </p:cNvCxnSpPr>
          <p:nvPr/>
        </p:nvCxnSpPr>
        <p:spPr>
          <a:xfrm>
            <a:off x="5203014" y="1634050"/>
            <a:ext cx="2693445" cy="0"/>
          </a:xfrm>
          <a:prstGeom prst="line">
            <a:avLst/>
          </a:prstGeom>
          <a:noFill/>
          <a:ln w="12700" cap="sq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sp>
        <p:nvSpPr>
          <p:cNvPr id="62" name="Diamond 61">
            <a:extLst>
              <a:ext uri="{FF2B5EF4-FFF2-40B4-BE49-F238E27FC236}">
                <a16:creationId xmlns:a16="http://schemas.microsoft.com/office/drawing/2014/main" id="{DCA96A32-E81C-7E7A-DA7E-694DC76FFFFF}"/>
              </a:ext>
            </a:extLst>
          </p:cNvPr>
          <p:cNvSpPr/>
          <p:nvPr/>
        </p:nvSpPr>
        <p:spPr>
          <a:xfrm>
            <a:off x="10286442" y="2359069"/>
            <a:ext cx="183914" cy="216874"/>
          </a:xfrm>
          <a:prstGeom prst="diamond">
            <a:avLst/>
          </a:prstGeom>
          <a:solidFill>
            <a:srgbClr val="383A3B"/>
          </a:solidFill>
          <a:ln w="6350" cap="flat" cmpd="sng" algn="ctr">
            <a:solidFill>
              <a:srgbClr val="383A3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66">
              <a:defRPr/>
            </a:pPr>
            <a:endParaRPr lang="en-US" sz="1350" ker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3E221C75-CC6D-E5AC-FFBB-D50A06B50EA8}"/>
              </a:ext>
            </a:extLst>
          </p:cNvPr>
          <p:cNvCxnSpPr>
            <a:cxnSpLocks/>
          </p:cNvCxnSpPr>
          <p:nvPr/>
        </p:nvCxnSpPr>
        <p:spPr>
          <a:xfrm>
            <a:off x="7987290" y="1634050"/>
            <a:ext cx="1521309" cy="0"/>
          </a:xfrm>
          <a:prstGeom prst="line">
            <a:avLst/>
          </a:prstGeom>
          <a:noFill/>
          <a:ln w="12700" cap="sq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65FB575E-BAE2-EA7B-9959-D48CEB5110C4}"/>
              </a:ext>
            </a:extLst>
          </p:cNvPr>
          <p:cNvCxnSpPr>
            <a:cxnSpLocks/>
          </p:cNvCxnSpPr>
          <p:nvPr/>
        </p:nvCxnSpPr>
        <p:spPr>
          <a:xfrm>
            <a:off x="9602379" y="1634050"/>
            <a:ext cx="751015" cy="0"/>
          </a:xfrm>
          <a:prstGeom prst="line">
            <a:avLst/>
          </a:prstGeom>
          <a:noFill/>
          <a:ln w="12700" cap="sq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0332C3CE-0922-C6B3-B53E-3BC870E64948}"/>
              </a:ext>
            </a:extLst>
          </p:cNvPr>
          <p:cNvCxnSpPr>
            <a:cxnSpLocks/>
          </p:cNvCxnSpPr>
          <p:nvPr/>
        </p:nvCxnSpPr>
        <p:spPr>
          <a:xfrm>
            <a:off x="5203012" y="1634050"/>
            <a:ext cx="0" cy="137160"/>
          </a:xfrm>
          <a:prstGeom prst="line">
            <a:avLst/>
          </a:prstGeom>
          <a:noFill/>
          <a:ln w="12700" cap="sq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604FD2DE-B155-5C58-A144-C180EE9C4C59}"/>
              </a:ext>
            </a:extLst>
          </p:cNvPr>
          <p:cNvCxnSpPr>
            <a:cxnSpLocks/>
          </p:cNvCxnSpPr>
          <p:nvPr/>
        </p:nvCxnSpPr>
        <p:spPr>
          <a:xfrm>
            <a:off x="7987289" y="1634050"/>
            <a:ext cx="0" cy="137160"/>
          </a:xfrm>
          <a:prstGeom prst="line">
            <a:avLst/>
          </a:prstGeom>
          <a:noFill/>
          <a:ln w="12700" cap="sq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3BCFE61-2BED-DD62-1378-BD04672F717F}"/>
              </a:ext>
            </a:extLst>
          </p:cNvPr>
          <p:cNvCxnSpPr>
            <a:cxnSpLocks/>
          </p:cNvCxnSpPr>
          <p:nvPr/>
        </p:nvCxnSpPr>
        <p:spPr>
          <a:xfrm>
            <a:off x="7896458" y="1634050"/>
            <a:ext cx="0" cy="137160"/>
          </a:xfrm>
          <a:prstGeom prst="line">
            <a:avLst/>
          </a:prstGeom>
          <a:noFill/>
          <a:ln w="12700" cap="sq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99FC81B-BFD2-4E0E-6056-A0FF8B17AA80}"/>
              </a:ext>
            </a:extLst>
          </p:cNvPr>
          <p:cNvCxnSpPr>
            <a:cxnSpLocks/>
          </p:cNvCxnSpPr>
          <p:nvPr/>
        </p:nvCxnSpPr>
        <p:spPr>
          <a:xfrm>
            <a:off x="9508598" y="1634050"/>
            <a:ext cx="0" cy="137160"/>
          </a:xfrm>
          <a:prstGeom prst="line">
            <a:avLst/>
          </a:prstGeom>
          <a:noFill/>
          <a:ln w="12700" cap="sq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A8982D5D-8D52-7EEA-4081-70CB21F3B282}"/>
              </a:ext>
            </a:extLst>
          </p:cNvPr>
          <p:cNvCxnSpPr>
            <a:cxnSpLocks/>
          </p:cNvCxnSpPr>
          <p:nvPr/>
        </p:nvCxnSpPr>
        <p:spPr>
          <a:xfrm>
            <a:off x="9591188" y="1634050"/>
            <a:ext cx="0" cy="137160"/>
          </a:xfrm>
          <a:prstGeom prst="line">
            <a:avLst/>
          </a:prstGeom>
          <a:noFill/>
          <a:ln w="12700" cap="sq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2BC78B11-E1E2-75E3-B9BB-FCBB600B1B92}"/>
              </a:ext>
            </a:extLst>
          </p:cNvPr>
          <p:cNvCxnSpPr>
            <a:cxnSpLocks/>
          </p:cNvCxnSpPr>
          <p:nvPr/>
        </p:nvCxnSpPr>
        <p:spPr>
          <a:xfrm>
            <a:off x="10353391" y="1634050"/>
            <a:ext cx="0" cy="137160"/>
          </a:xfrm>
          <a:prstGeom prst="line">
            <a:avLst/>
          </a:prstGeom>
          <a:noFill/>
          <a:ln w="12700" cap="sq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6F4DD25B-01C2-26E5-7535-F01364B23B50}"/>
              </a:ext>
            </a:extLst>
          </p:cNvPr>
          <p:cNvSpPr/>
          <p:nvPr/>
        </p:nvSpPr>
        <p:spPr>
          <a:xfrm>
            <a:off x="5875673" y="1444929"/>
            <a:ext cx="1348126" cy="153888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defTabSz="685766">
              <a:defRPr/>
            </a:pPr>
            <a:r>
              <a:rPr lang="en-US" sz="1000" i="1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uble-Blind Treatment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4EFD40DA-72D6-01A4-DEE0-5964BAD8E7D1}"/>
              </a:ext>
            </a:extLst>
          </p:cNvPr>
          <p:cNvSpPr/>
          <p:nvPr/>
        </p:nvSpPr>
        <p:spPr>
          <a:xfrm>
            <a:off x="8109952" y="1444929"/>
            <a:ext cx="1275991" cy="153888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685766">
              <a:defRPr/>
            </a:pPr>
            <a:r>
              <a:rPr lang="en-US" sz="1000" i="1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 Label/Crossover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C1A354C-5827-32AA-3C49-E992E7C2E765}"/>
              </a:ext>
            </a:extLst>
          </p:cNvPr>
          <p:cNvSpPr/>
          <p:nvPr/>
        </p:nvSpPr>
        <p:spPr>
          <a:xfrm>
            <a:off x="9669307" y="1291042"/>
            <a:ext cx="617157" cy="3077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 defTabSz="685766">
              <a:defRPr/>
            </a:pPr>
            <a:r>
              <a:rPr lang="en-US" sz="1000" i="1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ng Term</a:t>
            </a:r>
            <a:br>
              <a:rPr lang="en-US" sz="1000" i="1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i="1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-up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96ACC516-31C6-8472-98D6-291B0631D75B}"/>
              </a:ext>
            </a:extLst>
          </p:cNvPr>
          <p:cNvCxnSpPr>
            <a:cxnSpLocks/>
          </p:cNvCxnSpPr>
          <p:nvPr/>
        </p:nvCxnSpPr>
        <p:spPr>
          <a:xfrm>
            <a:off x="5203013" y="3387221"/>
            <a:ext cx="4425573" cy="0"/>
          </a:xfrm>
          <a:prstGeom prst="line">
            <a:avLst/>
          </a:prstGeom>
          <a:noFill/>
          <a:ln w="12700" cap="sq" cmpd="sng" algn="ctr">
            <a:solidFill>
              <a:srgbClr val="383A3B">
                <a:lumMod val="50000"/>
                <a:lumOff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4F6943D9-4954-B59E-A9F7-20AEFA19486C}"/>
              </a:ext>
            </a:extLst>
          </p:cNvPr>
          <p:cNvCxnSpPr>
            <a:cxnSpLocks/>
          </p:cNvCxnSpPr>
          <p:nvPr/>
        </p:nvCxnSpPr>
        <p:spPr>
          <a:xfrm flipV="1">
            <a:off x="5203012" y="3250061"/>
            <a:ext cx="0" cy="137160"/>
          </a:xfrm>
          <a:prstGeom prst="line">
            <a:avLst/>
          </a:prstGeom>
          <a:noFill/>
          <a:ln w="12700" cap="sq" cmpd="sng" algn="ctr">
            <a:solidFill>
              <a:srgbClr val="383A3B">
                <a:lumMod val="50000"/>
                <a:lumOff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5C9C4651-F519-ABBB-3DF6-16132A8AC783}"/>
              </a:ext>
            </a:extLst>
          </p:cNvPr>
          <p:cNvCxnSpPr>
            <a:cxnSpLocks/>
          </p:cNvCxnSpPr>
          <p:nvPr/>
        </p:nvCxnSpPr>
        <p:spPr>
          <a:xfrm flipV="1">
            <a:off x="10282322" y="3250061"/>
            <a:ext cx="0" cy="137160"/>
          </a:xfrm>
          <a:prstGeom prst="line">
            <a:avLst/>
          </a:prstGeom>
          <a:noFill/>
          <a:ln w="12700" cap="sq" cmpd="sng" algn="ctr">
            <a:solidFill>
              <a:srgbClr val="383A3B">
                <a:lumMod val="50000"/>
                <a:lumOff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59443A05-CACB-B8E8-F908-76326CA52459}"/>
              </a:ext>
            </a:extLst>
          </p:cNvPr>
          <p:cNvCxnSpPr>
            <a:cxnSpLocks/>
          </p:cNvCxnSpPr>
          <p:nvPr/>
        </p:nvCxnSpPr>
        <p:spPr>
          <a:xfrm>
            <a:off x="9694664" y="3388694"/>
            <a:ext cx="587658" cy="0"/>
          </a:xfrm>
          <a:prstGeom prst="line">
            <a:avLst/>
          </a:prstGeom>
          <a:noFill/>
          <a:ln w="12700" cap="sq" cmpd="sng" algn="ctr">
            <a:solidFill>
              <a:srgbClr val="383A3B">
                <a:lumMod val="50000"/>
                <a:lumOff val="50000"/>
              </a:srgbClr>
            </a:solidFill>
            <a:prstDash val="solid"/>
            <a:miter lim="800000"/>
          </a:ln>
          <a:effectLst/>
        </p:spPr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92D9D03-D28D-0CC4-DA47-8F8ECA671DDA}"/>
              </a:ext>
            </a:extLst>
          </p:cNvPr>
          <p:cNvGrpSpPr/>
          <p:nvPr/>
        </p:nvGrpSpPr>
        <p:grpSpPr>
          <a:xfrm>
            <a:off x="9602378" y="3328778"/>
            <a:ext cx="118384" cy="116891"/>
            <a:chOff x="10771170" y="3259753"/>
            <a:chExt cx="157845" cy="227085"/>
          </a:xfrm>
        </p:grpSpPr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4C108F58-4097-AFED-C91C-8195447D43C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71170" y="3259753"/>
              <a:ext cx="90386" cy="227085"/>
            </a:xfrm>
            <a:prstGeom prst="line">
              <a:avLst/>
            </a:prstGeom>
            <a:noFill/>
            <a:ln w="12700" cap="sq" cmpd="sng" algn="ctr">
              <a:solidFill>
                <a:srgbClr val="383A3B">
                  <a:lumMod val="50000"/>
                  <a:lumOff val="5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9AFB0A54-4A88-CD36-32B4-B5E83BE87D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38629" y="3259753"/>
              <a:ext cx="90386" cy="227085"/>
            </a:xfrm>
            <a:prstGeom prst="line">
              <a:avLst/>
            </a:prstGeom>
            <a:noFill/>
            <a:ln w="12700" cap="sq" cmpd="sng" algn="ctr">
              <a:solidFill>
                <a:srgbClr val="383A3B">
                  <a:lumMod val="50000"/>
                  <a:lumOff val="50000"/>
                </a:srgbClr>
              </a:solidFill>
              <a:prstDash val="solid"/>
              <a:miter lim="800000"/>
            </a:ln>
            <a:effectLst/>
          </p:spPr>
        </p:cxn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369FAE28-1370-6972-B124-91B8F365D1D9}"/>
              </a:ext>
            </a:extLst>
          </p:cNvPr>
          <p:cNvSpPr/>
          <p:nvPr/>
        </p:nvSpPr>
        <p:spPr>
          <a:xfrm>
            <a:off x="4967222" y="3452474"/>
            <a:ext cx="480151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685766">
              <a:defRPr/>
            </a:pPr>
            <a:r>
              <a:rPr lang="en-US" sz="900" b="1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y 1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D5FE0F77-4784-7621-9E80-00C6F877A640}"/>
              </a:ext>
            </a:extLst>
          </p:cNvPr>
          <p:cNvSpPr/>
          <p:nvPr/>
        </p:nvSpPr>
        <p:spPr>
          <a:xfrm>
            <a:off x="7611249" y="3452474"/>
            <a:ext cx="690220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685766">
              <a:defRPr/>
            </a:pPr>
            <a:r>
              <a:rPr lang="en-US" sz="900" b="1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ek 24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FB56A57-4E6E-E1F6-45E5-7F8D36E90ED1}"/>
              </a:ext>
            </a:extLst>
          </p:cNvPr>
          <p:cNvSpPr/>
          <p:nvPr/>
        </p:nvSpPr>
        <p:spPr>
          <a:xfrm>
            <a:off x="7920567" y="3163263"/>
            <a:ext cx="1413531" cy="13849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 defTabSz="685766">
              <a:defRPr/>
            </a:pPr>
            <a:r>
              <a:rPr lang="en-US" sz="9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 Endpoint</a:t>
            </a:r>
          </a:p>
        </p:txBody>
      </p:sp>
      <p:sp>
        <p:nvSpPr>
          <p:cNvPr id="83" name="Isosceles Triangle 82">
            <a:extLst>
              <a:ext uri="{FF2B5EF4-FFF2-40B4-BE49-F238E27FC236}">
                <a16:creationId xmlns:a16="http://schemas.microsoft.com/office/drawing/2014/main" id="{1143D55D-535B-2A2C-9AD4-774216F9726E}"/>
              </a:ext>
            </a:extLst>
          </p:cNvPr>
          <p:cNvSpPr/>
          <p:nvPr/>
        </p:nvSpPr>
        <p:spPr>
          <a:xfrm rot="10800000">
            <a:off x="7847578" y="3151069"/>
            <a:ext cx="217562" cy="201931"/>
          </a:xfrm>
          <a:prstGeom prst="triangle">
            <a:avLst/>
          </a:prstGeom>
          <a:solidFill>
            <a:srgbClr val="C00000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66">
              <a:defRPr/>
            </a:pPr>
            <a:endParaRPr lang="en-US" sz="1350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55CB0DE8-9E16-D0BD-F0C6-CC321CDE5D72}"/>
              </a:ext>
            </a:extLst>
          </p:cNvPr>
          <p:cNvSpPr/>
          <p:nvPr/>
        </p:nvSpPr>
        <p:spPr>
          <a:xfrm>
            <a:off x="5207298" y="1850284"/>
            <a:ext cx="2698334" cy="415498"/>
          </a:xfrm>
          <a:prstGeom prst="rect">
            <a:avLst/>
          </a:prstGeom>
          <a:solidFill>
            <a:srgbClr val="36AAD6"/>
          </a:solidFill>
        </p:spPr>
        <p:txBody>
          <a:bodyPr wrap="square">
            <a:spAutoFit/>
          </a:bodyPr>
          <a:lstStyle/>
          <a:p>
            <a:pPr algn="ctr" defTabSz="685766">
              <a:defRPr/>
            </a:pPr>
            <a:r>
              <a:rPr lang="en-US" sz="105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melotinib (MMB) 200 mg daily </a:t>
            </a:r>
          </a:p>
          <a:p>
            <a:pPr algn="ctr" defTabSz="685766">
              <a:defRPr/>
            </a:pPr>
            <a:r>
              <a:rPr lang="en-US" sz="105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Placebo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34B5053C-2AC8-27E2-BE99-9D78FAD8E342}"/>
              </a:ext>
            </a:extLst>
          </p:cNvPr>
          <p:cNvSpPr/>
          <p:nvPr/>
        </p:nvSpPr>
        <p:spPr>
          <a:xfrm>
            <a:off x="3890130" y="1858070"/>
            <a:ext cx="78656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66">
              <a:defRPr/>
            </a:pPr>
            <a:r>
              <a:rPr lang="en-US" sz="1200" b="1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ients</a:t>
            </a:r>
          </a:p>
          <a:p>
            <a:pPr algn="ctr" defTabSz="685766">
              <a:defRPr/>
            </a:pPr>
            <a:r>
              <a:rPr lang="en-US" sz="1200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=195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AB0C9B57-FB43-068F-220C-C923F343E239}"/>
              </a:ext>
            </a:extLst>
          </p:cNvPr>
          <p:cNvCxnSpPr>
            <a:cxnSpLocks/>
          </p:cNvCxnSpPr>
          <p:nvPr/>
        </p:nvCxnSpPr>
        <p:spPr>
          <a:xfrm flipV="1">
            <a:off x="5848124" y="2529390"/>
            <a:ext cx="0" cy="311067"/>
          </a:xfrm>
          <a:prstGeom prst="line">
            <a:avLst/>
          </a:prstGeom>
          <a:noFill/>
          <a:ln w="19050" cap="flat" cmpd="sng" algn="ctr">
            <a:solidFill>
              <a:srgbClr val="383A3B"/>
            </a:solidFill>
            <a:prstDash val="lgDash"/>
            <a:miter lim="800000"/>
          </a:ln>
          <a:effectLst/>
        </p:spPr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E8ED022F-7208-58BF-1EAB-D4B91CDFAE95}"/>
              </a:ext>
            </a:extLst>
          </p:cNvPr>
          <p:cNvCxnSpPr>
            <a:cxnSpLocks/>
          </p:cNvCxnSpPr>
          <p:nvPr/>
        </p:nvCxnSpPr>
        <p:spPr>
          <a:xfrm>
            <a:off x="5839489" y="2540425"/>
            <a:ext cx="2232052" cy="0"/>
          </a:xfrm>
          <a:prstGeom prst="line">
            <a:avLst/>
          </a:prstGeom>
          <a:noFill/>
          <a:ln w="19050" cap="flat" cmpd="sng" algn="ctr">
            <a:solidFill>
              <a:srgbClr val="383A3B"/>
            </a:solidFill>
            <a:prstDash val="lgDash"/>
            <a:miter lim="800000"/>
          </a:ln>
          <a:effectLst/>
        </p:spPr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D8FDB50F-15B2-8243-21BD-C77FC8715D97}"/>
              </a:ext>
            </a:extLst>
          </p:cNvPr>
          <p:cNvSpPr/>
          <p:nvPr/>
        </p:nvSpPr>
        <p:spPr>
          <a:xfrm>
            <a:off x="5203014" y="2669227"/>
            <a:ext cx="2702618" cy="415498"/>
          </a:xfrm>
          <a:prstGeom prst="rect">
            <a:avLst/>
          </a:prstGeom>
          <a:solidFill>
            <a:srgbClr val="00587C"/>
          </a:solidFill>
        </p:spPr>
        <p:txBody>
          <a:bodyPr wrap="square">
            <a:spAutoFit/>
          </a:bodyPr>
          <a:lstStyle/>
          <a:p>
            <a:pPr algn="ctr" defTabSz="685766">
              <a:defRPr/>
            </a:pPr>
            <a:r>
              <a:rPr lang="en-US" sz="105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azol (DAN)* 600 mg daily </a:t>
            </a:r>
          </a:p>
          <a:p>
            <a:pPr algn="ctr" defTabSz="685766">
              <a:defRPr/>
            </a:pPr>
            <a:r>
              <a:rPr lang="en-US" sz="105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Placebo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93A20A2D-70C1-D851-EE8C-65AEB060CB11}"/>
              </a:ext>
            </a:extLst>
          </p:cNvPr>
          <p:cNvSpPr/>
          <p:nvPr/>
        </p:nvSpPr>
        <p:spPr>
          <a:xfrm>
            <a:off x="7987290" y="1850285"/>
            <a:ext cx="1521309" cy="1234440"/>
          </a:xfrm>
          <a:prstGeom prst="rect">
            <a:avLst/>
          </a:prstGeom>
          <a:solidFill>
            <a:srgbClr val="36AAD6"/>
          </a:solidFill>
        </p:spPr>
        <p:txBody>
          <a:bodyPr wrap="square" anchor="ctr">
            <a:noAutofit/>
          </a:bodyPr>
          <a:lstStyle/>
          <a:p>
            <a:pPr algn="ctr" defTabSz="685766">
              <a:defRPr/>
            </a:pPr>
            <a:r>
              <a:rPr lang="en-US" sz="105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melotinib (MMB) </a:t>
            </a:r>
            <a:br>
              <a:rPr lang="en-US" sz="105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 mg daily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34B16FF-F026-4A5B-0C0A-E5F14F5FC2D0}"/>
              </a:ext>
            </a:extLst>
          </p:cNvPr>
          <p:cNvSpPr txBox="1"/>
          <p:nvPr/>
        </p:nvSpPr>
        <p:spPr>
          <a:xfrm>
            <a:off x="3655047" y="2720699"/>
            <a:ext cx="1331735" cy="276999"/>
          </a:xfrm>
          <a:prstGeom prst="rect">
            <a:avLst/>
          </a:prstGeom>
          <a:noFill/>
          <a:ln w="38100"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en-US" sz="900" b="1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Ki taper/washout</a:t>
            </a:r>
            <a:br>
              <a:rPr lang="en-US" sz="900" b="1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" b="1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≥21 days </a:t>
            </a:r>
          </a:p>
        </p:txBody>
      </p:sp>
      <p:sp>
        <p:nvSpPr>
          <p:cNvPr id="91" name="Isosceles Triangle 90">
            <a:extLst>
              <a:ext uri="{FF2B5EF4-FFF2-40B4-BE49-F238E27FC236}">
                <a16:creationId xmlns:a16="http://schemas.microsoft.com/office/drawing/2014/main" id="{8C43643E-D0F8-4EDB-B741-CD0FEE35A5B9}"/>
              </a:ext>
            </a:extLst>
          </p:cNvPr>
          <p:cNvSpPr/>
          <p:nvPr/>
        </p:nvSpPr>
        <p:spPr>
          <a:xfrm rot="10800000">
            <a:off x="4170853" y="2326458"/>
            <a:ext cx="326949" cy="239139"/>
          </a:xfrm>
          <a:prstGeom prst="triangle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66">
              <a:defRPr/>
            </a:pPr>
            <a:endParaRPr lang="en-US" sz="1350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D1A99DB2-8434-AC5A-8A10-69AC698A7A18}"/>
              </a:ext>
            </a:extLst>
          </p:cNvPr>
          <p:cNvSpPr/>
          <p:nvPr/>
        </p:nvSpPr>
        <p:spPr>
          <a:xfrm>
            <a:off x="1724025" y="1975770"/>
            <a:ext cx="1780569" cy="983475"/>
          </a:xfrm>
          <a:prstGeom prst="rect">
            <a:avLst/>
          </a:prstGeom>
          <a:solidFill>
            <a:srgbClr val="E8EAEC"/>
          </a:solidFill>
          <a:ln w="12700">
            <a:noFill/>
          </a:ln>
        </p:spPr>
        <p:txBody>
          <a:bodyPr wrap="square" anchor="ctr" anchorCtr="0">
            <a:noAutofit/>
          </a:bodyPr>
          <a:lstStyle/>
          <a:p>
            <a:pPr algn="ctr" defTabSz="685766">
              <a:defRPr/>
            </a:pPr>
            <a:r>
              <a:rPr lang="en-US" sz="1050" b="1" kern="0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ously Treated </a:t>
            </a:r>
            <a:br>
              <a:rPr lang="en-US" sz="1050" b="1" kern="0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b="1" kern="0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JAK inhibitor</a:t>
            </a:r>
            <a:br>
              <a:rPr lang="en-US" sz="1050" kern="0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kern="0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mptomatic (TSS ≥10) and Anemic </a:t>
            </a:r>
            <a:br>
              <a:rPr lang="en-US" sz="1050" kern="0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50" kern="0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hemoglobin &lt;10 g/dL)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56ACAB31-96E4-AF97-5C86-C1FB39F0AA47}"/>
              </a:ext>
            </a:extLst>
          </p:cNvPr>
          <p:cNvSpPr/>
          <p:nvPr/>
        </p:nvSpPr>
        <p:spPr>
          <a:xfrm>
            <a:off x="5905638" y="2354468"/>
            <a:ext cx="1990820" cy="189283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defTabSz="685766">
              <a:lnSpc>
                <a:spcPct val="90000"/>
              </a:lnSpc>
              <a:defRPr/>
            </a:pPr>
            <a:r>
              <a:rPr lang="en-US" sz="700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rly crossover if confirmed progressio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8F73536B-C17F-7DCE-A555-2219572FF436}"/>
              </a:ext>
            </a:extLst>
          </p:cNvPr>
          <p:cNvSpPr/>
          <p:nvPr/>
        </p:nvSpPr>
        <p:spPr>
          <a:xfrm>
            <a:off x="1724025" y="3086297"/>
            <a:ext cx="1780569" cy="798371"/>
          </a:xfrm>
          <a:prstGeom prst="rect">
            <a:avLst/>
          </a:prstGeom>
          <a:solidFill>
            <a:srgbClr val="E8EAEC"/>
          </a:solidFill>
          <a:ln w="12700">
            <a:noFill/>
          </a:ln>
        </p:spPr>
        <p:txBody>
          <a:bodyPr wrap="square" lIns="81000" tIns="81000" rIns="81000" bIns="81000" anchor="t" anchorCtr="0">
            <a:spAutoFit/>
          </a:bodyPr>
          <a:lstStyle/>
          <a:p>
            <a:pPr defTabSz="685766">
              <a:defRPr/>
            </a:pPr>
            <a:r>
              <a:rPr lang="en-US" sz="825" b="1" kern="0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ification:</a:t>
            </a:r>
          </a:p>
          <a:p>
            <a:pPr marL="66675" indent="-66675" defTabSz="685766">
              <a:buClr>
                <a:srgbClr val="0076A9"/>
              </a:buClr>
              <a:buFont typeface="Wingdings" panose="05000000000000000000" pitchFamily="2" charset="2"/>
              <a:buChar char="§"/>
              <a:defRPr/>
            </a:pPr>
            <a:r>
              <a:rPr lang="en-US" sz="825" kern="0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symptom score </a:t>
            </a:r>
          </a:p>
          <a:p>
            <a:pPr marL="66675" indent="-66675" defTabSz="685766">
              <a:buClr>
                <a:srgbClr val="0076A9"/>
              </a:buClr>
              <a:buFont typeface="Wingdings" panose="05000000000000000000" pitchFamily="2" charset="2"/>
              <a:buChar char="§"/>
              <a:defRPr/>
            </a:pPr>
            <a:r>
              <a:rPr lang="en-US" sz="825" kern="0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lpable spleen length </a:t>
            </a:r>
          </a:p>
          <a:p>
            <a:pPr marL="66675" indent="-66675" defTabSz="685766">
              <a:buClr>
                <a:srgbClr val="0076A9"/>
              </a:buClr>
              <a:buFont typeface="Wingdings" panose="05000000000000000000" pitchFamily="2" charset="2"/>
              <a:buChar char="§"/>
              <a:defRPr/>
            </a:pPr>
            <a:r>
              <a:rPr lang="en-US" sz="825" kern="0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used units in prior 8 </a:t>
            </a:r>
            <a:r>
              <a:rPr lang="en-US" sz="825" kern="0" err="1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ks</a:t>
            </a:r>
            <a:endParaRPr lang="en-US" sz="825" kern="0">
              <a:solidFill>
                <a:srgbClr val="383A3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6675" indent="-66675" defTabSz="685766">
              <a:buClr>
                <a:srgbClr val="0076A9"/>
              </a:buClr>
              <a:buFont typeface="Wingdings" panose="05000000000000000000" pitchFamily="2" charset="2"/>
              <a:buChar char="§"/>
              <a:defRPr/>
            </a:pPr>
            <a:r>
              <a:rPr lang="en-US" sz="825" kern="0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y site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A255284D-3380-6047-7540-5DBB7414F424}"/>
              </a:ext>
            </a:extLst>
          </p:cNvPr>
          <p:cNvSpPr txBox="1"/>
          <p:nvPr/>
        </p:nvSpPr>
        <p:spPr>
          <a:xfrm>
            <a:off x="3655048" y="3088222"/>
            <a:ext cx="1294605" cy="626551"/>
          </a:xfrm>
          <a:prstGeom prst="rect">
            <a:avLst/>
          </a:prstGeom>
          <a:solidFill>
            <a:srgbClr val="E8EAEC"/>
          </a:solidFill>
          <a:ln w="0">
            <a:noFill/>
          </a:ln>
          <a:effectLst/>
        </p:spPr>
        <p:txBody>
          <a:bodyPr wrap="square" lIns="81000" tIns="81000" rIns="81000" bIns="81000" rtlCol="0" anchor="t">
            <a:noAutofit/>
          </a:bodyPr>
          <a:lstStyle/>
          <a:p>
            <a:pPr algn="ctr" defTabSz="514337">
              <a:defRPr/>
            </a:pPr>
            <a:r>
              <a:rPr lang="en-US" sz="750">
                <a:solidFill>
                  <a:srgbClr val="383A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ned enrollment: 180</a:t>
            </a:r>
          </a:p>
          <a:p>
            <a:pPr algn="ctr" defTabSz="514337">
              <a:defRPr/>
            </a:pPr>
            <a:r>
              <a:rPr lang="en-US" sz="75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PE April 2020 </a:t>
            </a:r>
          </a:p>
          <a:p>
            <a:pPr algn="ctr" defTabSz="514337">
              <a:defRPr/>
            </a:pPr>
            <a:r>
              <a:rPr lang="en-US" sz="75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PE June 2021</a:t>
            </a:r>
          </a:p>
          <a:p>
            <a:pPr algn="ctr" defTabSz="514337">
              <a:defRPr/>
            </a:pPr>
            <a:r>
              <a:rPr lang="en-US" sz="750">
                <a:solidFill>
                  <a:srgbClr val="E7E6E6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 lock Dec 2021</a:t>
            </a:r>
          </a:p>
        </p:txBody>
      </p:sp>
    </p:spTree>
    <p:extLst>
      <p:ext uri="{BB962C8B-B14F-4D97-AF65-F5344CB8AC3E}">
        <p14:creationId xmlns:p14="http://schemas.microsoft.com/office/powerpoint/2010/main" val="608589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E1F81F9-8D9F-756E-3762-31948187F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FSAF Total Symptom Score Response Rate</a:t>
            </a:r>
            <a:r>
              <a:rPr lang="en-US" baseline="30000"/>
              <a:t>*</a:t>
            </a:r>
            <a:r>
              <a:rPr lang="en-US"/>
              <a:t> at W24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320420-57BA-8C1E-75A2-5D042F7D37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BE33F7A0-71F0-446B-9DE8-6D75BE64EE0F}" type="slidenum">
              <a:rPr lang="en-US"/>
              <a:pPr defTabSz="685800"/>
              <a:t>1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9AC535-1C4A-4451-6A91-12B9DD4235C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Ruben Mesa, MD, FACP</a:t>
            </a:r>
          </a:p>
          <a:p>
            <a:r>
              <a:rPr lang="en-US"/>
              <a:t>Director, Mays Cancer Center at UT Health San Antonio MD Anderso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6A7F-A96E-3E37-7F7A-0F06979EB8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721645" y="5036006"/>
            <a:ext cx="8748713" cy="248057"/>
          </a:xfrm>
        </p:spPr>
        <p:txBody>
          <a:bodyPr/>
          <a:lstStyle/>
          <a:p>
            <a:r>
              <a:rPr lang="en-US">
                <a:cs typeface="+mn-cs"/>
              </a:rPr>
              <a:t>*Defined as the proportion of patients who achieve ≥50% reduction in TSS over the 28 days immediately prior to the end of Week 24 compared to baseline.</a:t>
            </a:r>
            <a:endParaRPr lang="en-US" baseline="3000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74DA11C-3494-A88D-57A9-10B09759F845}"/>
              </a:ext>
            </a:extLst>
          </p:cNvPr>
          <p:cNvSpPr txBox="1">
            <a:spLocks/>
          </p:cNvSpPr>
          <p:nvPr/>
        </p:nvSpPr>
        <p:spPr>
          <a:xfrm>
            <a:off x="1721644" y="642731"/>
            <a:ext cx="8915400" cy="28309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2557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685800"/>
            <a:endParaRPr lang="en-US" sz="1575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46A2140-AD74-86C2-B8E7-A4EDFBE6ED1E}"/>
              </a:ext>
            </a:extLst>
          </p:cNvPr>
          <p:cNvSpPr txBox="1">
            <a:spLocks/>
          </p:cNvSpPr>
          <p:nvPr/>
        </p:nvSpPr>
        <p:spPr>
          <a:xfrm>
            <a:off x="2328735" y="5278233"/>
            <a:ext cx="7835871" cy="27384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76A9"/>
              </a:buClr>
              <a:buFont typeface="Arial" panose="020B0604020202020204" pitchFamily="34" charset="0"/>
              <a:buChar char="•"/>
              <a:defRPr lang="en-US" sz="24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76A9"/>
              </a:buClr>
              <a:buFont typeface="Wingdings" panose="05000000000000000000" pitchFamily="2" charset="2"/>
              <a:buChar char="§"/>
              <a:defRPr lang="en-US" sz="24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76A9"/>
              </a:buClr>
              <a:buFont typeface="Courier New" panose="02070309020205020404" pitchFamily="49" charset="0"/>
              <a:buChar char="o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76A9"/>
              </a:buClr>
              <a:buFont typeface="Arial" panose="020B0604020202020204" pitchFamily="34" charset="0"/>
              <a:buChar char="•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76A9"/>
              </a:buClr>
              <a:buFont typeface="Arial" panose="020B0604020202020204" pitchFamily="34" charset="0"/>
              <a:buChar char="•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750"/>
              </a:spcBef>
              <a:buNone/>
            </a:pPr>
            <a:endParaRPr lang="en-US" sz="800" baseline="30000">
              <a:solidFill>
                <a:prstClr val="black"/>
              </a:solidFill>
            </a:endParaRPr>
          </a:p>
        </p:txBody>
      </p:sp>
      <p:sp>
        <p:nvSpPr>
          <p:cNvPr id="17" name="Line 5">
            <a:extLst>
              <a:ext uri="{FF2B5EF4-FFF2-40B4-BE49-F238E27FC236}">
                <a16:creationId xmlns:a16="http://schemas.microsoft.com/office/drawing/2014/main" id="{57D21B9D-A69B-F99B-B103-8E0849866BFF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2707" y="1875474"/>
            <a:ext cx="0" cy="3002756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" name="Line 6">
            <a:extLst>
              <a:ext uri="{FF2B5EF4-FFF2-40B4-BE49-F238E27FC236}">
                <a16:creationId xmlns:a16="http://schemas.microsoft.com/office/drawing/2014/main" id="{6E030056-E5DB-1A24-9E44-F3F749CF993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2007633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9" name="Line 7">
            <a:extLst>
              <a:ext uri="{FF2B5EF4-FFF2-40B4-BE49-F238E27FC236}">
                <a16:creationId xmlns:a16="http://schemas.microsoft.com/office/drawing/2014/main" id="{7864B364-4DC6-C461-4081-87DCE18E2B0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2268380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0" name="Line 8">
            <a:extLst>
              <a:ext uri="{FF2B5EF4-FFF2-40B4-BE49-F238E27FC236}">
                <a16:creationId xmlns:a16="http://schemas.microsoft.com/office/drawing/2014/main" id="{DEB7C7F0-13B2-13CD-2E56-453932000F3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2531508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" name="Line 9">
            <a:extLst>
              <a:ext uri="{FF2B5EF4-FFF2-40B4-BE49-F238E27FC236}">
                <a16:creationId xmlns:a16="http://schemas.microsoft.com/office/drawing/2014/main" id="{58626CCB-4DED-56B8-21A2-5125085689B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2792255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2" name="Line 10">
            <a:extLst>
              <a:ext uri="{FF2B5EF4-FFF2-40B4-BE49-F238E27FC236}">
                <a16:creationId xmlns:a16="http://schemas.microsoft.com/office/drawing/2014/main" id="{DF4B6163-5712-0AFD-0030-45A07775E2A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3053002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3" name="Line 11">
            <a:extLst>
              <a:ext uri="{FF2B5EF4-FFF2-40B4-BE49-F238E27FC236}">
                <a16:creationId xmlns:a16="http://schemas.microsoft.com/office/drawing/2014/main" id="{D44AD04D-38C4-6EDB-94F2-39A862B2920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3313748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4" name="Line 12">
            <a:extLst>
              <a:ext uri="{FF2B5EF4-FFF2-40B4-BE49-F238E27FC236}">
                <a16:creationId xmlns:a16="http://schemas.microsoft.com/office/drawing/2014/main" id="{3447921C-C0C6-551A-DD1A-0EAE58BDAE2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3574496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" name="Line 13">
            <a:extLst>
              <a:ext uri="{FF2B5EF4-FFF2-40B4-BE49-F238E27FC236}">
                <a16:creationId xmlns:a16="http://schemas.microsoft.com/office/drawing/2014/main" id="{F171323E-2657-0444-3F94-4025630B7B4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3835242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6" name="Line 14">
            <a:extLst>
              <a:ext uri="{FF2B5EF4-FFF2-40B4-BE49-F238E27FC236}">
                <a16:creationId xmlns:a16="http://schemas.microsoft.com/office/drawing/2014/main" id="{3EAE4F9F-2D2B-ACDC-AD0E-FE086CDF1D2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4095989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7" name="Line 15">
            <a:extLst>
              <a:ext uri="{FF2B5EF4-FFF2-40B4-BE49-F238E27FC236}">
                <a16:creationId xmlns:a16="http://schemas.microsoft.com/office/drawing/2014/main" id="{238810B9-9433-0157-C978-EA0976008FC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4356736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8" name="Line 16">
            <a:extLst>
              <a:ext uri="{FF2B5EF4-FFF2-40B4-BE49-F238E27FC236}">
                <a16:creationId xmlns:a16="http://schemas.microsoft.com/office/drawing/2014/main" id="{B74E894B-E92D-8939-D2C2-4CEEB86F451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4617483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9" name="Line 17">
            <a:extLst>
              <a:ext uri="{FF2B5EF4-FFF2-40B4-BE49-F238E27FC236}">
                <a16:creationId xmlns:a16="http://schemas.microsoft.com/office/drawing/2014/main" id="{98DDAB9D-8FEB-8CAC-5898-B39031697BF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4878230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2" name="Rectangle 20">
            <a:extLst>
              <a:ext uri="{FF2B5EF4-FFF2-40B4-BE49-F238E27FC236}">
                <a16:creationId xmlns:a16="http://schemas.microsoft.com/office/drawing/2014/main" id="{9BB23728-3077-E754-8C91-4C47AA7366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1530" y="3574497"/>
            <a:ext cx="40481" cy="1265635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3" name="Rectangle 21">
            <a:extLst>
              <a:ext uri="{FF2B5EF4-FFF2-40B4-BE49-F238E27FC236}">
                <a16:creationId xmlns:a16="http://schemas.microsoft.com/office/drawing/2014/main" id="{78D0FB90-6FC0-8316-E524-298C801393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55316" y="3574496"/>
            <a:ext cx="41672" cy="1177529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4" name="Rectangle 22">
            <a:extLst>
              <a:ext uri="{FF2B5EF4-FFF2-40B4-BE49-F238E27FC236}">
                <a16:creationId xmlns:a16="http://schemas.microsoft.com/office/drawing/2014/main" id="{7B036FAA-CF11-58F1-DFC9-88D0A1104F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0295" y="3574496"/>
            <a:ext cx="40481" cy="1166813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5" name="Rectangle 23">
            <a:extLst>
              <a:ext uri="{FF2B5EF4-FFF2-40B4-BE49-F238E27FC236}">
                <a16:creationId xmlns:a16="http://schemas.microsoft.com/office/drawing/2014/main" id="{747BBC83-A809-D384-97A8-F23D0E73F8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4081" y="3574496"/>
            <a:ext cx="41672" cy="112276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6" name="Rectangle 24">
            <a:extLst>
              <a:ext uri="{FF2B5EF4-FFF2-40B4-BE49-F238E27FC236}">
                <a16:creationId xmlns:a16="http://schemas.microsoft.com/office/drawing/2014/main" id="{8A29E6B9-D051-9B51-BC84-63C804B85C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9060" y="3574497"/>
            <a:ext cx="40481" cy="1113235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7" name="Rectangle 25">
            <a:extLst>
              <a:ext uri="{FF2B5EF4-FFF2-40B4-BE49-F238E27FC236}">
                <a16:creationId xmlns:a16="http://schemas.microsoft.com/office/drawing/2014/main" id="{39C0FC3A-F0F4-1473-8BC5-A1ED82CD50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2847" y="3574496"/>
            <a:ext cx="40481" cy="11049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8" name="Rectangle 26">
            <a:extLst>
              <a:ext uri="{FF2B5EF4-FFF2-40B4-BE49-F238E27FC236}">
                <a16:creationId xmlns:a16="http://schemas.microsoft.com/office/drawing/2014/main" id="{977C3406-241E-4DD2-31B4-E3A21B3DA8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6634" y="3574497"/>
            <a:ext cx="40481" cy="1095375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9" name="Rectangle 27">
            <a:extLst>
              <a:ext uri="{FF2B5EF4-FFF2-40B4-BE49-F238E27FC236}">
                <a16:creationId xmlns:a16="http://schemas.microsoft.com/office/drawing/2014/main" id="{032039EF-325A-1242-1ECD-32731F5B2C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0421" y="3574496"/>
            <a:ext cx="40481" cy="108466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40" name="Rectangle 28">
            <a:extLst>
              <a:ext uri="{FF2B5EF4-FFF2-40B4-BE49-F238E27FC236}">
                <a16:creationId xmlns:a16="http://schemas.microsoft.com/office/drawing/2014/main" id="{85A18534-93BE-79B1-3156-F91445B779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4208" y="3574496"/>
            <a:ext cx="40481" cy="1078706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41" name="Rectangle 29">
            <a:extLst>
              <a:ext uri="{FF2B5EF4-FFF2-40B4-BE49-F238E27FC236}">
                <a16:creationId xmlns:a16="http://schemas.microsoft.com/office/drawing/2014/main" id="{25CB95AC-767A-CF16-5658-8CB7E59821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7994" y="3574497"/>
            <a:ext cx="41672" cy="1069181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42" name="Rectangle 30">
            <a:extLst>
              <a:ext uri="{FF2B5EF4-FFF2-40B4-BE49-F238E27FC236}">
                <a16:creationId xmlns:a16="http://schemas.microsoft.com/office/drawing/2014/main" id="{120A0BB1-9660-AFCE-3A5B-413E361FAE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2972" y="3574495"/>
            <a:ext cx="41672" cy="1042988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43" name="Rectangle 31">
            <a:extLst>
              <a:ext uri="{FF2B5EF4-FFF2-40B4-BE49-F238E27FC236}">
                <a16:creationId xmlns:a16="http://schemas.microsoft.com/office/drawing/2014/main" id="{B5D42AE2-B6F3-3D2C-EB28-6596B2CCCF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7951" y="3574497"/>
            <a:ext cx="40481" cy="1031081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44" name="Rectangle 32">
            <a:extLst>
              <a:ext uri="{FF2B5EF4-FFF2-40B4-BE49-F238E27FC236}">
                <a16:creationId xmlns:a16="http://schemas.microsoft.com/office/drawing/2014/main" id="{8ED8CD6F-0A42-3DE2-24BF-4BBE2F76B1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1737" y="3574497"/>
            <a:ext cx="41672" cy="1031081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45" name="Rectangle 33">
            <a:extLst>
              <a:ext uri="{FF2B5EF4-FFF2-40B4-BE49-F238E27FC236}">
                <a16:creationId xmlns:a16="http://schemas.microsoft.com/office/drawing/2014/main" id="{491D7491-96B4-7A2B-917C-42BBB785B7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6716" y="3574496"/>
            <a:ext cx="40481" cy="1014413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46" name="Rectangle 34">
            <a:extLst>
              <a:ext uri="{FF2B5EF4-FFF2-40B4-BE49-F238E27FC236}">
                <a16:creationId xmlns:a16="http://schemas.microsoft.com/office/drawing/2014/main" id="{EFE72528-0A7D-FA50-207A-12CC8DC68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0502" y="3574495"/>
            <a:ext cx="41672" cy="996554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47" name="Rectangle 35">
            <a:extLst>
              <a:ext uri="{FF2B5EF4-FFF2-40B4-BE49-F238E27FC236}">
                <a16:creationId xmlns:a16="http://schemas.microsoft.com/office/drawing/2014/main" id="{2E379CBB-1361-9D13-68FB-61A9D46C99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5481" y="3574496"/>
            <a:ext cx="40481" cy="97036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48" name="Rectangle 36">
            <a:extLst>
              <a:ext uri="{FF2B5EF4-FFF2-40B4-BE49-F238E27FC236}">
                <a16:creationId xmlns:a16="http://schemas.microsoft.com/office/drawing/2014/main" id="{85B20089-B971-DB59-F073-108442DC3A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9268" y="3574497"/>
            <a:ext cx="40481" cy="934641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49" name="Rectangle 37">
            <a:extLst>
              <a:ext uri="{FF2B5EF4-FFF2-40B4-BE49-F238E27FC236}">
                <a16:creationId xmlns:a16="http://schemas.microsoft.com/office/drawing/2014/main" id="{DE384EB5-005D-5E1B-64A5-5F181302E8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3055" y="3574496"/>
            <a:ext cx="40481" cy="926306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0" name="Rectangle 38">
            <a:extLst>
              <a:ext uri="{FF2B5EF4-FFF2-40B4-BE49-F238E27FC236}">
                <a16:creationId xmlns:a16="http://schemas.microsoft.com/office/drawing/2014/main" id="{37E5652C-734A-90B7-E57B-B14C04C699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6841" y="3574496"/>
            <a:ext cx="41672" cy="926306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1" name="Rectangle 39">
            <a:extLst>
              <a:ext uri="{FF2B5EF4-FFF2-40B4-BE49-F238E27FC236}">
                <a16:creationId xmlns:a16="http://schemas.microsoft.com/office/drawing/2014/main" id="{E319BDA8-CC08-42BC-D02F-420077DB99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31820" y="3574497"/>
            <a:ext cx="40481" cy="878681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2" name="Rectangle 40">
            <a:extLst>
              <a:ext uri="{FF2B5EF4-FFF2-40B4-BE49-F238E27FC236}">
                <a16:creationId xmlns:a16="http://schemas.microsoft.com/office/drawing/2014/main" id="{261CC151-6415-376F-B6BA-660CAB6A89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5606" y="3574497"/>
            <a:ext cx="41672" cy="870347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3" name="Rectangle 41">
            <a:extLst>
              <a:ext uri="{FF2B5EF4-FFF2-40B4-BE49-F238E27FC236}">
                <a16:creationId xmlns:a16="http://schemas.microsoft.com/office/drawing/2014/main" id="{03624668-1C53-617F-00CE-1BD83DBEB4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0584" y="3574496"/>
            <a:ext cx="41672" cy="85606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4" name="Rectangle 42">
            <a:extLst>
              <a:ext uri="{FF2B5EF4-FFF2-40B4-BE49-F238E27FC236}">
                <a16:creationId xmlns:a16="http://schemas.microsoft.com/office/drawing/2014/main" id="{6AD095B0-09B3-24E5-B306-9720798541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5563" y="3574496"/>
            <a:ext cx="40481" cy="85606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5" name="Rectangle 43">
            <a:extLst>
              <a:ext uri="{FF2B5EF4-FFF2-40B4-BE49-F238E27FC236}">
                <a16:creationId xmlns:a16="http://schemas.microsoft.com/office/drawing/2014/main" id="{B6958BBA-A4DC-579E-EDFB-CA517FA573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9349" y="3574495"/>
            <a:ext cx="41672" cy="844154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6" name="Rectangle 44">
            <a:extLst>
              <a:ext uri="{FF2B5EF4-FFF2-40B4-BE49-F238E27FC236}">
                <a16:creationId xmlns:a16="http://schemas.microsoft.com/office/drawing/2014/main" id="{2240ABB1-A93E-4B21-FB3E-54A08D6183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4328" y="3574496"/>
            <a:ext cx="40481" cy="826294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7" name="Rectangle 45">
            <a:extLst>
              <a:ext uri="{FF2B5EF4-FFF2-40B4-BE49-F238E27FC236}">
                <a16:creationId xmlns:a16="http://schemas.microsoft.com/office/drawing/2014/main" id="{A31C6E10-587E-5209-4637-CBEF27F7C4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8115" y="3574496"/>
            <a:ext cx="40481" cy="791766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8" name="Rectangle 46">
            <a:extLst>
              <a:ext uri="{FF2B5EF4-FFF2-40B4-BE49-F238E27FC236}">
                <a16:creationId xmlns:a16="http://schemas.microsoft.com/office/drawing/2014/main" id="{1538C0CA-4D5A-CCDF-D348-6BF204BB4A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1902" y="3574496"/>
            <a:ext cx="40481" cy="762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9" name="Rectangle 47">
            <a:extLst>
              <a:ext uri="{FF2B5EF4-FFF2-40B4-BE49-F238E27FC236}">
                <a16:creationId xmlns:a16="http://schemas.microsoft.com/office/drawing/2014/main" id="{62EEBE8B-C0AB-D7DD-A976-E1EB166543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5688" y="3574495"/>
            <a:ext cx="41672" cy="738188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0" name="Rectangle 48">
            <a:extLst>
              <a:ext uri="{FF2B5EF4-FFF2-40B4-BE49-F238E27FC236}">
                <a16:creationId xmlns:a16="http://schemas.microsoft.com/office/drawing/2014/main" id="{B9238FD8-06B5-3261-F5C1-78CE6341C5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0667" y="3574495"/>
            <a:ext cx="40481" cy="729854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1" name="Rectangle 49">
            <a:extLst>
              <a:ext uri="{FF2B5EF4-FFF2-40B4-BE49-F238E27FC236}">
                <a16:creationId xmlns:a16="http://schemas.microsoft.com/office/drawing/2014/main" id="{71EC8806-B307-47CE-4629-EB7C96607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4453" y="3574496"/>
            <a:ext cx="41672" cy="720329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2" name="Rectangle 50">
            <a:extLst>
              <a:ext uri="{FF2B5EF4-FFF2-40B4-BE49-F238E27FC236}">
                <a16:creationId xmlns:a16="http://schemas.microsoft.com/office/drawing/2014/main" id="{645B1996-BF18-1F5A-EBF8-07454E2C6A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9432" y="3574496"/>
            <a:ext cx="40481" cy="709613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3" name="Rectangle 51">
            <a:extLst>
              <a:ext uri="{FF2B5EF4-FFF2-40B4-BE49-F238E27FC236}">
                <a16:creationId xmlns:a16="http://schemas.microsoft.com/office/drawing/2014/main" id="{9A1E6698-B897-1799-8494-5CE49CD67C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3218" y="3574497"/>
            <a:ext cx="41672" cy="667941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4" name="Rectangle 52">
            <a:extLst>
              <a:ext uri="{FF2B5EF4-FFF2-40B4-BE49-F238E27FC236}">
                <a16:creationId xmlns:a16="http://schemas.microsoft.com/office/drawing/2014/main" id="{713380FE-9C69-DACB-51FF-5984DC7007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8196" y="3574495"/>
            <a:ext cx="41672" cy="653654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5" name="Rectangle 53">
            <a:extLst>
              <a:ext uri="{FF2B5EF4-FFF2-40B4-BE49-F238E27FC236}">
                <a16:creationId xmlns:a16="http://schemas.microsoft.com/office/drawing/2014/main" id="{EA261FE4-77A7-7B33-1758-9B051F4CA6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3175" y="3574496"/>
            <a:ext cx="40481" cy="621506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6" name="Rectangle 54">
            <a:extLst>
              <a:ext uri="{FF2B5EF4-FFF2-40B4-BE49-F238E27FC236}">
                <a16:creationId xmlns:a16="http://schemas.microsoft.com/office/drawing/2014/main" id="{80C25920-66A5-DD3A-A707-63FC9047FC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6962" y="3574497"/>
            <a:ext cx="40481" cy="603647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7" name="Rectangle 55">
            <a:extLst>
              <a:ext uri="{FF2B5EF4-FFF2-40B4-BE49-F238E27FC236}">
                <a16:creationId xmlns:a16="http://schemas.microsoft.com/office/drawing/2014/main" id="{C5D15B08-4AAD-6136-43D2-F717033CE8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0749" y="3574497"/>
            <a:ext cx="40481" cy="603647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8" name="Rectangle 56">
            <a:extLst>
              <a:ext uri="{FF2B5EF4-FFF2-40B4-BE49-F238E27FC236}">
                <a16:creationId xmlns:a16="http://schemas.microsoft.com/office/drawing/2014/main" id="{146806DB-402D-E132-7D44-3BF32BF5B1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4536" y="3574496"/>
            <a:ext cx="40481" cy="597694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9" name="Rectangle 57">
            <a:extLst>
              <a:ext uri="{FF2B5EF4-FFF2-40B4-BE49-F238E27FC236}">
                <a16:creationId xmlns:a16="http://schemas.microsoft.com/office/drawing/2014/main" id="{FF5F28E2-5C03-2C2F-5113-544F3FEA9D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8323" y="3574495"/>
            <a:ext cx="40481" cy="585788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0" name="Rectangle 58">
            <a:extLst>
              <a:ext uri="{FF2B5EF4-FFF2-40B4-BE49-F238E27FC236}">
                <a16:creationId xmlns:a16="http://schemas.microsoft.com/office/drawing/2014/main" id="{8BB39BBF-FCB5-6660-2743-513C6428DF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2109" y="3574497"/>
            <a:ext cx="41672" cy="569119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1" name="Rectangle 59">
            <a:extLst>
              <a:ext uri="{FF2B5EF4-FFF2-40B4-BE49-F238E27FC236}">
                <a16:creationId xmlns:a16="http://schemas.microsoft.com/office/drawing/2014/main" id="{6F359CB3-DB1D-1F79-A942-0203ED984A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7088" y="3574497"/>
            <a:ext cx="40481" cy="569119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2" name="Rectangle 60">
            <a:extLst>
              <a:ext uri="{FF2B5EF4-FFF2-40B4-BE49-F238E27FC236}">
                <a16:creationId xmlns:a16="http://schemas.microsoft.com/office/drawing/2014/main" id="{9303A656-F344-CB61-5F33-E53B8E8A24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0874" y="3574496"/>
            <a:ext cx="41672" cy="55126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3" name="Rectangle 61">
            <a:extLst>
              <a:ext uri="{FF2B5EF4-FFF2-40B4-BE49-F238E27FC236}">
                <a16:creationId xmlns:a16="http://schemas.microsoft.com/office/drawing/2014/main" id="{320B60C7-E3CC-99CD-4867-761CF5306D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5853" y="3574497"/>
            <a:ext cx="40481" cy="541735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4" name="Rectangle 62">
            <a:extLst>
              <a:ext uri="{FF2B5EF4-FFF2-40B4-BE49-F238E27FC236}">
                <a16:creationId xmlns:a16="http://schemas.microsoft.com/office/drawing/2014/main" id="{CAB03385-07B0-875B-2F35-5283F9C87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79639" y="3574496"/>
            <a:ext cx="41672" cy="5334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5" name="Rectangle 63">
            <a:extLst>
              <a:ext uri="{FF2B5EF4-FFF2-40B4-BE49-F238E27FC236}">
                <a16:creationId xmlns:a16="http://schemas.microsoft.com/office/drawing/2014/main" id="{E874EAFA-5AE3-7FBF-DB61-BCB634BC6E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4618" y="3574496"/>
            <a:ext cx="40481" cy="525066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6" name="Rectangle 64">
            <a:extLst>
              <a:ext uri="{FF2B5EF4-FFF2-40B4-BE49-F238E27FC236}">
                <a16:creationId xmlns:a16="http://schemas.microsoft.com/office/drawing/2014/main" id="{3C3764E4-BDEF-EFEC-51A1-B775F33A31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8405" y="3574497"/>
            <a:ext cx="40481" cy="515541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7" name="Rectangle 65">
            <a:extLst>
              <a:ext uri="{FF2B5EF4-FFF2-40B4-BE49-F238E27FC236}">
                <a16:creationId xmlns:a16="http://schemas.microsoft.com/office/drawing/2014/main" id="{BC19E951-7C5A-BBC7-6B57-8490C8FDFF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2192" y="3574496"/>
            <a:ext cx="40481" cy="507206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8" name="Rectangle 66">
            <a:extLst>
              <a:ext uri="{FF2B5EF4-FFF2-40B4-BE49-F238E27FC236}">
                <a16:creationId xmlns:a16="http://schemas.microsoft.com/office/drawing/2014/main" id="{EC538282-B41E-1F84-AA83-D725F78BF5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5979" y="3574496"/>
            <a:ext cx="40481" cy="486966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9" name="Rectangle 67">
            <a:extLst>
              <a:ext uri="{FF2B5EF4-FFF2-40B4-BE49-F238E27FC236}">
                <a16:creationId xmlns:a16="http://schemas.microsoft.com/office/drawing/2014/main" id="{85BF8564-E4CC-F77D-0F4A-6D8E4DD9F4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766" y="3574496"/>
            <a:ext cx="40481" cy="481013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0" name="Rectangle 68">
            <a:extLst>
              <a:ext uri="{FF2B5EF4-FFF2-40B4-BE49-F238E27FC236}">
                <a16:creationId xmlns:a16="http://schemas.microsoft.com/office/drawing/2014/main" id="{24B2B34B-7CDC-C0F5-4D37-F405A86CA9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3553" y="3574497"/>
            <a:ext cx="40481" cy="477441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1" name="Rectangle 69">
            <a:extLst>
              <a:ext uri="{FF2B5EF4-FFF2-40B4-BE49-F238E27FC236}">
                <a16:creationId xmlns:a16="http://schemas.microsoft.com/office/drawing/2014/main" id="{041B176D-1FA7-B5E4-E947-6BA48061D5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7339" y="3574497"/>
            <a:ext cx="41672" cy="459581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2" name="Rectangle 70">
            <a:extLst>
              <a:ext uri="{FF2B5EF4-FFF2-40B4-BE49-F238E27FC236}">
                <a16:creationId xmlns:a16="http://schemas.microsoft.com/office/drawing/2014/main" id="{2B630B90-30DE-D0AB-C44C-C5063E4762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2318" y="3574496"/>
            <a:ext cx="40481" cy="442913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3" name="Rectangle 71">
            <a:extLst>
              <a:ext uri="{FF2B5EF4-FFF2-40B4-BE49-F238E27FC236}">
                <a16:creationId xmlns:a16="http://schemas.microsoft.com/office/drawing/2014/main" id="{0AD9B234-6330-8579-35DE-40247D1317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6104" y="3574497"/>
            <a:ext cx="41672" cy="413147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4" name="Rectangle 72">
            <a:extLst>
              <a:ext uri="{FF2B5EF4-FFF2-40B4-BE49-F238E27FC236}">
                <a16:creationId xmlns:a16="http://schemas.microsoft.com/office/drawing/2014/main" id="{2AA2A2BA-8A92-4C8D-9F40-5C3E927E7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1083" y="3574496"/>
            <a:ext cx="40481" cy="407194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5" name="Rectangle 73">
            <a:extLst>
              <a:ext uri="{FF2B5EF4-FFF2-40B4-BE49-F238E27FC236}">
                <a16:creationId xmlns:a16="http://schemas.microsoft.com/office/drawing/2014/main" id="{F29C8E88-8CA7-F291-40FC-D2B079C676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4869" y="3574497"/>
            <a:ext cx="41672" cy="378619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6" name="Rectangle 74">
            <a:extLst>
              <a:ext uri="{FF2B5EF4-FFF2-40B4-BE49-F238E27FC236}">
                <a16:creationId xmlns:a16="http://schemas.microsoft.com/office/drawing/2014/main" id="{3743C9B3-4DBA-A55A-DE8C-B634C8EF92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29848" y="3574497"/>
            <a:ext cx="40481" cy="378619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7" name="Rectangle 75">
            <a:extLst>
              <a:ext uri="{FF2B5EF4-FFF2-40B4-BE49-F238E27FC236}">
                <a16:creationId xmlns:a16="http://schemas.microsoft.com/office/drawing/2014/main" id="{321772B6-A2A7-6619-F8D2-0D573F76D3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3635" y="3574497"/>
            <a:ext cx="40481" cy="325041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8" name="Rectangle 76">
            <a:extLst>
              <a:ext uri="{FF2B5EF4-FFF2-40B4-BE49-F238E27FC236}">
                <a16:creationId xmlns:a16="http://schemas.microsoft.com/office/drawing/2014/main" id="{A78BCAFF-0686-3EFE-45D5-941F3CF99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37422" y="3574496"/>
            <a:ext cx="40481" cy="316706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9" name="Rectangle 77">
            <a:extLst>
              <a:ext uri="{FF2B5EF4-FFF2-40B4-BE49-F238E27FC236}">
                <a16:creationId xmlns:a16="http://schemas.microsoft.com/office/drawing/2014/main" id="{C518F29D-1DCA-62F1-17CF-594ABC55FD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1209" y="3574495"/>
            <a:ext cx="40481" cy="310754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0" name="Rectangle 78">
            <a:extLst>
              <a:ext uri="{FF2B5EF4-FFF2-40B4-BE49-F238E27FC236}">
                <a16:creationId xmlns:a16="http://schemas.microsoft.com/office/drawing/2014/main" id="{33891C06-3FE3-3C61-5C05-2014DCA392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4996" y="3574495"/>
            <a:ext cx="40481" cy="272654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1" name="Rectangle 79">
            <a:extLst>
              <a:ext uri="{FF2B5EF4-FFF2-40B4-BE49-F238E27FC236}">
                <a16:creationId xmlns:a16="http://schemas.microsoft.com/office/drawing/2014/main" id="{CCFFCB64-A6EC-AFC3-4671-50342F53AD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8782" y="3574497"/>
            <a:ext cx="41672" cy="264319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2" name="Rectangle 80">
            <a:extLst>
              <a:ext uri="{FF2B5EF4-FFF2-40B4-BE49-F238E27FC236}">
                <a16:creationId xmlns:a16="http://schemas.microsoft.com/office/drawing/2014/main" id="{2F7592E8-F338-A329-2B04-648CC7053D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3760" y="3574496"/>
            <a:ext cx="41672" cy="254794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3" name="Rectangle 81">
            <a:extLst>
              <a:ext uri="{FF2B5EF4-FFF2-40B4-BE49-F238E27FC236}">
                <a16:creationId xmlns:a16="http://schemas.microsoft.com/office/drawing/2014/main" id="{0098975C-9C34-CC0D-65AF-C0047B563C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739" y="3574497"/>
            <a:ext cx="40481" cy="236935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4" name="Rectangle 82">
            <a:extLst>
              <a:ext uri="{FF2B5EF4-FFF2-40B4-BE49-F238E27FC236}">
                <a16:creationId xmlns:a16="http://schemas.microsoft.com/office/drawing/2014/main" id="{BFA2B07E-DA00-8091-3632-8ACAC6D045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2525" y="3574496"/>
            <a:ext cx="41672" cy="216694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5" name="Rectangle 83">
            <a:extLst>
              <a:ext uri="{FF2B5EF4-FFF2-40B4-BE49-F238E27FC236}">
                <a16:creationId xmlns:a16="http://schemas.microsoft.com/office/drawing/2014/main" id="{16824989-B91C-5CCC-3919-A8CC89CABF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7504" y="3574496"/>
            <a:ext cx="40481" cy="20836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6" name="Rectangle 84">
            <a:extLst>
              <a:ext uri="{FF2B5EF4-FFF2-40B4-BE49-F238E27FC236}">
                <a16:creationId xmlns:a16="http://schemas.microsoft.com/office/drawing/2014/main" id="{E6F1E660-FAED-8664-E4AD-F0E9F6611D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1290" y="3574497"/>
            <a:ext cx="41672" cy="198835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7" name="Rectangle 85">
            <a:extLst>
              <a:ext uri="{FF2B5EF4-FFF2-40B4-BE49-F238E27FC236}">
                <a16:creationId xmlns:a16="http://schemas.microsoft.com/office/drawing/2014/main" id="{7B3F4385-71EF-A479-631D-AB4FA5C900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6269" y="3574496"/>
            <a:ext cx="40481" cy="1905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8" name="Rectangle 86">
            <a:extLst>
              <a:ext uri="{FF2B5EF4-FFF2-40B4-BE49-F238E27FC236}">
                <a16:creationId xmlns:a16="http://schemas.microsoft.com/office/drawing/2014/main" id="{C1C78B96-8B08-6BCA-2320-573B475C4C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0056" y="3574496"/>
            <a:ext cx="40481" cy="1905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9" name="Rectangle 87">
            <a:extLst>
              <a:ext uri="{FF2B5EF4-FFF2-40B4-BE49-F238E27FC236}">
                <a16:creationId xmlns:a16="http://schemas.microsoft.com/office/drawing/2014/main" id="{D45D2EE4-57AD-0BE4-DAF9-3B178628CE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3843" y="3574496"/>
            <a:ext cx="40481" cy="176213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0" name="Rectangle 88">
            <a:extLst>
              <a:ext uri="{FF2B5EF4-FFF2-40B4-BE49-F238E27FC236}">
                <a16:creationId xmlns:a16="http://schemas.microsoft.com/office/drawing/2014/main" id="{1F9E723E-ED99-738B-2F24-5E3AD4A0A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7629" y="3574496"/>
            <a:ext cx="41672" cy="155972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1" name="Rectangle 89">
            <a:extLst>
              <a:ext uri="{FF2B5EF4-FFF2-40B4-BE49-F238E27FC236}">
                <a16:creationId xmlns:a16="http://schemas.microsoft.com/office/drawing/2014/main" id="{F71B6B26-573B-7B4D-94E6-CE62DD9609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2608" y="3574496"/>
            <a:ext cx="40481" cy="155972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2" name="Rectangle 90">
            <a:extLst>
              <a:ext uri="{FF2B5EF4-FFF2-40B4-BE49-F238E27FC236}">
                <a16:creationId xmlns:a16="http://schemas.microsoft.com/office/drawing/2014/main" id="{4DB3EB1B-09DF-92D1-EFD3-863240CF7B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6394" y="3574497"/>
            <a:ext cx="41672" cy="134541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3" name="Rectangle 91">
            <a:extLst>
              <a:ext uri="{FF2B5EF4-FFF2-40B4-BE49-F238E27FC236}">
                <a16:creationId xmlns:a16="http://schemas.microsoft.com/office/drawing/2014/main" id="{CA4E874F-D630-F0F7-C205-C3A168827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7677" y="3574496"/>
            <a:ext cx="40481" cy="1291829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4" name="Rectangle 92">
            <a:extLst>
              <a:ext uri="{FF2B5EF4-FFF2-40B4-BE49-F238E27FC236}">
                <a16:creationId xmlns:a16="http://schemas.microsoft.com/office/drawing/2014/main" id="{C85E68C4-BCB9-059A-ABD8-E9B9D8D478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1421" y="3574496"/>
            <a:ext cx="40481" cy="100846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5" name="Rectangle 93">
            <a:extLst>
              <a:ext uri="{FF2B5EF4-FFF2-40B4-BE49-F238E27FC236}">
                <a16:creationId xmlns:a16="http://schemas.microsoft.com/office/drawing/2014/main" id="{F3784529-C0FD-1F10-35B7-32F79514CB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5163" y="3574497"/>
            <a:ext cx="41672" cy="942975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6" name="Rectangle 94">
            <a:extLst>
              <a:ext uri="{FF2B5EF4-FFF2-40B4-BE49-F238E27FC236}">
                <a16:creationId xmlns:a16="http://schemas.microsoft.com/office/drawing/2014/main" id="{891165F5-5F32-FE48-B41B-083C51FB1B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0099" y="3574496"/>
            <a:ext cx="40481" cy="926306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7" name="Rectangle 95">
            <a:extLst>
              <a:ext uri="{FF2B5EF4-FFF2-40B4-BE49-F238E27FC236}">
                <a16:creationId xmlns:a16="http://schemas.microsoft.com/office/drawing/2014/main" id="{D790DDB5-E958-CF15-9F67-DB3786B436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3841" y="3574496"/>
            <a:ext cx="41672" cy="864394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8" name="Rectangle 96">
            <a:extLst>
              <a:ext uri="{FF2B5EF4-FFF2-40B4-BE49-F238E27FC236}">
                <a16:creationId xmlns:a16="http://schemas.microsoft.com/office/drawing/2014/main" id="{B215056D-CD2B-A3E4-E642-D7A6A4C3BE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8777" y="3574496"/>
            <a:ext cx="40481" cy="682229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9" name="Rectangle 97">
            <a:extLst>
              <a:ext uri="{FF2B5EF4-FFF2-40B4-BE49-F238E27FC236}">
                <a16:creationId xmlns:a16="http://schemas.microsoft.com/office/drawing/2014/main" id="{DC44D887-EFC6-764E-3B49-30EA3D379C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2519" y="3574495"/>
            <a:ext cx="41672" cy="653654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0" name="Rectangle 98">
            <a:extLst>
              <a:ext uri="{FF2B5EF4-FFF2-40B4-BE49-F238E27FC236}">
                <a16:creationId xmlns:a16="http://schemas.microsoft.com/office/drawing/2014/main" id="{3AAFF610-4C30-42B1-44D3-E890AFE3C8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7455" y="3574497"/>
            <a:ext cx="40481" cy="629841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1" name="Rectangle 99">
            <a:extLst>
              <a:ext uri="{FF2B5EF4-FFF2-40B4-BE49-F238E27FC236}">
                <a16:creationId xmlns:a16="http://schemas.microsoft.com/office/drawing/2014/main" id="{12B9B4A9-FA08-0E63-4FC5-81A5F56107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198" y="3574496"/>
            <a:ext cx="40481" cy="601266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2" name="Rectangle 100">
            <a:extLst>
              <a:ext uri="{FF2B5EF4-FFF2-40B4-BE49-F238E27FC236}">
                <a16:creationId xmlns:a16="http://schemas.microsoft.com/office/drawing/2014/main" id="{6E714AE6-024A-3B2D-BA44-56408755F3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4942" y="3574496"/>
            <a:ext cx="40481" cy="595313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3" name="Rectangle 101">
            <a:extLst>
              <a:ext uri="{FF2B5EF4-FFF2-40B4-BE49-F238E27FC236}">
                <a16:creationId xmlns:a16="http://schemas.microsoft.com/office/drawing/2014/main" id="{F80174D8-2D94-9054-5A1D-1C3ADA6EC6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08685" y="3574497"/>
            <a:ext cx="40481" cy="489347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4" name="Rectangle 102">
            <a:extLst>
              <a:ext uri="{FF2B5EF4-FFF2-40B4-BE49-F238E27FC236}">
                <a16:creationId xmlns:a16="http://schemas.microsoft.com/office/drawing/2014/main" id="{B07855C0-7A00-3AE0-F14A-36B7A66B25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62429" y="3574495"/>
            <a:ext cx="40481" cy="463154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5" name="Rectangle 103">
            <a:extLst>
              <a:ext uri="{FF2B5EF4-FFF2-40B4-BE49-F238E27FC236}">
                <a16:creationId xmlns:a16="http://schemas.microsoft.com/office/drawing/2014/main" id="{0FA78072-CB0E-EE74-66C0-BC991919EE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6171" y="3574496"/>
            <a:ext cx="41672" cy="4572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6" name="Rectangle 104">
            <a:extLst>
              <a:ext uri="{FF2B5EF4-FFF2-40B4-BE49-F238E27FC236}">
                <a16:creationId xmlns:a16="http://schemas.microsoft.com/office/drawing/2014/main" id="{5D10E601-AFE9-E3DF-B1F3-A96644B4B6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1106" y="3574496"/>
            <a:ext cx="41672" cy="442913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7" name="Rectangle 105">
            <a:extLst>
              <a:ext uri="{FF2B5EF4-FFF2-40B4-BE49-F238E27FC236}">
                <a16:creationId xmlns:a16="http://schemas.microsoft.com/office/drawing/2014/main" id="{8A14244F-CB48-0063-5A5E-ED3123C170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6041" y="3574497"/>
            <a:ext cx="40481" cy="363141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8" name="Rectangle 106">
            <a:extLst>
              <a:ext uri="{FF2B5EF4-FFF2-40B4-BE49-F238E27FC236}">
                <a16:creationId xmlns:a16="http://schemas.microsoft.com/office/drawing/2014/main" id="{2B195DC7-6898-4121-BC30-7FE564BD31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79784" y="3574497"/>
            <a:ext cx="41672" cy="336947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9" name="Rectangle 107">
            <a:extLst>
              <a:ext uri="{FF2B5EF4-FFF2-40B4-BE49-F238E27FC236}">
                <a16:creationId xmlns:a16="http://schemas.microsoft.com/office/drawing/2014/main" id="{D0E30825-CE40-E3C6-75F9-1465F2242C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4719" y="3574495"/>
            <a:ext cx="40481" cy="272654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0" name="Rectangle 108">
            <a:extLst>
              <a:ext uri="{FF2B5EF4-FFF2-40B4-BE49-F238E27FC236}">
                <a16:creationId xmlns:a16="http://schemas.microsoft.com/office/drawing/2014/main" id="{1692AAC0-35E0-164D-5BC1-3307E5F946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88462" y="3574497"/>
            <a:ext cx="41672" cy="236935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1" name="Rectangle 109">
            <a:extLst>
              <a:ext uri="{FF2B5EF4-FFF2-40B4-BE49-F238E27FC236}">
                <a16:creationId xmlns:a16="http://schemas.microsoft.com/office/drawing/2014/main" id="{BC8CC859-22D6-484A-131F-777CCB284A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3397" y="3574496"/>
            <a:ext cx="40481" cy="232172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2" name="Rectangle 110">
            <a:extLst>
              <a:ext uri="{FF2B5EF4-FFF2-40B4-BE49-F238E27FC236}">
                <a16:creationId xmlns:a16="http://schemas.microsoft.com/office/drawing/2014/main" id="{67F7DBA3-5B62-DF2C-48EE-6E427B00BF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7141" y="3574496"/>
            <a:ext cx="40481" cy="17026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3" name="Rectangle 111">
            <a:extLst>
              <a:ext uri="{FF2B5EF4-FFF2-40B4-BE49-F238E27FC236}">
                <a16:creationId xmlns:a16="http://schemas.microsoft.com/office/drawing/2014/main" id="{79234A9C-4161-D46F-9B44-436DE1993A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0884" y="3574496"/>
            <a:ext cx="40481" cy="126206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4" name="Rectangle 112">
            <a:extLst>
              <a:ext uri="{FF2B5EF4-FFF2-40B4-BE49-F238E27FC236}">
                <a16:creationId xmlns:a16="http://schemas.microsoft.com/office/drawing/2014/main" id="{C3C4A807-6A5C-0416-96D1-7515DDE24A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4627" y="3574497"/>
            <a:ext cx="41672" cy="111919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5" name="Rectangle 113">
            <a:extLst>
              <a:ext uri="{FF2B5EF4-FFF2-40B4-BE49-F238E27FC236}">
                <a16:creationId xmlns:a16="http://schemas.microsoft.com/office/drawing/2014/main" id="{4509E0A7-45A0-7442-B9AF-9DD52C32CD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9562" y="3574497"/>
            <a:ext cx="40481" cy="111919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6" name="Rectangle 114">
            <a:extLst>
              <a:ext uri="{FF2B5EF4-FFF2-40B4-BE49-F238E27FC236}">
                <a16:creationId xmlns:a16="http://schemas.microsoft.com/office/drawing/2014/main" id="{BB930DEC-F2BA-A5AC-FA31-25506E2D5B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3305" y="3574496"/>
            <a:ext cx="41672" cy="762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7" name="Rectangle 115">
            <a:extLst>
              <a:ext uri="{FF2B5EF4-FFF2-40B4-BE49-F238E27FC236}">
                <a16:creationId xmlns:a16="http://schemas.microsoft.com/office/drawing/2014/main" id="{7E162F60-FD20-F234-4F45-4AAA4E4628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68239" y="3574497"/>
            <a:ext cx="41672" cy="58341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8" name="Rectangle 116">
            <a:extLst>
              <a:ext uri="{FF2B5EF4-FFF2-40B4-BE49-F238E27FC236}">
                <a16:creationId xmlns:a16="http://schemas.microsoft.com/office/drawing/2014/main" id="{0B9C082D-2CA5-747A-9A81-CFDED7B5A6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23175" y="3574496"/>
            <a:ext cx="40481" cy="23813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9" name="Rectangle 117">
            <a:extLst>
              <a:ext uri="{FF2B5EF4-FFF2-40B4-BE49-F238E27FC236}">
                <a16:creationId xmlns:a16="http://schemas.microsoft.com/office/drawing/2014/main" id="{F5B0AD21-85D5-B911-91E3-0F1E7FE97A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76917" y="3574495"/>
            <a:ext cx="41672" cy="14288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0" name="Rectangle 118">
            <a:extLst>
              <a:ext uri="{FF2B5EF4-FFF2-40B4-BE49-F238E27FC236}">
                <a16:creationId xmlns:a16="http://schemas.microsoft.com/office/drawing/2014/main" id="{2122666A-B3EC-6C9A-96B7-1020034414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1372" y="3574496"/>
            <a:ext cx="41672" cy="1143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1" name="Rectangle 119">
            <a:extLst>
              <a:ext uri="{FF2B5EF4-FFF2-40B4-BE49-F238E27FC236}">
                <a16:creationId xmlns:a16="http://schemas.microsoft.com/office/drawing/2014/main" id="{24C57460-3CBF-C816-F406-60AC315D97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6351" y="3574496"/>
            <a:ext cx="40481" cy="41672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2" name="Rectangle 120">
            <a:extLst>
              <a:ext uri="{FF2B5EF4-FFF2-40B4-BE49-F238E27FC236}">
                <a16:creationId xmlns:a16="http://schemas.microsoft.com/office/drawing/2014/main" id="{CBB780AA-3C2C-A214-AF4C-7CBF39068A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0137" y="3574497"/>
            <a:ext cx="41672" cy="32147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3" name="Rectangle 121">
            <a:extLst>
              <a:ext uri="{FF2B5EF4-FFF2-40B4-BE49-F238E27FC236}">
                <a16:creationId xmlns:a16="http://schemas.microsoft.com/office/drawing/2014/main" id="{F73A9AAE-F41F-0E4F-9861-A1C580BB77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15116" y="3574497"/>
            <a:ext cx="40481" cy="32147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4" name="Rectangle 122">
            <a:extLst>
              <a:ext uri="{FF2B5EF4-FFF2-40B4-BE49-F238E27FC236}">
                <a16:creationId xmlns:a16="http://schemas.microsoft.com/office/drawing/2014/main" id="{1D427C23-53D5-54BD-3087-9A6B6AA72F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8902" y="3534016"/>
            <a:ext cx="41672" cy="40481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5" name="Rectangle 123">
            <a:extLst>
              <a:ext uri="{FF2B5EF4-FFF2-40B4-BE49-F238E27FC236}">
                <a16:creationId xmlns:a16="http://schemas.microsoft.com/office/drawing/2014/main" id="{E6C54C84-F40E-F39E-E3DF-C5CA95ACB1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3881" y="3486390"/>
            <a:ext cx="40481" cy="88106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6" name="Rectangle 124">
            <a:extLst>
              <a:ext uri="{FF2B5EF4-FFF2-40B4-BE49-F238E27FC236}">
                <a16:creationId xmlns:a16="http://schemas.microsoft.com/office/drawing/2014/main" id="{839FD94B-4D42-924E-DCEE-8670812B5C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667" y="3480436"/>
            <a:ext cx="41672" cy="9406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7" name="Rectangle 125">
            <a:extLst>
              <a:ext uri="{FF2B5EF4-FFF2-40B4-BE49-F238E27FC236}">
                <a16:creationId xmlns:a16="http://schemas.microsoft.com/office/drawing/2014/main" id="{C871F7DB-D406-CF0E-81AC-9E3F73DD76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32646" y="3478056"/>
            <a:ext cx="40481" cy="96441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8" name="Rectangle 126">
            <a:extLst>
              <a:ext uri="{FF2B5EF4-FFF2-40B4-BE49-F238E27FC236}">
                <a16:creationId xmlns:a16="http://schemas.microsoft.com/office/drawing/2014/main" id="{5B31E464-C83D-3CED-C3B1-DB79E0582B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6432" y="3474484"/>
            <a:ext cx="41672" cy="100013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9" name="Rectangle 127">
            <a:extLst>
              <a:ext uri="{FF2B5EF4-FFF2-40B4-BE49-F238E27FC236}">
                <a16:creationId xmlns:a16="http://schemas.microsoft.com/office/drawing/2014/main" id="{62AC6290-3573-B3F0-F183-D7D6F9F1D0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1411" y="3445908"/>
            <a:ext cx="40481" cy="128588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0" name="Rectangle 128">
            <a:extLst>
              <a:ext uri="{FF2B5EF4-FFF2-40B4-BE49-F238E27FC236}">
                <a16:creationId xmlns:a16="http://schemas.microsoft.com/office/drawing/2014/main" id="{19C94795-654C-8679-533F-7C7386AA97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5197" y="3436384"/>
            <a:ext cx="41672" cy="138113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1" name="Rectangle 129">
            <a:extLst>
              <a:ext uri="{FF2B5EF4-FFF2-40B4-BE49-F238E27FC236}">
                <a16:creationId xmlns:a16="http://schemas.microsoft.com/office/drawing/2014/main" id="{A10D5800-ED6A-1101-AA28-FFA01DC2F1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0175" y="3410190"/>
            <a:ext cx="41672" cy="164306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2" name="Rectangle 130">
            <a:extLst>
              <a:ext uri="{FF2B5EF4-FFF2-40B4-BE49-F238E27FC236}">
                <a16:creationId xmlns:a16="http://schemas.microsoft.com/office/drawing/2014/main" id="{F631B965-DF6F-17D3-A75B-4743B4EB59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5154" y="3383996"/>
            <a:ext cx="40481" cy="1905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3" name="Rectangle 131">
            <a:extLst>
              <a:ext uri="{FF2B5EF4-FFF2-40B4-BE49-F238E27FC236}">
                <a16:creationId xmlns:a16="http://schemas.microsoft.com/office/drawing/2014/main" id="{AB7BF5BA-671C-965E-E1BC-2C81A1D48F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58941" y="3366136"/>
            <a:ext cx="40481" cy="20836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4" name="Rectangle 132">
            <a:extLst>
              <a:ext uri="{FF2B5EF4-FFF2-40B4-BE49-F238E27FC236}">
                <a16:creationId xmlns:a16="http://schemas.microsoft.com/office/drawing/2014/main" id="{FE1A3801-3EC3-176B-44F4-2BC5888BD9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728" y="3357802"/>
            <a:ext cx="40481" cy="216694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5" name="Rectangle 133">
            <a:extLst>
              <a:ext uri="{FF2B5EF4-FFF2-40B4-BE49-F238E27FC236}">
                <a16:creationId xmlns:a16="http://schemas.microsoft.com/office/drawing/2014/main" id="{0F051403-3DA1-034C-15BA-E79187D4C3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6515" y="3328036"/>
            <a:ext cx="40481" cy="24646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6" name="Rectangle 134">
            <a:extLst>
              <a:ext uri="{FF2B5EF4-FFF2-40B4-BE49-F238E27FC236}">
                <a16:creationId xmlns:a16="http://schemas.microsoft.com/office/drawing/2014/main" id="{4EF0EA88-5D50-AD66-3909-9C3302562E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0302" y="3175636"/>
            <a:ext cx="40481" cy="39886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7" name="Rectangle 135">
            <a:extLst>
              <a:ext uri="{FF2B5EF4-FFF2-40B4-BE49-F238E27FC236}">
                <a16:creationId xmlns:a16="http://schemas.microsoft.com/office/drawing/2014/main" id="{C024B847-74CF-261F-F170-330C4BD400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4088" y="3105390"/>
            <a:ext cx="41672" cy="469106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8" name="Rectangle 136">
            <a:extLst>
              <a:ext uri="{FF2B5EF4-FFF2-40B4-BE49-F238E27FC236}">
                <a16:creationId xmlns:a16="http://schemas.microsoft.com/office/drawing/2014/main" id="{95135B51-C99B-643E-BEC8-F6551EEAAE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9067" y="3105390"/>
            <a:ext cx="40481" cy="469106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9" name="Rectangle 137">
            <a:extLst>
              <a:ext uri="{FF2B5EF4-FFF2-40B4-BE49-F238E27FC236}">
                <a16:creationId xmlns:a16="http://schemas.microsoft.com/office/drawing/2014/main" id="{A504924F-580D-6C9D-3746-9FEDF77220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2853" y="2830356"/>
            <a:ext cx="41672" cy="744141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0" name="Rectangle 138">
            <a:extLst>
              <a:ext uri="{FF2B5EF4-FFF2-40B4-BE49-F238E27FC236}">
                <a16:creationId xmlns:a16="http://schemas.microsoft.com/office/drawing/2014/main" id="{64D8B989-4082-3407-F93B-86263F5472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861" y="1875474"/>
            <a:ext cx="40481" cy="1699022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1" name="Rectangle 139">
            <a:extLst>
              <a:ext uri="{FF2B5EF4-FFF2-40B4-BE49-F238E27FC236}">
                <a16:creationId xmlns:a16="http://schemas.microsoft.com/office/drawing/2014/main" id="{4C43BBBF-B121-397D-AD7A-F9C2273CA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1853" y="3501868"/>
            <a:ext cx="40481" cy="72629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2" name="Rectangle 140">
            <a:extLst>
              <a:ext uri="{FF2B5EF4-FFF2-40B4-BE49-F238E27FC236}">
                <a16:creationId xmlns:a16="http://schemas.microsoft.com/office/drawing/2014/main" id="{9859F8A3-A710-F8B1-6E3F-86F05133E3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5596" y="3401856"/>
            <a:ext cx="40481" cy="172641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3" name="Rectangle 141">
            <a:extLst>
              <a:ext uri="{FF2B5EF4-FFF2-40B4-BE49-F238E27FC236}">
                <a16:creationId xmlns:a16="http://schemas.microsoft.com/office/drawing/2014/main" id="{BDC81F0F-FB9E-65DF-E20F-7FEC0AE0E7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9340" y="3307796"/>
            <a:ext cx="40481" cy="2667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4" name="Rectangle 142">
            <a:extLst>
              <a:ext uri="{FF2B5EF4-FFF2-40B4-BE49-F238E27FC236}">
                <a16:creationId xmlns:a16="http://schemas.microsoft.com/office/drawing/2014/main" id="{CBAE4BCE-EB1E-EA32-1EDD-CE0E37B74F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93082" y="3257790"/>
            <a:ext cx="41672" cy="316706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5" name="Rectangle 143">
            <a:extLst>
              <a:ext uri="{FF2B5EF4-FFF2-40B4-BE49-F238E27FC236}">
                <a16:creationId xmlns:a16="http://schemas.microsoft.com/office/drawing/2014/main" id="{C7C6174B-EFF5-5B9F-4811-D7A76E1FBB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48018" y="3123250"/>
            <a:ext cx="40481" cy="451247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6" name="Rectangle 144">
            <a:extLst>
              <a:ext uri="{FF2B5EF4-FFF2-40B4-BE49-F238E27FC236}">
                <a16:creationId xmlns:a16="http://schemas.microsoft.com/office/drawing/2014/main" id="{3207BB30-4AD1-A6A2-F343-EE20C6846B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01760" y="2938702"/>
            <a:ext cx="41672" cy="635794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7" name="Rectangle 145">
            <a:extLst>
              <a:ext uri="{FF2B5EF4-FFF2-40B4-BE49-F238E27FC236}">
                <a16:creationId xmlns:a16="http://schemas.microsoft.com/office/drawing/2014/main" id="{D4C5DE22-3CC1-08CE-B567-4E1AD33F68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6696" y="2722008"/>
            <a:ext cx="40481" cy="852488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8" name="Rectangle 146">
            <a:extLst>
              <a:ext uri="{FF2B5EF4-FFF2-40B4-BE49-F238E27FC236}">
                <a16:creationId xmlns:a16="http://schemas.microsoft.com/office/drawing/2014/main" id="{67C18533-992C-B5D3-E34B-CC3E72E38D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10438" y="2525556"/>
            <a:ext cx="41672" cy="1048941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9" name="Rectangle 147">
            <a:extLst>
              <a:ext uri="{FF2B5EF4-FFF2-40B4-BE49-F238E27FC236}">
                <a16:creationId xmlns:a16="http://schemas.microsoft.com/office/drawing/2014/main" id="{884E9ABD-A19A-4545-83B1-57B1375104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65373" y="2154080"/>
            <a:ext cx="41672" cy="1420416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60" name="Rectangle 148">
            <a:extLst>
              <a:ext uri="{FF2B5EF4-FFF2-40B4-BE49-F238E27FC236}">
                <a16:creationId xmlns:a16="http://schemas.microsoft.com/office/drawing/2014/main" id="{70EB3263-9EBB-B515-53EC-C1AFADF310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20302" y="1910002"/>
            <a:ext cx="40481" cy="1664494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0" name="Freeform 18">
            <a:extLst>
              <a:ext uri="{FF2B5EF4-FFF2-40B4-BE49-F238E27FC236}">
                <a16:creationId xmlns:a16="http://schemas.microsoft.com/office/drawing/2014/main" id="{8F1E3C5A-8C11-F967-8E71-97BFE36B1611}"/>
              </a:ext>
            </a:extLst>
          </p:cNvPr>
          <p:cNvSpPr>
            <a:spLocks/>
          </p:cNvSpPr>
          <p:nvPr/>
        </p:nvSpPr>
        <p:spPr bwMode="auto">
          <a:xfrm>
            <a:off x="2602708" y="3574496"/>
            <a:ext cx="7598569" cy="0"/>
          </a:xfrm>
          <a:custGeom>
            <a:avLst/>
            <a:gdLst>
              <a:gd name="T0" fmla="*/ 0 w 6382"/>
              <a:gd name="T1" fmla="*/ 884 w 6382"/>
              <a:gd name="T2" fmla="*/ 6382 w 6382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382">
                <a:moveTo>
                  <a:pt x="0" y="0"/>
                </a:moveTo>
                <a:lnTo>
                  <a:pt x="884" y="0"/>
                </a:lnTo>
                <a:lnTo>
                  <a:pt x="6382" y="0"/>
                </a:lnTo>
              </a:path>
            </a:pathLst>
          </a:custGeom>
          <a:noFill/>
          <a:ln w="1270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1" name="Freeform 19">
            <a:extLst>
              <a:ext uri="{FF2B5EF4-FFF2-40B4-BE49-F238E27FC236}">
                <a16:creationId xmlns:a16="http://schemas.microsoft.com/office/drawing/2014/main" id="{AB89DD04-57EB-AB99-CC21-1163E85792AA}"/>
              </a:ext>
            </a:extLst>
          </p:cNvPr>
          <p:cNvSpPr>
            <a:spLocks/>
          </p:cNvSpPr>
          <p:nvPr/>
        </p:nvSpPr>
        <p:spPr bwMode="auto">
          <a:xfrm>
            <a:off x="2602708" y="4228148"/>
            <a:ext cx="7598569" cy="0"/>
          </a:xfrm>
          <a:custGeom>
            <a:avLst/>
            <a:gdLst>
              <a:gd name="T0" fmla="*/ 0 w 6382"/>
              <a:gd name="T1" fmla="*/ 884 w 6382"/>
              <a:gd name="T2" fmla="*/ 6382 w 6382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382">
                <a:moveTo>
                  <a:pt x="0" y="0"/>
                </a:moveTo>
                <a:lnTo>
                  <a:pt x="884" y="0"/>
                </a:lnTo>
                <a:lnTo>
                  <a:pt x="6382" y="0"/>
                </a:lnTo>
              </a:path>
            </a:pathLst>
          </a:custGeom>
          <a:noFill/>
          <a:ln w="12700" cap="flat">
            <a:solidFill>
              <a:schemeClr val="tx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0446DEF8-92CB-97D2-3A9F-422449386EBB}"/>
              </a:ext>
            </a:extLst>
          </p:cNvPr>
          <p:cNvSpPr txBox="1"/>
          <p:nvPr/>
        </p:nvSpPr>
        <p:spPr>
          <a:xfrm>
            <a:off x="2304857" y="1948407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20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706CCE64-EB53-48EF-C6D9-9BC2E63AC981}"/>
              </a:ext>
            </a:extLst>
          </p:cNvPr>
          <p:cNvSpPr txBox="1"/>
          <p:nvPr/>
        </p:nvSpPr>
        <p:spPr>
          <a:xfrm>
            <a:off x="2304857" y="2209664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00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C6362458-29B2-5603-3D51-22898000AB98}"/>
              </a:ext>
            </a:extLst>
          </p:cNvPr>
          <p:cNvSpPr txBox="1"/>
          <p:nvPr/>
        </p:nvSpPr>
        <p:spPr>
          <a:xfrm>
            <a:off x="2304857" y="2470920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80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4AB88876-ACE0-4411-AD35-09BA4FC0E708}"/>
              </a:ext>
            </a:extLst>
          </p:cNvPr>
          <p:cNvSpPr txBox="1"/>
          <p:nvPr/>
        </p:nvSpPr>
        <p:spPr>
          <a:xfrm>
            <a:off x="2304857" y="3515946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0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0517E388-F442-5337-DCA0-7E6D671DEE09}"/>
              </a:ext>
            </a:extLst>
          </p:cNvPr>
          <p:cNvSpPr txBox="1"/>
          <p:nvPr/>
        </p:nvSpPr>
        <p:spPr>
          <a:xfrm>
            <a:off x="2304857" y="3777203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2</a:t>
            </a:r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0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B713DC43-528F-1B84-8872-C32A92C4EC4C}"/>
              </a:ext>
            </a:extLst>
          </p:cNvPr>
          <p:cNvSpPr txBox="1"/>
          <p:nvPr/>
        </p:nvSpPr>
        <p:spPr>
          <a:xfrm>
            <a:off x="2304857" y="4038459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–40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0A83EAEB-87DD-197C-1E97-757E077C1CA6}"/>
              </a:ext>
            </a:extLst>
          </p:cNvPr>
          <p:cNvSpPr txBox="1"/>
          <p:nvPr/>
        </p:nvSpPr>
        <p:spPr>
          <a:xfrm rot="16200000">
            <a:off x="551160" y="3318513"/>
            <a:ext cx="3002757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ctr" defTabSz="685800"/>
            <a:r>
              <a:rPr lang="en-GB" sz="900" b="1">
                <a:solidFill>
                  <a:prstClr val="black"/>
                </a:solidFill>
                <a:latin typeface="Arial" panose="020B0604020202020204"/>
              </a:rPr>
              <a:t>Change in MFSAF TSS from Baseline at Week 24 (%) 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50E90C88-4BD8-2164-9C85-0B8B1B230AD9}"/>
              </a:ext>
            </a:extLst>
          </p:cNvPr>
          <p:cNvSpPr txBox="1"/>
          <p:nvPr/>
        </p:nvSpPr>
        <p:spPr>
          <a:xfrm>
            <a:off x="2304857" y="2732177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60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C1589D39-50DF-E7B0-7276-60D79C128950}"/>
              </a:ext>
            </a:extLst>
          </p:cNvPr>
          <p:cNvSpPr txBox="1"/>
          <p:nvPr/>
        </p:nvSpPr>
        <p:spPr>
          <a:xfrm>
            <a:off x="2304857" y="2993433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40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EC7DA9D9-1BDE-50BC-051B-E83234DFF057}"/>
              </a:ext>
            </a:extLst>
          </p:cNvPr>
          <p:cNvSpPr txBox="1"/>
          <p:nvPr/>
        </p:nvSpPr>
        <p:spPr>
          <a:xfrm>
            <a:off x="2304857" y="3254690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20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889DFE84-E146-5F73-A3BB-4DBA7FC199C3}"/>
              </a:ext>
            </a:extLst>
          </p:cNvPr>
          <p:cNvSpPr txBox="1"/>
          <p:nvPr/>
        </p:nvSpPr>
        <p:spPr>
          <a:xfrm>
            <a:off x="2304857" y="4299716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6</a:t>
            </a:r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0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DAD26F9E-B711-5422-E562-943A20EF822C}"/>
              </a:ext>
            </a:extLst>
          </p:cNvPr>
          <p:cNvSpPr txBox="1"/>
          <p:nvPr/>
        </p:nvSpPr>
        <p:spPr>
          <a:xfrm>
            <a:off x="2304857" y="4560972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–80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296B4318-3A1B-0DED-B037-CB1F625E3A80}"/>
              </a:ext>
            </a:extLst>
          </p:cNvPr>
          <p:cNvSpPr txBox="1"/>
          <p:nvPr/>
        </p:nvSpPr>
        <p:spPr>
          <a:xfrm>
            <a:off x="2304857" y="4822229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–100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48488110-DB2D-2DF0-D2C2-D6142C29E837}"/>
              </a:ext>
            </a:extLst>
          </p:cNvPr>
          <p:cNvSpPr txBox="1"/>
          <p:nvPr/>
        </p:nvSpPr>
        <p:spPr>
          <a:xfrm>
            <a:off x="9261709" y="4032889"/>
            <a:ext cx="866120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 b="1">
                <a:solidFill>
                  <a:prstClr val="black"/>
                </a:solidFill>
                <a:latin typeface="Arial" panose="020B0604020202020204"/>
              </a:rPr>
              <a:t>50% decrease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DC66DE50-5B4C-794D-5DFD-3A35E19DAD0A}"/>
              </a:ext>
            </a:extLst>
          </p:cNvPr>
          <p:cNvSpPr txBox="1"/>
          <p:nvPr/>
        </p:nvSpPr>
        <p:spPr>
          <a:xfrm>
            <a:off x="2609009" y="4873563"/>
            <a:ext cx="7588793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ctr" defTabSz="685800"/>
            <a:r>
              <a:rPr lang="en-GB" sz="900" b="1">
                <a:solidFill>
                  <a:prstClr val="black"/>
                </a:solidFill>
                <a:latin typeface="Arial" panose="020B0604020202020204"/>
              </a:rPr>
              <a:t>Individual Patients</a:t>
            </a:r>
          </a:p>
        </p:txBody>
      </p:sp>
      <p:graphicFrame>
        <p:nvGraphicFramePr>
          <p:cNvPr id="177" name="Table 176">
            <a:extLst>
              <a:ext uri="{FF2B5EF4-FFF2-40B4-BE49-F238E27FC236}">
                <a16:creationId xmlns:a16="http://schemas.microsoft.com/office/drawing/2014/main" id="{A7EDF4EB-0C46-9E37-994F-094D323E3678}"/>
              </a:ext>
            </a:extLst>
          </p:cNvPr>
          <p:cNvGraphicFramePr>
            <a:graphicFrameLocks noGrp="1"/>
          </p:cNvGraphicFramePr>
          <p:nvPr/>
        </p:nvGraphicFramePr>
        <p:xfrm>
          <a:off x="2987863" y="2097304"/>
          <a:ext cx="4036680" cy="988796"/>
        </p:xfrm>
        <a:graphic>
          <a:graphicData uri="http://schemas.openxmlformats.org/drawingml/2006/table">
            <a:tbl>
              <a:tblPr/>
              <a:tblGrid>
                <a:gridCol w="1465076">
                  <a:extLst>
                    <a:ext uri="{9D8B030D-6E8A-4147-A177-3AD203B41FA5}">
                      <a16:colId xmlns:a16="http://schemas.microsoft.com/office/drawing/2014/main" val="989395188"/>
                    </a:ext>
                  </a:extLst>
                </a:gridCol>
                <a:gridCol w="1728788">
                  <a:extLst>
                    <a:ext uri="{9D8B030D-6E8A-4147-A177-3AD203B41FA5}">
                      <a16:colId xmlns:a16="http://schemas.microsoft.com/office/drawing/2014/main" val="3867713379"/>
                    </a:ext>
                  </a:extLst>
                </a:gridCol>
                <a:gridCol w="842816">
                  <a:extLst>
                    <a:ext uri="{9D8B030D-6E8A-4147-A177-3AD203B41FA5}">
                      <a16:colId xmlns:a16="http://schemas.microsoft.com/office/drawing/2014/main" val="1475685842"/>
                    </a:ext>
                  </a:extLst>
                </a:gridCol>
              </a:tblGrid>
              <a:tr h="489592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900" b="0" i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A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900" b="1" i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MFSAF TSS Response </a:t>
                      </a:r>
                      <a:br>
                        <a:rPr lang="en-US" sz="900" b="1" i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900" b="1" i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Rate at Week 24*</a:t>
                      </a:r>
                      <a:r>
                        <a:rPr lang="en-US" sz="900" b="0" i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rtl="0" fontAlgn="base"/>
                      <a:r>
                        <a:rPr lang="en-US" sz="900" b="0" i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no. (%) [95% CI)</a:t>
                      </a:r>
                    </a:p>
                  </a:txBody>
                  <a:tcPr marL="68580" marR="68580" marT="0" marB="27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A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900" b="1" i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P Value</a:t>
                      </a:r>
                    </a:p>
                    <a:p>
                      <a:pPr algn="ctr" rtl="0" fontAlgn="base"/>
                      <a:r>
                        <a:rPr lang="en-US" sz="900" b="1" i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(Superior)</a:t>
                      </a:r>
                      <a:endParaRPr lang="en-US" sz="900" b="0" i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0" marB="27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17892"/>
                  </a:ext>
                </a:extLst>
              </a:tr>
              <a:tr h="249173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900" b="1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Momelotinib (N=130)</a:t>
                      </a:r>
                      <a:endParaRPr lang="en-US" sz="900" b="0" i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00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2 (24.6) [17.49</a:t>
                      </a: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2.94]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base"/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.009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6842701"/>
                  </a:ext>
                </a:extLst>
              </a:tr>
              <a:tr h="250031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900" b="1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Danazol (N=65)</a:t>
                      </a:r>
                      <a:endParaRPr lang="en-US" sz="900" b="0" i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00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 (9.2) [3.46</a:t>
                      </a: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.02]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rtl="0" fontAlgn="base"/>
                      <a:r>
                        <a:rPr lang="en-US" sz="12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7.7 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262720"/>
                  </a:ext>
                </a:extLst>
              </a:tr>
            </a:tbl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4AF19659-B54F-7CDD-A270-BEE2B38DE987}"/>
              </a:ext>
            </a:extLst>
          </p:cNvPr>
          <p:cNvSpPr/>
          <p:nvPr/>
        </p:nvSpPr>
        <p:spPr>
          <a:xfrm>
            <a:off x="3055129" y="2659327"/>
            <a:ext cx="129356" cy="129356"/>
          </a:xfrm>
          <a:prstGeom prst="rect">
            <a:avLst/>
          </a:prstGeom>
          <a:solidFill>
            <a:srgbClr val="007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434051B1-5C8A-87ED-1637-10E036D0F9DF}"/>
              </a:ext>
            </a:extLst>
          </p:cNvPr>
          <p:cNvSpPr/>
          <p:nvPr/>
        </p:nvSpPr>
        <p:spPr>
          <a:xfrm>
            <a:off x="3055129" y="2899834"/>
            <a:ext cx="129356" cy="129356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B80DEBE7-3D53-4484-9327-FDE211894357}"/>
              </a:ext>
            </a:extLst>
          </p:cNvPr>
          <p:cNvSpPr txBox="1"/>
          <p:nvPr/>
        </p:nvSpPr>
        <p:spPr>
          <a:xfrm>
            <a:off x="2009329" y="4839578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≤</a:t>
            </a:r>
          </a:p>
        </p:txBody>
      </p:sp>
    </p:spTree>
    <p:extLst>
      <p:ext uri="{BB962C8B-B14F-4D97-AF65-F5344CB8AC3E}">
        <p14:creationId xmlns:p14="http://schemas.microsoft.com/office/powerpoint/2010/main" val="237014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A89E583-C9B3-012D-2E85-48DF165DBA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pleen Response Rate</a:t>
            </a:r>
            <a:r>
              <a:rPr lang="en-US" baseline="30000"/>
              <a:t>*</a:t>
            </a:r>
            <a:r>
              <a:rPr lang="en-US"/>
              <a:t> at Week 24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8F48341-EEDA-144C-C7CB-ECECD7B61B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BE33F7A0-71F0-446B-9DE8-6D75BE64EE0F}" type="slidenum">
              <a:rPr lang="en-US"/>
              <a:pPr defTabSz="685800"/>
              <a:t>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A8FEEE-41EB-E669-FD0E-E6E43EC71C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Ruben Mesa, MD, FACP</a:t>
            </a:r>
          </a:p>
          <a:p>
            <a:r>
              <a:rPr lang="en-US"/>
              <a:t>Director, Mays Cancer Center at UT Health San Antonio MD Anders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7EC6C5-E42A-A86E-3583-5F6DC2FC7CB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*Defined as the proportion of patients who have a reduction in spleen volume of ≥25% or ≥35% from baseline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A16898A-2EC2-A3A2-E5C8-EAD33CC787F0}"/>
              </a:ext>
            </a:extLst>
          </p:cNvPr>
          <p:cNvSpPr txBox="1">
            <a:spLocks/>
          </p:cNvSpPr>
          <p:nvPr/>
        </p:nvSpPr>
        <p:spPr>
          <a:xfrm>
            <a:off x="1808784" y="590448"/>
            <a:ext cx="8683754" cy="27384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2557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685800"/>
            <a:endParaRPr lang="en-US" sz="1575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73EE7B7-4D82-3C20-EA2A-6556CFD0D395}"/>
              </a:ext>
            </a:extLst>
          </p:cNvPr>
          <p:cNvSpPr txBox="1">
            <a:spLocks/>
          </p:cNvSpPr>
          <p:nvPr/>
        </p:nvSpPr>
        <p:spPr>
          <a:xfrm>
            <a:off x="3206686" y="5266378"/>
            <a:ext cx="5789883" cy="23572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76A9"/>
              </a:buClr>
              <a:buFont typeface="Arial" panose="020B0604020202020204" pitchFamily="34" charset="0"/>
              <a:buChar char="•"/>
              <a:defRPr lang="en-US" sz="24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76A9"/>
              </a:buClr>
              <a:buFont typeface="Wingdings" panose="05000000000000000000" pitchFamily="2" charset="2"/>
              <a:buChar char="§"/>
              <a:defRPr lang="en-US" sz="24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76A9"/>
              </a:buClr>
              <a:buFont typeface="Courier New" panose="02070309020205020404" pitchFamily="49" charset="0"/>
              <a:buChar char="o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76A9"/>
              </a:buClr>
              <a:buFont typeface="Arial" panose="020B0604020202020204" pitchFamily="34" charset="0"/>
              <a:buChar char="•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76A9"/>
              </a:buClr>
              <a:buFont typeface="Arial" panose="020B0604020202020204" pitchFamily="34" charset="0"/>
              <a:buChar char="•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400"/>
              </a:spcBef>
              <a:buNone/>
            </a:pPr>
            <a:endParaRPr lang="en-US" sz="800">
              <a:solidFill>
                <a:prstClr val="black"/>
              </a:solidFill>
            </a:endParaRPr>
          </a:p>
        </p:txBody>
      </p:sp>
      <p:sp>
        <p:nvSpPr>
          <p:cNvPr id="14" name="Line 5">
            <a:extLst>
              <a:ext uri="{FF2B5EF4-FFF2-40B4-BE49-F238E27FC236}">
                <a16:creationId xmlns:a16="http://schemas.microsoft.com/office/drawing/2014/main" id="{200AA5B0-905B-4B39-3544-FE2598E4B7FC}"/>
              </a:ext>
            </a:extLst>
          </p:cNvPr>
          <p:cNvSpPr>
            <a:spLocks noChangeShapeType="1"/>
          </p:cNvSpPr>
          <p:nvPr/>
        </p:nvSpPr>
        <p:spPr bwMode="auto">
          <a:xfrm>
            <a:off x="2602707" y="1875474"/>
            <a:ext cx="0" cy="3002756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" name="Line 6">
            <a:extLst>
              <a:ext uri="{FF2B5EF4-FFF2-40B4-BE49-F238E27FC236}">
                <a16:creationId xmlns:a16="http://schemas.microsoft.com/office/drawing/2014/main" id="{0E3C406C-BABD-963B-7E30-AC18C440766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2007633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6" name="Line 7">
            <a:extLst>
              <a:ext uri="{FF2B5EF4-FFF2-40B4-BE49-F238E27FC236}">
                <a16:creationId xmlns:a16="http://schemas.microsoft.com/office/drawing/2014/main" id="{D4A44190-6A4B-3E2D-9852-86570FEC1F3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2289734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7" name="Line 8">
            <a:extLst>
              <a:ext uri="{FF2B5EF4-FFF2-40B4-BE49-F238E27FC236}">
                <a16:creationId xmlns:a16="http://schemas.microsoft.com/office/drawing/2014/main" id="{8F8C5005-B789-1B55-D09F-7CE2E925C2C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2576562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" name="Line 9">
            <a:extLst>
              <a:ext uri="{FF2B5EF4-FFF2-40B4-BE49-F238E27FC236}">
                <a16:creationId xmlns:a16="http://schemas.microsoft.com/office/drawing/2014/main" id="{C7BC6660-C067-BD14-5754-3B57EF6793C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2864568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DF838B7-80E3-F5C0-ABA8-6929D8F66FC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3156932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0" name="Line 11">
            <a:extLst>
              <a:ext uri="{FF2B5EF4-FFF2-40B4-BE49-F238E27FC236}">
                <a16:creationId xmlns:a16="http://schemas.microsoft.com/office/drawing/2014/main" id="{ACC542AC-ADA9-96EE-2756-69C8B6D5C57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3441979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2" name="Line 13">
            <a:extLst>
              <a:ext uri="{FF2B5EF4-FFF2-40B4-BE49-F238E27FC236}">
                <a16:creationId xmlns:a16="http://schemas.microsoft.com/office/drawing/2014/main" id="{B501C77A-C387-9ED4-C963-E3C1800284A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3729812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3" name="Line 14">
            <a:extLst>
              <a:ext uri="{FF2B5EF4-FFF2-40B4-BE49-F238E27FC236}">
                <a16:creationId xmlns:a16="http://schemas.microsoft.com/office/drawing/2014/main" id="{A0F17D6F-9FA1-1A9A-DC07-D087F0EB76C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4016599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4" name="Line 15">
            <a:extLst>
              <a:ext uri="{FF2B5EF4-FFF2-40B4-BE49-F238E27FC236}">
                <a16:creationId xmlns:a16="http://schemas.microsoft.com/office/drawing/2014/main" id="{A7B01B65-1CD0-0F35-FA11-16B799AFF88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4303030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" name="Line 16">
            <a:extLst>
              <a:ext uri="{FF2B5EF4-FFF2-40B4-BE49-F238E27FC236}">
                <a16:creationId xmlns:a16="http://schemas.microsoft.com/office/drawing/2014/main" id="{216708E0-70EC-3937-D320-2D28F152975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4593033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6" name="Line 17">
            <a:extLst>
              <a:ext uri="{FF2B5EF4-FFF2-40B4-BE49-F238E27FC236}">
                <a16:creationId xmlns:a16="http://schemas.microsoft.com/office/drawing/2014/main" id="{7DE857D8-19BA-0CE7-A2E7-EF483060A48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47938" y="4878230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C20B4C14-B7D1-EB9A-F303-0929AF9A38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1530" y="3445791"/>
            <a:ext cx="40481" cy="1134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9" name="Rectangle 92">
            <a:extLst>
              <a:ext uri="{FF2B5EF4-FFF2-40B4-BE49-F238E27FC236}">
                <a16:creationId xmlns:a16="http://schemas.microsoft.com/office/drawing/2014/main" id="{0001C08A-0B07-2845-9180-64491BC8E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9628" y="3444122"/>
            <a:ext cx="40481" cy="7992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992E6E7-494A-981C-7275-C472909923A1}"/>
              </a:ext>
            </a:extLst>
          </p:cNvPr>
          <p:cNvSpPr txBox="1"/>
          <p:nvPr/>
        </p:nvSpPr>
        <p:spPr>
          <a:xfrm>
            <a:off x="2304857" y="1948407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00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6D2FE0A2-5689-1D1D-FA38-3F85C25FEBA1}"/>
              </a:ext>
            </a:extLst>
          </p:cNvPr>
          <p:cNvSpPr txBox="1"/>
          <p:nvPr/>
        </p:nvSpPr>
        <p:spPr>
          <a:xfrm>
            <a:off x="2304857" y="2231018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80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EB3B3B43-AE91-A862-1988-E66A559D2699}"/>
              </a:ext>
            </a:extLst>
          </p:cNvPr>
          <p:cNvSpPr txBox="1"/>
          <p:nvPr/>
        </p:nvSpPr>
        <p:spPr>
          <a:xfrm>
            <a:off x="2304857" y="2515974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60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22F945BF-8C12-105E-EBEA-461F94AC8ADF}"/>
              </a:ext>
            </a:extLst>
          </p:cNvPr>
          <p:cNvSpPr txBox="1"/>
          <p:nvPr/>
        </p:nvSpPr>
        <p:spPr>
          <a:xfrm>
            <a:off x="2304857" y="3671773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2</a:t>
            </a:r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0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E2064E83-FDDC-B384-771C-88D9304E3A25}"/>
              </a:ext>
            </a:extLst>
          </p:cNvPr>
          <p:cNvSpPr txBox="1"/>
          <p:nvPr/>
        </p:nvSpPr>
        <p:spPr>
          <a:xfrm>
            <a:off x="2304857" y="3959069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–40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C9B461AE-3043-1C0C-1ACB-AC7F4CD0B129}"/>
              </a:ext>
            </a:extLst>
          </p:cNvPr>
          <p:cNvSpPr txBox="1"/>
          <p:nvPr/>
        </p:nvSpPr>
        <p:spPr>
          <a:xfrm rot="16200000">
            <a:off x="551160" y="3318513"/>
            <a:ext cx="3002757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ctr" defTabSz="685800"/>
            <a:r>
              <a:rPr lang="en-GB" sz="900" b="1">
                <a:solidFill>
                  <a:prstClr val="black"/>
                </a:solidFill>
                <a:latin typeface="Arial" panose="020B0604020202020204"/>
              </a:rPr>
              <a:t>Change in Spleen Volume from Baseline at Week 24 (%) 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C23872C4-8DEB-E4F4-F60F-60ECA83B992F}"/>
              </a:ext>
            </a:extLst>
          </p:cNvPr>
          <p:cNvSpPr txBox="1"/>
          <p:nvPr/>
        </p:nvSpPr>
        <p:spPr>
          <a:xfrm>
            <a:off x="2304857" y="2804490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40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3FAB2EBD-B612-B486-19C2-D9E99B565BF0}"/>
              </a:ext>
            </a:extLst>
          </p:cNvPr>
          <p:cNvSpPr txBox="1"/>
          <p:nvPr/>
        </p:nvSpPr>
        <p:spPr>
          <a:xfrm>
            <a:off x="2304857" y="3097364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20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1F20FDD0-7B1B-9664-0D12-245F3E3781BC}"/>
              </a:ext>
            </a:extLst>
          </p:cNvPr>
          <p:cNvSpPr txBox="1"/>
          <p:nvPr/>
        </p:nvSpPr>
        <p:spPr>
          <a:xfrm>
            <a:off x="2304857" y="3382920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0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4D78DC06-D90A-28F8-5654-645B30459A15}"/>
              </a:ext>
            </a:extLst>
          </p:cNvPr>
          <p:cNvSpPr txBox="1"/>
          <p:nvPr/>
        </p:nvSpPr>
        <p:spPr>
          <a:xfrm>
            <a:off x="2304857" y="4246010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6</a:t>
            </a:r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0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55B3603-45A8-080E-EAE6-3B56AD3B14B9}"/>
              </a:ext>
            </a:extLst>
          </p:cNvPr>
          <p:cNvSpPr txBox="1"/>
          <p:nvPr/>
        </p:nvSpPr>
        <p:spPr>
          <a:xfrm>
            <a:off x="2304857" y="4536522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–80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BCD4A8D9-2602-C36B-642F-3E5183D58A0E}"/>
              </a:ext>
            </a:extLst>
          </p:cNvPr>
          <p:cNvSpPr txBox="1"/>
          <p:nvPr/>
        </p:nvSpPr>
        <p:spPr>
          <a:xfrm>
            <a:off x="2304857" y="4822229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–100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1F9644AC-EC1E-90A5-4019-4907E1854952}"/>
              </a:ext>
            </a:extLst>
          </p:cNvPr>
          <p:cNvSpPr txBox="1"/>
          <p:nvPr/>
        </p:nvSpPr>
        <p:spPr>
          <a:xfrm>
            <a:off x="2609009" y="4873563"/>
            <a:ext cx="7588793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ctr" defTabSz="685800"/>
            <a:r>
              <a:rPr lang="en-GB" sz="900" b="1">
                <a:solidFill>
                  <a:prstClr val="black"/>
                </a:solidFill>
                <a:latin typeface="Arial" panose="020B0604020202020204"/>
              </a:rPr>
              <a:t>Individual Patients</a:t>
            </a:r>
          </a:p>
        </p:txBody>
      </p:sp>
      <p:graphicFrame>
        <p:nvGraphicFramePr>
          <p:cNvPr id="173" name="Table 172">
            <a:extLst>
              <a:ext uri="{FF2B5EF4-FFF2-40B4-BE49-F238E27FC236}">
                <a16:creationId xmlns:a16="http://schemas.microsoft.com/office/drawing/2014/main" id="{962E4BF7-FE34-E435-4D39-9AC9F4F5A46D}"/>
              </a:ext>
            </a:extLst>
          </p:cNvPr>
          <p:cNvGraphicFramePr>
            <a:graphicFrameLocks noGrp="1"/>
          </p:cNvGraphicFramePr>
          <p:nvPr/>
        </p:nvGraphicFramePr>
        <p:xfrm>
          <a:off x="2791042" y="2005486"/>
          <a:ext cx="4129088" cy="1120480"/>
        </p:xfrm>
        <a:graphic>
          <a:graphicData uri="http://schemas.openxmlformats.org/drawingml/2006/table">
            <a:tbl>
              <a:tblPr/>
              <a:tblGrid>
                <a:gridCol w="1464469">
                  <a:extLst>
                    <a:ext uri="{9D8B030D-6E8A-4147-A177-3AD203B41FA5}">
                      <a16:colId xmlns:a16="http://schemas.microsoft.com/office/drawing/2014/main" val="989395188"/>
                    </a:ext>
                  </a:extLst>
                </a:gridCol>
                <a:gridCol w="1335881">
                  <a:extLst>
                    <a:ext uri="{9D8B030D-6E8A-4147-A177-3AD203B41FA5}">
                      <a16:colId xmlns:a16="http://schemas.microsoft.com/office/drawing/2014/main" val="3867713379"/>
                    </a:ext>
                  </a:extLst>
                </a:gridCol>
                <a:gridCol w="1328738">
                  <a:extLst>
                    <a:ext uri="{9D8B030D-6E8A-4147-A177-3AD203B41FA5}">
                      <a16:colId xmlns:a16="http://schemas.microsoft.com/office/drawing/2014/main" val="4208142180"/>
                    </a:ext>
                  </a:extLst>
                </a:gridCol>
              </a:tblGrid>
              <a:tr h="301320">
                <a:tc>
                  <a:txBody>
                    <a:bodyPr/>
                    <a:lstStyle/>
                    <a:p>
                      <a:pPr algn="l" rtl="0" fontAlgn="base"/>
                      <a:endParaRPr lang="en-US" sz="900" b="0" i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A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ase"/>
                      <a:r>
                        <a:rPr lang="en-US" sz="900" b="1" i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Spleen response rate at Week 24*</a:t>
                      </a:r>
                      <a:br>
                        <a:rPr lang="en-US" sz="900" b="0" i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900" b="0" i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no. (%) [95% CI]</a:t>
                      </a:r>
                    </a:p>
                  </a:txBody>
                  <a:tcPr marL="68580" marR="68580" marT="0" marB="27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A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ase"/>
                      <a:endParaRPr lang="en-US" sz="1200" b="0" i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4373850"/>
                  </a:ext>
                </a:extLst>
              </a:tr>
              <a:tr h="227263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900" b="0" i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27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A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900" b="1" i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5% reduction</a:t>
                      </a:r>
                      <a:endParaRPr lang="en-US" sz="900" b="0" i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0" marB="27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A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5% reduction</a:t>
                      </a:r>
                      <a:endParaRPr lang="en-US" sz="900" b="0" i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0" marB="27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617892"/>
                  </a:ext>
                </a:extLst>
              </a:tr>
              <a:tr h="209132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900" b="1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Momelotinib (N=130)</a:t>
                      </a:r>
                      <a:endParaRPr lang="en-US" sz="900" b="0" i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00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2 (40.0) [31.51</a:t>
                      </a: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8.95]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0 (23.1) [16.14</a:t>
                      </a: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1.28]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6842701"/>
                  </a:ext>
                </a:extLst>
              </a:tr>
              <a:tr h="192881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900" b="1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Danazol (N=65)</a:t>
                      </a:r>
                      <a:endParaRPr lang="en-US" sz="900" b="0" i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00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 (6.2) [1.70</a:t>
                      </a: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.01]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 (3.1) [0.37</a:t>
                      </a: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.68]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1262720"/>
                  </a:ext>
                </a:extLst>
              </a:tr>
              <a:tr h="189884">
                <a:tc>
                  <a:txBody>
                    <a:bodyPr/>
                    <a:lstStyle/>
                    <a:p>
                      <a:pPr algn="l" rtl="0" fontAlgn="base"/>
                      <a:endParaRPr lang="en-US" sz="900" b="0" i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7000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&lt;0.0001 (Superior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=0.0006 (Superior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4614652"/>
                  </a:ext>
                </a:extLst>
              </a:tr>
            </a:tbl>
          </a:graphicData>
        </a:graphic>
      </p:graphicFrame>
      <p:sp>
        <p:nvSpPr>
          <p:cNvPr id="174" name="Rectangle 173">
            <a:extLst>
              <a:ext uri="{FF2B5EF4-FFF2-40B4-BE49-F238E27FC236}">
                <a16:creationId xmlns:a16="http://schemas.microsoft.com/office/drawing/2014/main" id="{B32A4617-B8A5-8095-2BA2-0AE33FE8D11D}"/>
              </a:ext>
            </a:extLst>
          </p:cNvPr>
          <p:cNvSpPr/>
          <p:nvPr/>
        </p:nvSpPr>
        <p:spPr>
          <a:xfrm>
            <a:off x="2854516" y="2574584"/>
            <a:ext cx="129356" cy="129356"/>
          </a:xfrm>
          <a:prstGeom prst="rect">
            <a:avLst/>
          </a:prstGeom>
          <a:solidFill>
            <a:srgbClr val="007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EC5194A7-7643-E3C5-8DD2-103C7F32428B}"/>
              </a:ext>
            </a:extLst>
          </p:cNvPr>
          <p:cNvSpPr/>
          <p:nvPr/>
        </p:nvSpPr>
        <p:spPr>
          <a:xfrm>
            <a:off x="2854516" y="2779705"/>
            <a:ext cx="129356" cy="129356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78" name="Rectangle 20">
            <a:extLst>
              <a:ext uri="{FF2B5EF4-FFF2-40B4-BE49-F238E27FC236}">
                <a16:creationId xmlns:a16="http://schemas.microsoft.com/office/drawing/2014/main" id="{89ECFA3F-B529-2721-8D03-62485AA449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56396" y="3440434"/>
            <a:ext cx="40481" cy="1134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79" name="Rectangle 20">
            <a:extLst>
              <a:ext uri="{FF2B5EF4-FFF2-40B4-BE49-F238E27FC236}">
                <a16:creationId xmlns:a16="http://schemas.microsoft.com/office/drawing/2014/main" id="{C66EF831-A90A-9FDA-282E-2AD35A237F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1261" y="3440434"/>
            <a:ext cx="40481" cy="10071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0" name="Rectangle 20">
            <a:extLst>
              <a:ext uri="{FF2B5EF4-FFF2-40B4-BE49-F238E27FC236}">
                <a16:creationId xmlns:a16="http://schemas.microsoft.com/office/drawing/2014/main" id="{B698D897-8883-77FE-4826-5F33DCBAFC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6127" y="3440434"/>
            <a:ext cx="40481" cy="864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1" name="Rectangle 20">
            <a:extLst>
              <a:ext uri="{FF2B5EF4-FFF2-40B4-BE49-F238E27FC236}">
                <a16:creationId xmlns:a16="http://schemas.microsoft.com/office/drawing/2014/main" id="{AF40CF59-1C0A-C8AC-AC36-AA2ACE8695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0992" y="3440434"/>
            <a:ext cx="40481" cy="8289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2" name="Rectangle 20">
            <a:extLst>
              <a:ext uri="{FF2B5EF4-FFF2-40B4-BE49-F238E27FC236}">
                <a16:creationId xmlns:a16="http://schemas.microsoft.com/office/drawing/2014/main" id="{51F84846-57C8-76F9-78A3-8BE550223B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5858" y="3440434"/>
            <a:ext cx="40481" cy="8289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3" name="Rectangle 20">
            <a:extLst>
              <a:ext uri="{FF2B5EF4-FFF2-40B4-BE49-F238E27FC236}">
                <a16:creationId xmlns:a16="http://schemas.microsoft.com/office/drawing/2014/main" id="{3EADEB91-0FEC-845C-CCE2-E79700831E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30723" y="3440434"/>
            <a:ext cx="40481" cy="8289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4" name="Rectangle 20">
            <a:extLst>
              <a:ext uri="{FF2B5EF4-FFF2-40B4-BE49-F238E27FC236}">
                <a16:creationId xmlns:a16="http://schemas.microsoft.com/office/drawing/2014/main" id="{DA47624D-00A7-36F9-113F-5F02AA34A4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5589" y="3440434"/>
            <a:ext cx="40481" cy="7776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5" name="Rectangle 20">
            <a:extLst>
              <a:ext uri="{FF2B5EF4-FFF2-40B4-BE49-F238E27FC236}">
                <a16:creationId xmlns:a16="http://schemas.microsoft.com/office/drawing/2014/main" id="{73BDCB55-C1FC-D0CE-336A-F13E8B902D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0454" y="3440434"/>
            <a:ext cx="40481" cy="756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6" name="Rectangle 20">
            <a:extLst>
              <a:ext uri="{FF2B5EF4-FFF2-40B4-BE49-F238E27FC236}">
                <a16:creationId xmlns:a16="http://schemas.microsoft.com/office/drawing/2014/main" id="{F4A650CE-7157-3043-EE2C-491AD7C9F8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5320" y="3440434"/>
            <a:ext cx="40481" cy="7182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7" name="Rectangle 20">
            <a:extLst>
              <a:ext uri="{FF2B5EF4-FFF2-40B4-BE49-F238E27FC236}">
                <a16:creationId xmlns:a16="http://schemas.microsoft.com/office/drawing/2014/main" id="{C91D0C97-EFF9-A06A-87BC-304134ADB7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0185" y="3440434"/>
            <a:ext cx="40481" cy="702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8" name="Rectangle 20">
            <a:extLst>
              <a:ext uri="{FF2B5EF4-FFF2-40B4-BE49-F238E27FC236}">
                <a16:creationId xmlns:a16="http://schemas.microsoft.com/office/drawing/2014/main" id="{88066102-B52E-CBE9-5F78-457F9DCE9C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5051" y="3440434"/>
            <a:ext cx="40481" cy="675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9" name="Rectangle 20">
            <a:extLst>
              <a:ext uri="{FF2B5EF4-FFF2-40B4-BE49-F238E27FC236}">
                <a16:creationId xmlns:a16="http://schemas.microsoft.com/office/drawing/2014/main" id="{E0125586-EC62-FAE8-449D-A4F0DFED93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59916" y="3440434"/>
            <a:ext cx="40481" cy="675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90" name="Rectangle 20">
            <a:extLst>
              <a:ext uri="{FF2B5EF4-FFF2-40B4-BE49-F238E27FC236}">
                <a16:creationId xmlns:a16="http://schemas.microsoft.com/office/drawing/2014/main" id="{34BBD55D-1285-5DD9-DBFB-C880C29CF5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4782" y="3440434"/>
            <a:ext cx="40481" cy="6588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91" name="Rectangle 20">
            <a:extLst>
              <a:ext uri="{FF2B5EF4-FFF2-40B4-BE49-F238E27FC236}">
                <a16:creationId xmlns:a16="http://schemas.microsoft.com/office/drawing/2014/main" id="{46847776-D228-3F23-15ED-9351E8B32D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9647" y="3440434"/>
            <a:ext cx="40481" cy="6588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92" name="Rectangle 20">
            <a:extLst>
              <a:ext uri="{FF2B5EF4-FFF2-40B4-BE49-F238E27FC236}">
                <a16:creationId xmlns:a16="http://schemas.microsoft.com/office/drawing/2014/main" id="{B631876D-EAEA-AA87-201C-7963E1FE0C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4513" y="3440434"/>
            <a:ext cx="40481" cy="6426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93" name="Rectangle 20">
            <a:extLst>
              <a:ext uri="{FF2B5EF4-FFF2-40B4-BE49-F238E27FC236}">
                <a16:creationId xmlns:a16="http://schemas.microsoft.com/office/drawing/2014/main" id="{C9504E9F-559C-DABB-4C7C-FF9A374004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9378" y="3440434"/>
            <a:ext cx="40481" cy="6426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94" name="Rectangle 20">
            <a:extLst>
              <a:ext uri="{FF2B5EF4-FFF2-40B4-BE49-F238E27FC236}">
                <a16:creationId xmlns:a16="http://schemas.microsoft.com/office/drawing/2014/main" id="{80FEAD6B-F601-96B0-A123-3602444BC9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4244" y="3440434"/>
            <a:ext cx="40481" cy="6318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95" name="Rectangle 20">
            <a:extLst>
              <a:ext uri="{FF2B5EF4-FFF2-40B4-BE49-F238E27FC236}">
                <a16:creationId xmlns:a16="http://schemas.microsoft.com/office/drawing/2014/main" id="{0FE764F2-DA9B-5687-E8EB-80A7151915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9109" y="3440434"/>
            <a:ext cx="40481" cy="6318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96" name="Rectangle 20">
            <a:extLst>
              <a:ext uri="{FF2B5EF4-FFF2-40B4-BE49-F238E27FC236}">
                <a16:creationId xmlns:a16="http://schemas.microsoft.com/office/drawing/2014/main" id="{3FD58594-3950-74FF-FF8E-B74083240E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43975" y="3440434"/>
            <a:ext cx="40481" cy="6102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97" name="Rectangle 20">
            <a:extLst>
              <a:ext uri="{FF2B5EF4-FFF2-40B4-BE49-F238E27FC236}">
                <a16:creationId xmlns:a16="http://schemas.microsoft.com/office/drawing/2014/main" id="{71B7D7DB-7C57-E792-6EE0-40646C4558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8840" y="3440434"/>
            <a:ext cx="40481" cy="5994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98" name="Rectangle 20">
            <a:extLst>
              <a:ext uri="{FF2B5EF4-FFF2-40B4-BE49-F238E27FC236}">
                <a16:creationId xmlns:a16="http://schemas.microsoft.com/office/drawing/2014/main" id="{0DC1D44F-3168-E523-1AC7-A386798113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3706" y="3440434"/>
            <a:ext cx="40481" cy="594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99" name="Rectangle 20">
            <a:extLst>
              <a:ext uri="{FF2B5EF4-FFF2-40B4-BE49-F238E27FC236}">
                <a16:creationId xmlns:a16="http://schemas.microsoft.com/office/drawing/2014/main" id="{430204A9-C760-A7A8-5D1C-9D4F89ABB1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8571" y="3440434"/>
            <a:ext cx="40481" cy="594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00" name="Rectangle 20">
            <a:extLst>
              <a:ext uri="{FF2B5EF4-FFF2-40B4-BE49-F238E27FC236}">
                <a16:creationId xmlns:a16="http://schemas.microsoft.com/office/drawing/2014/main" id="{DE594C26-4168-4ED9-2EE3-C95C5FF12E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3437" y="3440434"/>
            <a:ext cx="40481" cy="5697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01" name="Rectangle 20">
            <a:extLst>
              <a:ext uri="{FF2B5EF4-FFF2-40B4-BE49-F238E27FC236}">
                <a16:creationId xmlns:a16="http://schemas.microsoft.com/office/drawing/2014/main" id="{747561A7-A4E3-4499-B944-13B1E480A9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8302" y="3440434"/>
            <a:ext cx="40481" cy="5562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02" name="Rectangle 20">
            <a:extLst>
              <a:ext uri="{FF2B5EF4-FFF2-40B4-BE49-F238E27FC236}">
                <a16:creationId xmlns:a16="http://schemas.microsoft.com/office/drawing/2014/main" id="{E5056863-75E3-1A5A-8CE7-F83CDA6C8B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73168" y="3440434"/>
            <a:ext cx="40481" cy="5508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03" name="Rectangle 20">
            <a:extLst>
              <a:ext uri="{FF2B5EF4-FFF2-40B4-BE49-F238E27FC236}">
                <a16:creationId xmlns:a16="http://schemas.microsoft.com/office/drawing/2014/main" id="{ACB164B0-3036-CAA6-6227-0FBC6D55EB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28033" y="3440434"/>
            <a:ext cx="40481" cy="5454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04" name="Rectangle 20">
            <a:extLst>
              <a:ext uri="{FF2B5EF4-FFF2-40B4-BE49-F238E27FC236}">
                <a16:creationId xmlns:a16="http://schemas.microsoft.com/office/drawing/2014/main" id="{9EC26E54-1E29-EC90-8A1E-9EA8DE9501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82899" y="3440434"/>
            <a:ext cx="40481" cy="5346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05" name="Rectangle 20">
            <a:extLst>
              <a:ext uri="{FF2B5EF4-FFF2-40B4-BE49-F238E27FC236}">
                <a16:creationId xmlns:a16="http://schemas.microsoft.com/office/drawing/2014/main" id="{2996E24E-D224-24AE-93D7-1FC2EC8D9E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7764" y="3440434"/>
            <a:ext cx="40481" cy="513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06" name="Rectangle 20">
            <a:extLst>
              <a:ext uri="{FF2B5EF4-FFF2-40B4-BE49-F238E27FC236}">
                <a16:creationId xmlns:a16="http://schemas.microsoft.com/office/drawing/2014/main" id="{A5ABF33C-80D3-6F90-BD95-2D5C08F592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2630" y="3440434"/>
            <a:ext cx="40481" cy="5022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07" name="Rectangle 20">
            <a:extLst>
              <a:ext uri="{FF2B5EF4-FFF2-40B4-BE49-F238E27FC236}">
                <a16:creationId xmlns:a16="http://schemas.microsoft.com/office/drawing/2014/main" id="{9CFA47F7-8579-C126-62B5-208341D58A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7495" y="3440434"/>
            <a:ext cx="40481" cy="4968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08" name="Rectangle 20">
            <a:extLst>
              <a:ext uri="{FF2B5EF4-FFF2-40B4-BE49-F238E27FC236}">
                <a16:creationId xmlns:a16="http://schemas.microsoft.com/office/drawing/2014/main" id="{458C56F7-EC37-7032-9D83-F3129D8DC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2361" y="3440434"/>
            <a:ext cx="40481" cy="486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09" name="Rectangle 20">
            <a:extLst>
              <a:ext uri="{FF2B5EF4-FFF2-40B4-BE49-F238E27FC236}">
                <a16:creationId xmlns:a16="http://schemas.microsoft.com/office/drawing/2014/main" id="{2F88DABA-BAA2-54A5-03C6-308935B786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7226" y="3440434"/>
            <a:ext cx="40481" cy="486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0" name="Rectangle 20">
            <a:extLst>
              <a:ext uri="{FF2B5EF4-FFF2-40B4-BE49-F238E27FC236}">
                <a16:creationId xmlns:a16="http://schemas.microsoft.com/office/drawing/2014/main" id="{0D2515CC-0057-8B45-7663-B58CFB8198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2092" y="3440434"/>
            <a:ext cx="40481" cy="4752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1" name="Rectangle 20">
            <a:extLst>
              <a:ext uri="{FF2B5EF4-FFF2-40B4-BE49-F238E27FC236}">
                <a16:creationId xmlns:a16="http://schemas.microsoft.com/office/drawing/2014/main" id="{5855FD09-EDF1-D2C5-953E-49AA94C89D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6957" y="3440434"/>
            <a:ext cx="40481" cy="4617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2" name="Rectangle 20">
            <a:extLst>
              <a:ext uri="{FF2B5EF4-FFF2-40B4-BE49-F238E27FC236}">
                <a16:creationId xmlns:a16="http://schemas.microsoft.com/office/drawing/2014/main" id="{1C542452-482E-C791-6176-78F1C44EFA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1823" y="3440434"/>
            <a:ext cx="40481" cy="4617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3" name="Rectangle 20">
            <a:extLst>
              <a:ext uri="{FF2B5EF4-FFF2-40B4-BE49-F238E27FC236}">
                <a16:creationId xmlns:a16="http://schemas.microsoft.com/office/drawing/2014/main" id="{841BB0EF-2EF9-35DE-5934-F10814B89C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6688" y="3440434"/>
            <a:ext cx="40481" cy="459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4" name="Rectangle 20">
            <a:extLst>
              <a:ext uri="{FF2B5EF4-FFF2-40B4-BE49-F238E27FC236}">
                <a16:creationId xmlns:a16="http://schemas.microsoft.com/office/drawing/2014/main" id="{14645710-2664-5C50-1DD8-6DA21339FB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1554" y="3440434"/>
            <a:ext cx="40481" cy="4536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5" name="Rectangle 20">
            <a:extLst>
              <a:ext uri="{FF2B5EF4-FFF2-40B4-BE49-F238E27FC236}">
                <a16:creationId xmlns:a16="http://schemas.microsoft.com/office/drawing/2014/main" id="{943D2371-FAAD-C7F0-3AA5-66BAF7F1F2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6419" y="3440434"/>
            <a:ext cx="40481" cy="4536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6" name="Rectangle 20">
            <a:extLst>
              <a:ext uri="{FF2B5EF4-FFF2-40B4-BE49-F238E27FC236}">
                <a16:creationId xmlns:a16="http://schemas.microsoft.com/office/drawing/2014/main" id="{74EA6D62-FA62-737D-3D27-9FDC57D833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1285" y="3440434"/>
            <a:ext cx="40481" cy="4455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7" name="Rectangle 20">
            <a:extLst>
              <a:ext uri="{FF2B5EF4-FFF2-40B4-BE49-F238E27FC236}">
                <a16:creationId xmlns:a16="http://schemas.microsoft.com/office/drawing/2014/main" id="{818460BD-AF13-4A4F-92FB-4FE688B78E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96150" y="3440434"/>
            <a:ext cx="40481" cy="4455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8" name="Rectangle 20">
            <a:extLst>
              <a:ext uri="{FF2B5EF4-FFF2-40B4-BE49-F238E27FC236}">
                <a16:creationId xmlns:a16="http://schemas.microsoft.com/office/drawing/2014/main" id="{111E7FFC-0C20-FC2C-51BE-D54158533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1016" y="3440434"/>
            <a:ext cx="40481" cy="4374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9" name="Rectangle 20">
            <a:extLst>
              <a:ext uri="{FF2B5EF4-FFF2-40B4-BE49-F238E27FC236}">
                <a16:creationId xmlns:a16="http://schemas.microsoft.com/office/drawing/2014/main" id="{E2C4CD14-5A6E-36FF-D709-B6198E3D0A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5881" y="3440434"/>
            <a:ext cx="40481" cy="4239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20" name="Rectangle 20">
            <a:extLst>
              <a:ext uri="{FF2B5EF4-FFF2-40B4-BE49-F238E27FC236}">
                <a16:creationId xmlns:a16="http://schemas.microsoft.com/office/drawing/2014/main" id="{B6881B1B-6838-39AB-5C26-3CE14A4260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0747" y="3440434"/>
            <a:ext cx="40481" cy="4239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21" name="Rectangle 20">
            <a:extLst>
              <a:ext uri="{FF2B5EF4-FFF2-40B4-BE49-F238E27FC236}">
                <a16:creationId xmlns:a16="http://schemas.microsoft.com/office/drawing/2014/main" id="{6A15EB64-9449-56A4-3F8D-85766873B9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5612" y="3440434"/>
            <a:ext cx="40481" cy="4239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22" name="Rectangle 20">
            <a:extLst>
              <a:ext uri="{FF2B5EF4-FFF2-40B4-BE49-F238E27FC236}">
                <a16:creationId xmlns:a16="http://schemas.microsoft.com/office/drawing/2014/main" id="{75240F36-DF73-38F0-71FC-A749E14BE5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0478" y="3440434"/>
            <a:ext cx="40481" cy="4239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23" name="Rectangle 20">
            <a:extLst>
              <a:ext uri="{FF2B5EF4-FFF2-40B4-BE49-F238E27FC236}">
                <a16:creationId xmlns:a16="http://schemas.microsoft.com/office/drawing/2014/main" id="{75C8E59E-FC50-E9DE-BC3D-238BF8D93A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5343" y="3440434"/>
            <a:ext cx="40481" cy="4104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24" name="Rectangle 20">
            <a:extLst>
              <a:ext uri="{FF2B5EF4-FFF2-40B4-BE49-F238E27FC236}">
                <a16:creationId xmlns:a16="http://schemas.microsoft.com/office/drawing/2014/main" id="{EEBE988D-31B6-7F23-3C3C-8F60428501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0209" y="3440434"/>
            <a:ext cx="40481" cy="3996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25" name="Rectangle 20">
            <a:extLst>
              <a:ext uri="{FF2B5EF4-FFF2-40B4-BE49-F238E27FC236}">
                <a16:creationId xmlns:a16="http://schemas.microsoft.com/office/drawing/2014/main" id="{DCAF2D04-9AC6-DA3A-F15E-83084F8882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5074" y="3440434"/>
            <a:ext cx="40481" cy="3726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26" name="Rectangle 20">
            <a:extLst>
              <a:ext uri="{FF2B5EF4-FFF2-40B4-BE49-F238E27FC236}">
                <a16:creationId xmlns:a16="http://schemas.microsoft.com/office/drawing/2014/main" id="{839DBF25-0F59-BA1C-09D9-511E5A56DC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9940" y="3440434"/>
            <a:ext cx="40481" cy="3726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27" name="Rectangle 20">
            <a:extLst>
              <a:ext uri="{FF2B5EF4-FFF2-40B4-BE49-F238E27FC236}">
                <a16:creationId xmlns:a16="http://schemas.microsoft.com/office/drawing/2014/main" id="{F8E391E4-6437-ED51-107B-D2D3EA918D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4805" y="3440434"/>
            <a:ext cx="40481" cy="3726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28" name="Rectangle 20">
            <a:extLst>
              <a:ext uri="{FF2B5EF4-FFF2-40B4-BE49-F238E27FC236}">
                <a16:creationId xmlns:a16="http://schemas.microsoft.com/office/drawing/2014/main" id="{B1CE46C7-CCC1-3081-ABB4-1C3A97EEB0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9671" y="3440434"/>
            <a:ext cx="40481" cy="3591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29" name="Rectangle 20">
            <a:extLst>
              <a:ext uri="{FF2B5EF4-FFF2-40B4-BE49-F238E27FC236}">
                <a16:creationId xmlns:a16="http://schemas.microsoft.com/office/drawing/2014/main" id="{0FF71B51-4E2D-BC9A-ED62-062B2011BA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4536" y="3440434"/>
            <a:ext cx="40481" cy="3591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30" name="Rectangle 20">
            <a:extLst>
              <a:ext uri="{FF2B5EF4-FFF2-40B4-BE49-F238E27FC236}">
                <a16:creationId xmlns:a16="http://schemas.microsoft.com/office/drawing/2014/main" id="{71AC3B15-10D5-22CB-6DCE-A28157AC4E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9402" y="3440434"/>
            <a:ext cx="40481" cy="3591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31" name="Rectangle 20">
            <a:extLst>
              <a:ext uri="{FF2B5EF4-FFF2-40B4-BE49-F238E27FC236}">
                <a16:creationId xmlns:a16="http://schemas.microsoft.com/office/drawing/2014/main" id="{1503D48A-FC60-8622-CE33-D202A81D18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64267" y="3440434"/>
            <a:ext cx="40481" cy="351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32" name="Rectangle 20">
            <a:extLst>
              <a:ext uri="{FF2B5EF4-FFF2-40B4-BE49-F238E27FC236}">
                <a16:creationId xmlns:a16="http://schemas.microsoft.com/office/drawing/2014/main" id="{6F0DA9AF-4D05-4F74-FAB2-27385D3ED7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9133" y="3440434"/>
            <a:ext cx="40481" cy="3402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33" name="Rectangle 20">
            <a:extLst>
              <a:ext uri="{FF2B5EF4-FFF2-40B4-BE49-F238E27FC236}">
                <a16:creationId xmlns:a16="http://schemas.microsoft.com/office/drawing/2014/main" id="{DFA99949-CA36-7D6A-E2A5-48BE996AEC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73998" y="3440434"/>
            <a:ext cx="40481" cy="3348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34" name="Rectangle 20">
            <a:extLst>
              <a:ext uri="{FF2B5EF4-FFF2-40B4-BE49-F238E27FC236}">
                <a16:creationId xmlns:a16="http://schemas.microsoft.com/office/drawing/2014/main" id="{0821E09F-A44B-6A87-391F-49F9ADD1D2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8864" y="3440434"/>
            <a:ext cx="40481" cy="3348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35" name="Rectangle 20">
            <a:extLst>
              <a:ext uri="{FF2B5EF4-FFF2-40B4-BE49-F238E27FC236}">
                <a16:creationId xmlns:a16="http://schemas.microsoft.com/office/drawing/2014/main" id="{3E5AF72A-D30A-7493-CEA5-F50478A8DA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83729" y="3440434"/>
            <a:ext cx="40481" cy="3105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36" name="Rectangle 20">
            <a:extLst>
              <a:ext uri="{FF2B5EF4-FFF2-40B4-BE49-F238E27FC236}">
                <a16:creationId xmlns:a16="http://schemas.microsoft.com/office/drawing/2014/main" id="{0F09F139-1855-FC3A-0803-C1F8FDA31A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8595" y="3440434"/>
            <a:ext cx="40481" cy="2862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37" name="Rectangle 20">
            <a:extLst>
              <a:ext uri="{FF2B5EF4-FFF2-40B4-BE49-F238E27FC236}">
                <a16:creationId xmlns:a16="http://schemas.microsoft.com/office/drawing/2014/main" id="{EF678DC4-C837-BA54-C582-B3E76EEA4B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3460" y="3440434"/>
            <a:ext cx="40481" cy="270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38" name="Rectangle 20">
            <a:extLst>
              <a:ext uri="{FF2B5EF4-FFF2-40B4-BE49-F238E27FC236}">
                <a16:creationId xmlns:a16="http://schemas.microsoft.com/office/drawing/2014/main" id="{EC612D65-2FF1-62BD-3D74-F738F6275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26" y="3440434"/>
            <a:ext cx="40481" cy="2565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39" name="Rectangle 20">
            <a:extLst>
              <a:ext uri="{FF2B5EF4-FFF2-40B4-BE49-F238E27FC236}">
                <a16:creationId xmlns:a16="http://schemas.microsoft.com/office/drawing/2014/main" id="{05F4E584-3634-3116-47FF-33D360CF8A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3191" y="3440434"/>
            <a:ext cx="40481" cy="243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40" name="Rectangle 20">
            <a:extLst>
              <a:ext uri="{FF2B5EF4-FFF2-40B4-BE49-F238E27FC236}">
                <a16:creationId xmlns:a16="http://schemas.microsoft.com/office/drawing/2014/main" id="{F2B86E25-246C-FD12-7542-EBF2AE82B2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8057" y="3440434"/>
            <a:ext cx="40481" cy="2349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41" name="Rectangle 20">
            <a:extLst>
              <a:ext uri="{FF2B5EF4-FFF2-40B4-BE49-F238E27FC236}">
                <a16:creationId xmlns:a16="http://schemas.microsoft.com/office/drawing/2014/main" id="{FEA31481-C34C-E591-C28B-F505028A24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2922" y="3440434"/>
            <a:ext cx="40481" cy="2349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42" name="Rectangle 20">
            <a:extLst>
              <a:ext uri="{FF2B5EF4-FFF2-40B4-BE49-F238E27FC236}">
                <a16:creationId xmlns:a16="http://schemas.microsoft.com/office/drawing/2014/main" id="{358C1939-9370-019C-F029-01CABA9F3A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7788" y="3440434"/>
            <a:ext cx="40481" cy="2241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43" name="Rectangle 20">
            <a:extLst>
              <a:ext uri="{FF2B5EF4-FFF2-40B4-BE49-F238E27FC236}">
                <a16:creationId xmlns:a16="http://schemas.microsoft.com/office/drawing/2014/main" id="{8CE171B3-DB3C-10D3-BAB1-B70C484031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2653" y="3440434"/>
            <a:ext cx="40481" cy="2241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44" name="Rectangle 20">
            <a:extLst>
              <a:ext uri="{FF2B5EF4-FFF2-40B4-BE49-F238E27FC236}">
                <a16:creationId xmlns:a16="http://schemas.microsoft.com/office/drawing/2014/main" id="{E7358B18-0B27-BB4D-3C48-476C6F8F71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7519" y="3440434"/>
            <a:ext cx="40481" cy="2025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45" name="Rectangle 20">
            <a:extLst>
              <a:ext uri="{FF2B5EF4-FFF2-40B4-BE49-F238E27FC236}">
                <a16:creationId xmlns:a16="http://schemas.microsoft.com/office/drawing/2014/main" id="{8220FC89-4E28-E992-421E-C930B99883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32384" y="3440434"/>
            <a:ext cx="40481" cy="2025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46" name="Rectangle 20">
            <a:extLst>
              <a:ext uri="{FF2B5EF4-FFF2-40B4-BE49-F238E27FC236}">
                <a16:creationId xmlns:a16="http://schemas.microsoft.com/office/drawing/2014/main" id="{160FC965-A053-E96A-D454-9E09A180B6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7250" y="3440434"/>
            <a:ext cx="40481" cy="2025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47" name="Rectangle 20">
            <a:extLst>
              <a:ext uri="{FF2B5EF4-FFF2-40B4-BE49-F238E27FC236}">
                <a16:creationId xmlns:a16="http://schemas.microsoft.com/office/drawing/2014/main" id="{04658B22-BF8D-408A-E598-129BDD862E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2115" y="3440434"/>
            <a:ext cx="40481" cy="1917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48" name="Rectangle 20">
            <a:extLst>
              <a:ext uri="{FF2B5EF4-FFF2-40B4-BE49-F238E27FC236}">
                <a16:creationId xmlns:a16="http://schemas.microsoft.com/office/drawing/2014/main" id="{3E8F77EC-2CF8-D48E-3514-D5B62AA73A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6981" y="3440434"/>
            <a:ext cx="40481" cy="1917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49" name="Rectangle 20">
            <a:extLst>
              <a:ext uri="{FF2B5EF4-FFF2-40B4-BE49-F238E27FC236}">
                <a16:creationId xmlns:a16="http://schemas.microsoft.com/office/drawing/2014/main" id="{D1E6A449-581D-52C6-BBD9-F22512A1AF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1846" y="3440434"/>
            <a:ext cx="40481" cy="1755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0" name="Rectangle 20">
            <a:extLst>
              <a:ext uri="{FF2B5EF4-FFF2-40B4-BE49-F238E27FC236}">
                <a16:creationId xmlns:a16="http://schemas.microsoft.com/office/drawing/2014/main" id="{94134348-9528-03A9-E96F-9682164EA1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06712" y="3440434"/>
            <a:ext cx="40481" cy="162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1" name="Rectangle 20">
            <a:extLst>
              <a:ext uri="{FF2B5EF4-FFF2-40B4-BE49-F238E27FC236}">
                <a16:creationId xmlns:a16="http://schemas.microsoft.com/office/drawing/2014/main" id="{EA292338-31B0-DCCB-36B6-67FBA1D627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1577" y="3440434"/>
            <a:ext cx="40481" cy="1485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2" name="Rectangle 20">
            <a:extLst>
              <a:ext uri="{FF2B5EF4-FFF2-40B4-BE49-F238E27FC236}">
                <a16:creationId xmlns:a16="http://schemas.microsoft.com/office/drawing/2014/main" id="{CD558CFF-A5AC-1CA6-5AEA-48B7AF2AC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16443" y="3440434"/>
            <a:ext cx="40481" cy="459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3" name="Rectangle 20">
            <a:extLst>
              <a:ext uri="{FF2B5EF4-FFF2-40B4-BE49-F238E27FC236}">
                <a16:creationId xmlns:a16="http://schemas.microsoft.com/office/drawing/2014/main" id="{10AB5FBB-3C79-0D61-A659-C500B65A3E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1308" y="3440434"/>
            <a:ext cx="40481" cy="459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4" name="Rectangle 20">
            <a:extLst>
              <a:ext uri="{FF2B5EF4-FFF2-40B4-BE49-F238E27FC236}">
                <a16:creationId xmlns:a16="http://schemas.microsoft.com/office/drawing/2014/main" id="{B2011075-677A-CB98-35FA-6FF476717100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6926174" y="3399438"/>
            <a:ext cx="40481" cy="405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5" name="Rectangle 20">
            <a:extLst>
              <a:ext uri="{FF2B5EF4-FFF2-40B4-BE49-F238E27FC236}">
                <a16:creationId xmlns:a16="http://schemas.microsoft.com/office/drawing/2014/main" id="{17D70C85-CA90-795C-619A-88F2ACB43EEA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6981039" y="3331938"/>
            <a:ext cx="40481" cy="108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6" name="Rectangle 20">
            <a:extLst>
              <a:ext uri="{FF2B5EF4-FFF2-40B4-BE49-F238E27FC236}">
                <a16:creationId xmlns:a16="http://schemas.microsoft.com/office/drawing/2014/main" id="{75013C1A-801A-679A-AFBF-71819F308E64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7035905" y="3264438"/>
            <a:ext cx="40481" cy="1755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7" name="Rectangle 20">
            <a:extLst>
              <a:ext uri="{FF2B5EF4-FFF2-40B4-BE49-F238E27FC236}">
                <a16:creationId xmlns:a16="http://schemas.microsoft.com/office/drawing/2014/main" id="{C15BEB99-E9FA-BAE6-4B98-BA79AA95772C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7090770" y="3229338"/>
            <a:ext cx="40481" cy="2106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8" name="Rectangle 20">
            <a:extLst>
              <a:ext uri="{FF2B5EF4-FFF2-40B4-BE49-F238E27FC236}">
                <a16:creationId xmlns:a16="http://schemas.microsoft.com/office/drawing/2014/main" id="{2B9761CB-ABF7-B20A-B603-BAE7FDFB09E3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7145636" y="3142938"/>
            <a:ext cx="40481" cy="297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9" name="Rectangle 20">
            <a:extLst>
              <a:ext uri="{FF2B5EF4-FFF2-40B4-BE49-F238E27FC236}">
                <a16:creationId xmlns:a16="http://schemas.microsoft.com/office/drawing/2014/main" id="{EE118468-02E9-C752-5A8A-8D19846A5218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7200501" y="3129438"/>
            <a:ext cx="40481" cy="3105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60" name="Rectangle 20">
            <a:extLst>
              <a:ext uri="{FF2B5EF4-FFF2-40B4-BE49-F238E27FC236}">
                <a16:creationId xmlns:a16="http://schemas.microsoft.com/office/drawing/2014/main" id="{6543D3EB-9CEC-45FD-534F-C91E19D6AFE8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7255367" y="2899938"/>
            <a:ext cx="40481" cy="5400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61" name="Rectangle 20">
            <a:extLst>
              <a:ext uri="{FF2B5EF4-FFF2-40B4-BE49-F238E27FC236}">
                <a16:creationId xmlns:a16="http://schemas.microsoft.com/office/drawing/2014/main" id="{BF1F6023-9F79-5E62-0B6F-97DF0B39D6C5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7310232" y="2832438"/>
            <a:ext cx="40481" cy="6075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62" name="Rectangle 20">
            <a:extLst>
              <a:ext uri="{FF2B5EF4-FFF2-40B4-BE49-F238E27FC236}">
                <a16:creationId xmlns:a16="http://schemas.microsoft.com/office/drawing/2014/main" id="{51027A5C-F2FC-BA78-1A3A-0BCBC964E61E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7365098" y="2759538"/>
            <a:ext cx="40481" cy="6804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63" name="Rectangle 20">
            <a:extLst>
              <a:ext uri="{FF2B5EF4-FFF2-40B4-BE49-F238E27FC236}">
                <a16:creationId xmlns:a16="http://schemas.microsoft.com/office/drawing/2014/main" id="{1BDCE751-DA40-9F39-8014-65B8F69190BB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7419977" y="2003538"/>
            <a:ext cx="40481" cy="1436400"/>
          </a:xfrm>
          <a:prstGeom prst="rect">
            <a:avLst/>
          </a:prstGeom>
          <a:solidFill>
            <a:srgbClr val="0076A9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64" name="Rectangle 92">
            <a:extLst>
              <a:ext uri="{FF2B5EF4-FFF2-40B4-BE49-F238E27FC236}">
                <a16:creationId xmlns:a16="http://schemas.microsoft.com/office/drawing/2014/main" id="{CC09CEB9-E586-1659-D619-128BA4A2E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3851" y="3444122"/>
            <a:ext cx="40481" cy="6345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65" name="Rectangle 92">
            <a:extLst>
              <a:ext uri="{FF2B5EF4-FFF2-40B4-BE49-F238E27FC236}">
                <a16:creationId xmlns:a16="http://schemas.microsoft.com/office/drawing/2014/main" id="{65A9E7C3-2D8A-A34C-E640-830F63A3BB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8074" y="3444122"/>
            <a:ext cx="40481" cy="4725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66" name="Rectangle 92">
            <a:extLst>
              <a:ext uri="{FF2B5EF4-FFF2-40B4-BE49-F238E27FC236}">
                <a16:creationId xmlns:a16="http://schemas.microsoft.com/office/drawing/2014/main" id="{706FAA19-E2B3-94B2-78A4-BFE152A2D0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32296" y="3444122"/>
            <a:ext cx="40481" cy="4590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67" name="Rectangle 92">
            <a:extLst>
              <a:ext uri="{FF2B5EF4-FFF2-40B4-BE49-F238E27FC236}">
                <a16:creationId xmlns:a16="http://schemas.microsoft.com/office/drawing/2014/main" id="{64E78958-9772-1189-F3A4-E4DC6670FD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6519" y="3444122"/>
            <a:ext cx="40481" cy="3240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68" name="Rectangle 92">
            <a:extLst>
              <a:ext uri="{FF2B5EF4-FFF2-40B4-BE49-F238E27FC236}">
                <a16:creationId xmlns:a16="http://schemas.microsoft.com/office/drawing/2014/main" id="{8CED9B29-37B8-C1B4-3C9D-A4BBC726F3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40742" y="3444122"/>
            <a:ext cx="40481" cy="2970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69" name="Rectangle 92">
            <a:extLst>
              <a:ext uri="{FF2B5EF4-FFF2-40B4-BE49-F238E27FC236}">
                <a16:creationId xmlns:a16="http://schemas.microsoft.com/office/drawing/2014/main" id="{2999A2A8-4516-0498-91D0-EA866A9139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4965" y="3444122"/>
            <a:ext cx="40481" cy="2835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70" name="Rectangle 92">
            <a:extLst>
              <a:ext uri="{FF2B5EF4-FFF2-40B4-BE49-F238E27FC236}">
                <a16:creationId xmlns:a16="http://schemas.microsoft.com/office/drawing/2014/main" id="{DF717FEC-5C45-2323-D06F-305FE0CCBE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9187" y="3444122"/>
            <a:ext cx="40481" cy="2700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71" name="Rectangle 92">
            <a:extLst>
              <a:ext uri="{FF2B5EF4-FFF2-40B4-BE49-F238E27FC236}">
                <a16:creationId xmlns:a16="http://schemas.microsoft.com/office/drawing/2014/main" id="{99BD06AD-5E0A-8E94-0AFB-A0C54D9258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3410" y="3444122"/>
            <a:ext cx="40481" cy="2565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72" name="Rectangle 92">
            <a:extLst>
              <a:ext uri="{FF2B5EF4-FFF2-40B4-BE49-F238E27FC236}">
                <a16:creationId xmlns:a16="http://schemas.microsoft.com/office/drawing/2014/main" id="{21BF2994-8AE5-FA28-8192-62AE4D25CC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7633" y="3444122"/>
            <a:ext cx="40481" cy="2484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73" name="Rectangle 92">
            <a:extLst>
              <a:ext uri="{FF2B5EF4-FFF2-40B4-BE49-F238E27FC236}">
                <a16:creationId xmlns:a16="http://schemas.microsoft.com/office/drawing/2014/main" id="{68F5A9E9-517D-96D1-825A-CAFBACA4CB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1856" y="3444122"/>
            <a:ext cx="40481" cy="2484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74" name="Rectangle 92">
            <a:extLst>
              <a:ext uri="{FF2B5EF4-FFF2-40B4-BE49-F238E27FC236}">
                <a16:creationId xmlns:a16="http://schemas.microsoft.com/office/drawing/2014/main" id="{8EA0BF76-A42F-9E28-F149-6468F18C51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66078" y="3444122"/>
            <a:ext cx="40481" cy="2484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75" name="Rectangle 92">
            <a:extLst>
              <a:ext uri="{FF2B5EF4-FFF2-40B4-BE49-F238E27FC236}">
                <a16:creationId xmlns:a16="http://schemas.microsoft.com/office/drawing/2014/main" id="{4AE3842E-9386-6193-07D1-49CC8B06BD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0301" y="3444122"/>
            <a:ext cx="40481" cy="1836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76" name="Rectangle 92">
            <a:extLst>
              <a:ext uri="{FF2B5EF4-FFF2-40B4-BE49-F238E27FC236}">
                <a16:creationId xmlns:a16="http://schemas.microsoft.com/office/drawing/2014/main" id="{C1ADC86F-CFAE-537E-D29F-8D1A1C0BC5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4524" y="3444122"/>
            <a:ext cx="40481" cy="1620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77" name="Rectangle 92">
            <a:extLst>
              <a:ext uri="{FF2B5EF4-FFF2-40B4-BE49-F238E27FC236}">
                <a16:creationId xmlns:a16="http://schemas.microsoft.com/office/drawing/2014/main" id="{0EF382D3-0161-E7C6-EA83-8A6D1FE132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8747" y="3444122"/>
            <a:ext cx="40481" cy="1485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78" name="Rectangle 92">
            <a:extLst>
              <a:ext uri="{FF2B5EF4-FFF2-40B4-BE49-F238E27FC236}">
                <a16:creationId xmlns:a16="http://schemas.microsoft.com/office/drawing/2014/main" id="{469BCF54-2FE7-70A9-74C1-F52014E99D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82969" y="3444122"/>
            <a:ext cx="40481" cy="1026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79" name="Rectangle 92">
            <a:extLst>
              <a:ext uri="{FF2B5EF4-FFF2-40B4-BE49-F238E27FC236}">
                <a16:creationId xmlns:a16="http://schemas.microsoft.com/office/drawing/2014/main" id="{88247043-B90A-EBF1-CE20-2E18964E49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7192" y="3444122"/>
            <a:ext cx="40481" cy="810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80" name="Rectangle 92">
            <a:extLst>
              <a:ext uri="{FF2B5EF4-FFF2-40B4-BE49-F238E27FC236}">
                <a16:creationId xmlns:a16="http://schemas.microsoft.com/office/drawing/2014/main" id="{F2930D01-B067-C96E-AE48-3CE1ACFC53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91415" y="3444122"/>
            <a:ext cx="40481" cy="540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81" name="Rectangle 92">
            <a:extLst>
              <a:ext uri="{FF2B5EF4-FFF2-40B4-BE49-F238E27FC236}">
                <a16:creationId xmlns:a16="http://schemas.microsoft.com/office/drawing/2014/main" id="{939493F2-C11C-C6BC-E63E-AFC5BE7180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5638" y="3444122"/>
            <a:ext cx="40481" cy="270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82" name="Rectangle 92">
            <a:extLst>
              <a:ext uri="{FF2B5EF4-FFF2-40B4-BE49-F238E27FC236}">
                <a16:creationId xmlns:a16="http://schemas.microsoft.com/office/drawing/2014/main" id="{4ED5E720-C5E5-2B90-35FC-A59B3E7586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9860" y="3444122"/>
            <a:ext cx="40481" cy="135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83" name="Rectangle 92">
            <a:extLst>
              <a:ext uri="{FF2B5EF4-FFF2-40B4-BE49-F238E27FC236}">
                <a16:creationId xmlns:a16="http://schemas.microsoft.com/office/drawing/2014/main" id="{0D15EC42-0423-4B76-5E9E-77B35611800D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9154083" y="3404736"/>
            <a:ext cx="40481" cy="351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84" name="Rectangle 92">
            <a:extLst>
              <a:ext uri="{FF2B5EF4-FFF2-40B4-BE49-F238E27FC236}">
                <a16:creationId xmlns:a16="http://schemas.microsoft.com/office/drawing/2014/main" id="{63831F85-B8DE-8C81-E138-14F0AB892F73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9208306" y="3404736"/>
            <a:ext cx="40481" cy="351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85" name="Rectangle 92">
            <a:extLst>
              <a:ext uri="{FF2B5EF4-FFF2-40B4-BE49-F238E27FC236}">
                <a16:creationId xmlns:a16="http://schemas.microsoft.com/office/drawing/2014/main" id="{CA263468-BC72-FD09-2FAF-4B3D0841F75D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9262529" y="3396636"/>
            <a:ext cx="40481" cy="432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86" name="Rectangle 92">
            <a:extLst>
              <a:ext uri="{FF2B5EF4-FFF2-40B4-BE49-F238E27FC236}">
                <a16:creationId xmlns:a16="http://schemas.microsoft.com/office/drawing/2014/main" id="{BF73D877-BE53-4218-D7C5-970F5E43EFD0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9316751" y="3361536"/>
            <a:ext cx="40481" cy="783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87" name="Rectangle 92">
            <a:extLst>
              <a:ext uri="{FF2B5EF4-FFF2-40B4-BE49-F238E27FC236}">
                <a16:creationId xmlns:a16="http://schemas.microsoft.com/office/drawing/2014/main" id="{017C1410-8C73-5F7B-EEFC-2055D36DFEBD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9370974" y="3350736"/>
            <a:ext cx="40481" cy="891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88" name="Rectangle 92">
            <a:extLst>
              <a:ext uri="{FF2B5EF4-FFF2-40B4-BE49-F238E27FC236}">
                <a16:creationId xmlns:a16="http://schemas.microsoft.com/office/drawing/2014/main" id="{A8A99341-EA22-09A9-67A4-80F0E2578180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9425197" y="3337236"/>
            <a:ext cx="40481" cy="1026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89" name="Rectangle 92">
            <a:extLst>
              <a:ext uri="{FF2B5EF4-FFF2-40B4-BE49-F238E27FC236}">
                <a16:creationId xmlns:a16="http://schemas.microsoft.com/office/drawing/2014/main" id="{4AF3346A-38EE-D3B0-F37A-CBDE9DF6D473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9479420" y="3310236"/>
            <a:ext cx="40481" cy="1296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90" name="Rectangle 92">
            <a:extLst>
              <a:ext uri="{FF2B5EF4-FFF2-40B4-BE49-F238E27FC236}">
                <a16:creationId xmlns:a16="http://schemas.microsoft.com/office/drawing/2014/main" id="{A081F33E-129C-C441-E40D-8D446D36916F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9533642" y="3285936"/>
            <a:ext cx="40481" cy="1539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91" name="Rectangle 92">
            <a:extLst>
              <a:ext uri="{FF2B5EF4-FFF2-40B4-BE49-F238E27FC236}">
                <a16:creationId xmlns:a16="http://schemas.microsoft.com/office/drawing/2014/main" id="{B1946920-F473-8BBD-FFD2-69D8F6423790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9587865" y="3267036"/>
            <a:ext cx="40481" cy="1728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92" name="Rectangle 92">
            <a:extLst>
              <a:ext uri="{FF2B5EF4-FFF2-40B4-BE49-F238E27FC236}">
                <a16:creationId xmlns:a16="http://schemas.microsoft.com/office/drawing/2014/main" id="{1C02A7BD-33A1-49D3-BB26-1A322DA1E39B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9642088" y="3215736"/>
            <a:ext cx="40481" cy="2241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93" name="Rectangle 92">
            <a:extLst>
              <a:ext uri="{FF2B5EF4-FFF2-40B4-BE49-F238E27FC236}">
                <a16:creationId xmlns:a16="http://schemas.microsoft.com/office/drawing/2014/main" id="{67E78C89-10ED-31FB-8550-B2A9DA3B75DB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9696311" y="3196836"/>
            <a:ext cx="40481" cy="2430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94" name="Rectangle 92">
            <a:extLst>
              <a:ext uri="{FF2B5EF4-FFF2-40B4-BE49-F238E27FC236}">
                <a16:creationId xmlns:a16="http://schemas.microsoft.com/office/drawing/2014/main" id="{5F1BD536-7735-344C-1463-5A31F809586A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9750533" y="3196836"/>
            <a:ext cx="40481" cy="2430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95" name="Rectangle 92">
            <a:extLst>
              <a:ext uri="{FF2B5EF4-FFF2-40B4-BE49-F238E27FC236}">
                <a16:creationId xmlns:a16="http://schemas.microsoft.com/office/drawing/2014/main" id="{52B1DFB8-4DF5-41B3-C48F-EEF0A41A3C4B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9804756" y="3148236"/>
            <a:ext cx="40481" cy="2916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96" name="Rectangle 92">
            <a:extLst>
              <a:ext uri="{FF2B5EF4-FFF2-40B4-BE49-F238E27FC236}">
                <a16:creationId xmlns:a16="http://schemas.microsoft.com/office/drawing/2014/main" id="{DFC9BE18-FD24-63DA-EEA9-80A344948D38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9858979" y="3048336"/>
            <a:ext cx="40481" cy="3915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97" name="Rectangle 92">
            <a:extLst>
              <a:ext uri="{FF2B5EF4-FFF2-40B4-BE49-F238E27FC236}">
                <a16:creationId xmlns:a16="http://schemas.microsoft.com/office/drawing/2014/main" id="{D6AE2B08-57D7-AB9A-E34A-D38B56F21C16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9913202" y="2945736"/>
            <a:ext cx="40481" cy="4941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98" name="Rectangle 92">
            <a:extLst>
              <a:ext uri="{FF2B5EF4-FFF2-40B4-BE49-F238E27FC236}">
                <a16:creationId xmlns:a16="http://schemas.microsoft.com/office/drawing/2014/main" id="{3F621159-AF99-9104-35BF-9CD6DFA4FDE5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9967424" y="2862036"/>
            <a:ext cx="40481" cy="5778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99" name="Rectangle 92">
            <a:extLst>
              <a:ext uri="{FF2B5EF4-FFF2-40B4-BE49-F238E27FC236}">
                <a16:creationId xmlns:a16="http://schemas.microsoft.com/office/drawing/2014/main" id="{980036EC-2207-F777-DA58-22DC37623E68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10021656" y="2724336"/>
            <a:ext cx="40481" cy="715500"/>
          </a:xfrm>
          <a:prstGeom prst="rect">
            <a:avLst/>
          </a:prstGeom>
          <a:solidFill>
            <a:srgbClr val="BFBFBF"/>
          </a:solidFill>
          <a:ln w="12700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6" name="Freeform 18">
            <a:extLst>
              <a:ext uri="{FF2B5EF4-FFF2-40B4-BE49-F238E27FC236}">
                <a16:creationId xmlns:a16="http://schemas.microsoft.com/office/drawing/2014/main" id="{498A6D14-0B7E-098B-D9D1-165FC56BFCE3}"/>
              </a:ext>
            </a:extLst>
          </p:cNvPr>
          <p:cNvSpPr>
            <a:spLocks/>
          </p:cNvSpPr>
          <p:nvPr/>
        </p:nvSpPr>
        <p:spPr bwMode="auto">
          <a:xfrm>
            <a:off x="2602708" y="3441979"/>
            <a:ext cx="7598569" cy="0"/>
          </a:xfrm>
          <a:custGeom>
            <a:avLst/>
            <a:gdLst>
              <a:gd name="T0" fmla="*/ 0 w 6382"/>
              <a:gd name="T1" fmla="*/ 884 w 6382"/>
              <a:gd name="T2" fmla="*/ 6382 w 6382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382">
                <a:moveTo>
                  <a:pt x="0" y="0"/>
                </a:moveTo>
                <a:lnTo>
                  <a:pt x="884" y="0"/>
                </a:lnTo>
                <a:lnTo>
                  <a:pt x="6382" y="0"/>
                </a:lnTo>
              </a:path>
            </a:pathLst>
          </a:custGeom>
          <a:noFill/>
          <a:ln w="1270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76C140DE-A6EF-78D4-8A1D-523A9772D7E2}"/>
              </a:ext>
            </a:extLst>
          </p:cNvPr>
          <p:cNvSpPr txBox="1"/>
          <p:nvPr/>
        </p:nvSpPr>
        <p:spPr>
          <a:xfrm>
            <a:off x="9974387" y="3668795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% Decrease</a:t>
            </a:r>
            <a:endParaRPr lang="en-GB" sz="90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64AD4EF7-ACC0-A838-8762-8C4BF5444432}"/>
              </a:ext>
            </a:extLst>
          </p:cNvPr>
          <p:cNvSpPr txBox="1"/>
          <p:nvPr/>
        </p:nvSpPr>
        <p:spPr>
          <a:xfrm>
            <a:off x="9974387" y="3971388"/>
            <a:ext cx="235001" cy="116681"/>
          </a:xfrm>
          <a:prstGeom prst="rect">
            <a:avLst/>
          </a:prstGeom>
          <a:noFill/>
        </p:spPr>
        <p:txBody>
          <a:bodyPr wrap="none" lIns="27000" tIns="27000" rIns="27000" bIns="27000" rtlCol="0" anchor="ctr">
            <a:no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% Decrease</a:t>
            </a:r>
            <a:endParaRPr lang="en-GB" sz="90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7" name="Freeform 19">
            <a:extLst>
              <a:ext uri="{FF2B5EF4-FFF2-40B4-BE49-F238E27FC236}">
                <a16:creationId xmlns:a16="http://schemas.microsoft.com/office/drawing/2014/main" id="{D661C576-62AF-1569-8503-FE55053353A8}"/>
              </a:ext>
            </a:extLst>
          </p:cNvPr>
          <p:cNvSpPr>
            <a:spLocks/>
          </p:cNvSpPr>
          <p:nvPr/>
        </p:nvSpPr>
        <p:spPr bwMode="auto">
          <a:xfrm>
            <a:off x="2602708" y="3948910"/>
            <a:ext cx="7598569" cy="0"/>
          </a:xfrm>
          <a:custGeom>
            <a:avLst/>
            <a:gdLst>
              <a:gd name="T0" fmla="*/ 0 w 6382"/>
              <a:gd name="T1" fmla="*/ 884 w 6382"/>
              <a:gd name="T2" fmla="*/ 6382 w 6382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382">
                <a:moveTo>
                  <a:pt x="0" y="0"/>
                </a:moveTo>
                <a:lnTo>
                  <a:pt x="884" y="0"/>
                </a:lnTo>
                <a:lnTo>
                  <a:pt x="6382" y="0"/>
                </a:lnTo>
              </a:path>
            </a:pathLst>
          </a:custGeom>
          <a:noFill/>
          <a:ln w="12700" cap="flat">
            <a:solidFill>
              <a:schemeClr val="tx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01" name="Freeform 19">
            <a:extLst>
              <a:ext uri="{FF2B5EF4-FFF2-40B4-BE49-F238E27FC236}">
                <a16:creationId xmlns:a16="http://schemas.microsoft.com/office/drawing/2014/main" id="{199D7F2E-E0AC-D884-A859-0205E92ACE61}"/>
              </a:ext>
            </a:extLst>
          </p:cNvPr>
          <p:cNvSpPr>
            <a:spLocks/>
          </p:cNvSpPr>
          <p:nvPr/>
        </p:nvSpPr>
        <p:spPr bwMode="auto">
          <a:xfrm>
            <a:off x="2602708" y="3806035"/>
            <a:ext cx="7598569" cy="0"/>
          </a:xfrm>
          <a:custGeom>
            <a:avLst/>
            <a:gdLst>
              <a:gd name="T0" fmla="*/ 0 w 6382"/>
              <a:gd name="T1" fmla="*/ 884 w 6382"/>
              <a:gd name="T2" fmla="*/ 6382 w 6382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382">
                <a:moveTo>
                  <a:pt x="0" y="0"/>
                </a:moveTo>
                <a:lnTo>
                  <a:pt x="884" y="0"/>
                </a:lnTo>
                <a:lnTo>
                  <a:pt x="6382" y="0"/>
                </a:lnTo>
              </a:path>
            </a:pathLst>
          </a:custGeom>
          <a:noFill/>
          <a:ln w="12700" cap="flat">
            <a:solidFill>
              <a:schemeClr val="tx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07016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75F5AC6-4B15-5814-AE88-4D7A4E08A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6996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Transfusion Independence</a:t>
            </a:r>
            <a:r>
              <a:rPr lang="en-US" baseline="30000" dirty="0"/>
              <a:t>* </a:t>
            </a:r>
            <a:r>
              <a:rPr lang="en-US" dirty="0"/>
              <a:t>Rate at W24 and Mean Hemoglobin Over Time 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14F95FD-168B-684F-3A12-69C8D7CCA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BE33F7A0-71F0-446B-9DE8-6D75BE64EE0F}" type="slidenum">
              <a:rPr lang="en-US"/>
              <a:pPr defTabSz="685800"/>
              <a:t>1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D25B42-3F01-2298-7E52-262ACF00D06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Ruben Mesa, MD, FACP</a:t>
            </a:r>
          </a:p>
          <a:p>
            <a:r>
              <a:rPr lang="en-US"/>
              <a:t>Director, Mays Cancer Center at UT Health San Antonio MD Anders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C4CF2A9-3CFC-41D9-D469-D141BC4BEA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*Defined as not requiring red blood cell transfusion in the terminal 12 weeks of the 24-week randomized period, with all hemoglobin levels during the 12-week interval of ≥8 g/dL.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337F795-1911-D394-0A68-F6CCCF79CFAA}"/>
              </a:ext>
            </a:extLst>
          </p:cNvPr>
          <p:cNvSpPr txBox="1">
            <a:spLocks/>
          </p:cNvSpPr>
          <p:nvPr/>
        </p:nvSpPr>
        <p:spPr>
          <a:xfrm>
            <a:off x="1718914" y="4835221"/>
            <a:ext cx="8864867" cy="23572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0076A9"/>
              </a:buClr>
              <a:buFont typeface="Arial" panose="020B0604020202020204" pitchFamily="34" charset="0"/>
              <a:buChar char="•"/>
              <a:defRPr lang="en-US" sz="24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76A9"/>
              </a:buClr>
              <a:buFont typeface="Wingdings" panose="05000000000000000000" pitchFamily="2" charset="2"/>
              <a:buChar char="§"/>
              <a:defRPr lang="en-US" sz="24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76A9"/>
              </a:buClr>
              <a:buFont typeface="Courier New" panose="02070309020205020404" pitchFamily="49" charset="0"/>
              <a:buChar char="o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76A9"/>
              </a:buClr>
              <a:buFont typeface="Arial" panose="020B0604020202020204" pitchFamily="34" charset="0"/>
              <a:buChar char="•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0076A9"/>
              </a:buClr>
              <a:buFont typeface="Arial" panose="020B0604020202020204" pitchFamily="34" charset="0"/>
              <a:buChar char="•"/>
              <a:defRPr lang="en-US" sz="1800" kern="1200" dirty="0">
                <a:solidFill>
                  <a:srgbClr val="0025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ts val="400"/>
              </a:spcBef>
              <a:buNone/>
            </a:pPr>
            <a:endParaRPr lang="en-US" sz="800">
              <a:solidFill>
                <a:prstClr val="black"/>
              </a:solidFill>
            </a:endParaRPr>
          </a:p>
        </p:txBody>
      </p:sp>
      <p:sp>
        <p:nvSpPr>
          <p:cNvPr id="16" name="Line 6">
            <a:extLst>
              <a:ext uri="{FF2B5EF4-FFF2-40B4-BE49-F238E27FC236}">
                <a16:creationId xmlns:a16="http://schemas.microsoft.com/office/drawing/2014/main" id="{C0A89F16-B8EE-91D2-802C-D09FB7608EEB}"/>
              </a:ext>
            </a:extLst>
          </p:cNvPr>
          <p:cNvSpPr>
            <a:spLocks noChangeShapeType="1"/>
          </p:cNvSpPr>
          <p:nvPr/>
        </p:nvSpPr>
        <p:spPr bwMode="auto">
          <a:xfrm>
            <a:off x="2115198" y="2572941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7" name="Line 7">
            <a:extLst>
              <a:ext uri="{FF2B5EF4-FFF2-40B4-BE49-F238E27FC236}">
                <a16:creationId xmlns:a16="http://schemas.microsoft.com/office/drawing/2014/main" id="{6D2D7C96-BC25-4CA4-284A-ECB36AA673CD}"/>
              </a:ext>
            </a:extLst>
          </p:cNvPr>
          <p:cNvSpPr>
            <a:spLocks noChangeShapeType="1"/>
          </p:cNvSpPr>
          <p:nvPr/>
        </p:nvSpPr>
        <p:spPr bwMode="auto">
          <a:xfrm>
            <a:off x="2115198" y="2921794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" name="Line 8">
            <a:extLst>
              <a:ext uri="{FF2B5EF4-FFF2-40B4-BE49-F238E27FC236}">
                <a16:creationId xmlns:a16="http://schemas.microsoft.com/office/drawing/2014/main" id="{A20F1B6F-169E-2E97-C92E-88C0372AEECC}"/>
              </a:ext>
            </a:extLst>
          </p:cNvPr>
          <p:cNvSpPr>
            <a:spLocks noChangeShapeType="1"/>
          </p:cNvSpPr>
          <p:nvPr/>
        </p:nvSpPr>
        <p:spPr bwMode="auto">
          <a:xfrm>
            <a:off x="2115198" y="3618310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9" name="Line 9">
            <a:extLst>
              <a:ext uri="{FF2B5EF4-FFF2-40B4-BE49-F238E27FC236}">
                <a16:creationId xmlns:a16="http://schemas.microsoft.com/office/drawing/2014/main" id="{6092DC92-E905-598E-C885-6FE6FB6DB405}"/>
              </a:ext>
            </a:extLst>
          </p:cNvPr>
          <p:cNvSpPr>
            <a:spLocks noChangeShapeType="1"/>
          </p:cNvSpPr>
          <p:nvPr/>
        </p:nvSpPr>
        <p:spPr bwMode="auto">
          <a:xfrm>
            <a:off x="2115198" y="4318397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F8635363-8472-BD93-DCD4-42F5A3ED40C0}"/>
              </a:ext>
            </a:extLst>
          </p:cNvPr>
          <p:cNvSpPr>
            <a:spLocks noChangeShapeType="1"/>
          </p:cNvSpPr>
          <p:nvPr/>
        </p:nvSpPr>
        <p:spPr bwMode="auto">
          <a:xfrm>
            <a:off x="2115198" y="3270647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" name="Line 11">
            <a:extLst>
              <a:ext uri="{FF2B5EF4-FFF2-40B4-BE49-F238E27FC236}">
                <a16:creationId xmlns:a16="http://schemas.microsoft.com/office/drawing/2014/main" id="{723DCBED-5810-791F-FEF9-DA7D479239F8}"/>
              </a:ext>
            </a:extLst>
          </p:cNvPr>
          <p:cNvSpPr>
            <a:spLocks noChangeShapeType="1"/>
          </p:cNvSpPr>
          <p:nvPr/>
        </p:nvSpPr>
        <p:spPr bwMode="auto">
          <a:xfrm>
            <a:off x="2115198" y="3969544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2" name="Line 12">
            <a:extLst>
              <a:ext uri="{FF2B5EF4-FFF2-40B4-BE49-F238E27FC236}">
                <a16:creationId xmlns:a16="http://schemas.microsoft.com/office/drawing/2014/main" id="{D94A2849-7BAF-8027-4913-6BEC55E94148}"/>
              </a:ext>
            </a:extLst>
          </p:cNvPr>
          <p:cNvSpPr>
            <a:spLocks noChangeShapeType="1"/>
          </p:cNvSpPr>
          <p:nvPr/>
        </p:nvSpPr>
        <p:spPr bwMode="auto">
          <a:xfrm>
            <a:off x="2115198" y="4667250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3" name="Line 13">
            <a:extLst>
              <a:ext uri="{FF2B5EF4-FFF2-40B4-BE49-F238E27FC236}">
                <a16:creationId xmlns:a16="http://schemas.microsoft.com/office/drawing/2014/main" id="{8ECE1AA3-3ED2-5EA2-3353-7215427A1708}"/>
              </a:ext>
            </a:extLst>
          </p:cNvPr>
          <p:cNvSpPr>
            <a:spLocks noChangeShapeType="1"/>
          </p:cNvSpPr>
          <p:nvPr/>
        </p:nvSpPr>
        <p:spPr bwMode="auto">
          <a:xfrm>
            <a:off x="2115198" y="2221706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2072025-9F9D-5A03-EBB1-2362F1B527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23559" y="3755233"/>
            <a:ext cx="546497" cy="912019"/>
          </a:xfrm>
          <a:prstGeom prst="rect">
            <a:avLst/>
          </a:prstGeom>
          <a:solidFill>
            <a:srgbClr val="0076A9">
              <a:alpha val="50000"/>
            </a:srgb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" name="Rectangle 15">
            <a:extLst>
              <a:ext uri="{FF2B5EF4-FFF2-40B4-BE49-F238E27FC236}">
                <a16:creationId xmlns:a16="http://schemas.microsoft.com/office/drawing/2014/main" id="{3D3A88A9-26D4-C948-C1C5-C956FAD454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0055" y="2513411"/>
            <a:ext cx="548879" cy="2153841"/>
          </a:xfrm>
          <a:prstGeom prst="rect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6" name="Rectangle 16">
            <a:extLst>
              <a:ext uri="{FF2B5EF4-FFF2-40B4-BE49-F238E27FC236}">
                <a16:creationId xmlns:a16="http://schemas.microsoft.com/office/drawing/2014/main" id="{533B3087-6D2F-2F10-BA97-7B950A7B6E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8958" y="3589735"/>
            <a:ext cx="547688" cy="1077516"/>
          </a:xfrm>
          <a:prstGeom prst="rect">
            <a:avLst/>
          </a:prstGeom>
          <a:solidFill>
            <a:srgbClr val="BFBFBF">
              <a:alpha val="50000"/>
            </a:srgb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7" name="Rectangle 17">
            <a:extLst>
              <a:ext uri="{FF2B5EF4-FFF2-40B4-BE49-F238E27FC236}">
                <a16:creationId xmlns:a16="http://schemas.microsoft.com/office/drawing/2014/main" id="{477ACDDC-560E-89DC-7A0B-3B4CB12BED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6646" y="3270647"/>
            <a:ext cx="548879" cy="1396604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2B37C84-0279-165D-A412-E7A7CFA61CF4}"/>
              </a:ext>
            </a:extLst>
          </p:cNvPr>
          <p:cNvSpPr txBox="1"/>
          <p:nvPr/>
        </p:nvSpPr>
        <p:spPr>
          <a:xfrm>
            <a:off x="1945811" y="2503693"/>
            <a:ext cx="128240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30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6D53F2-0B6E-1DC5-843F-1C912CA066ED}"/>
              </a:ext>
            </a:extLst>
          </p:cNvPr>
          <p:cNvSpPr txBox="1"/>
          <p:nvPr/>
        </p:nvSpPr>
        <p:spPr>
          <a:xfrm>
            <a:off x="1945811" y="2852546"/>
            <a:ext cx="128240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25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BD5A9AC-9BC4-80E5-D565-F9601DFBAA05}"/>
              </a:ext>
            </a:extLst>
          </p:cNvPr>
          <p:cNvSpPr txBox="1"/>
          <p:nvPr/>
        </p:nvSpPr>
        <p:spPr>
          <a:xfrm>
            <a:off x="1945811" y="2152458"/>
            <a:ext cx="128240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35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84003BB-5E85-5EA0-405A-04462F534754}"/>
              </a:ext>
            </a:extLst>
          </p:cNvPr>
          <p:cNvSpPr txBox="1"/>
          <p:nvPr/>
        </p:nvSpPr>
        <p:spPr>
          <a:xfrm>
            <a:off x="1945811" y="3201399"/>
            <a:ext cx="128240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20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522C024-3373-61A1-B4F6-A5DE379DAE68}"/>
              </a:ext>
            </a:extLst>
          </p:cNvPr>
          <p:cNvSpPr txBox="1"/>
          <p:nvPr/>
        </p:nvSpPr>
        <p:spPr>
          <a:xfrm>
            <a:off x="1945811" y="3549062"/>
            <a:ext cx="128240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5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25372C5-CC4C-733D-4974-086A598C212C}"/>
              </a:ext>
            </a:extLst>
          </p:cNvPr>
          <p:cNvSpPr txBox="1"/>
          <p:nvPr/>
        </p:nvSpPr>
        <p:spPr>
          <a:xfrm>
            <a:off x="1945811" y="3900296"/>
            <a:ext cx="128240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0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EBAB9D5-D867-EC7E-2B60-176FD754C8C2}"/>
              </a:ext>
            </a:extLst>
          </p:cNvPr>
          <p:cNvSpPr txBox="1"/>
          <p:nvPr/>
        </p:nvSpPr>
        <p:spPr>
          <a:xfrm>
            <a:off x="2009931" y="4249149"/>
            <a:ext cx="64120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5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6D78218-47A3-6E15-491F-F43EFE9336C9}"/>
              </a:ext>
            </a:extLst>
          </p:cNvPr>
          <p:cNvSpPr txBox="1"/>
          <p:nvPr/>
        </p:nvSpPr>
        <p:spPr>
          <a:xfrm>
            <a:off x="2009931" y="4598002"/>
            <a:ext cx="64120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0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7FB4CDD-E2DD-1869-7748-E66514E0B9CE}"/>
              </a:ext>
            </a:extLst>
          </p:cNvPr>
          <p:cNvSpPr txBox="1"/>
          <p:nvPr/>
        </p:nvSpPr>
        <p:spPr>
          <a:xfrm>
            <a:off x="2359563" y="4703363"/>
            <a:ext cx="474489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Baseline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7427FAD-90BB-663A-046F-F846060EC439}"/>
              </a:ext>
            </a:extLst>
          </p:cNvPr>
          <p:cNvSpPr txBox="1"/>
          <p:nvPr/>
        </p:nvSpPr>
        <p:spPr>
          <a:xfrm>
            <a:off x="2900837" y="4703363"/>
            <a:ext cx="487314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Week 24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CB405D9-769A-3F81-7FC7-E06B397F76E8}"/>
              </a:ext>
            </a:extLst>
          </p:cNvPr>
          <p:cNvSpPr txBox="1"/>
          <p:nvPr/>
        </p:nvSpPr>
        <p:spPr>
          <a:xfrm>
            <a:off x="2305385" y="4878677"/>
            <a:ext cx="1131720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 b="1" err="1">
                <a:solidFill>
                  <a:prstClr val="black"/>
                </a:solidFill>
                <a:latin typeface="Arial" panose="020B0604020202020204"/>
              </a:rPr>
              <a:t>Momelotinib</a:t>
            </a:r>
            <a:r>
              <a:rPr lang="en-GB" sz="900" b="1">
                <a:solidFill>
                  <a:prstClr val="black"/>
                </a:solidFill>
                <a:latin typeface="Arial" panose="020B0604020202020204"/>
              </a:rPr>
              <a:t> (N=130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69AA20F-880A-9BFB-8B54-A82D8CC4A5C6}"/>
              </a:ext>
            </a:extLst>
          </p:cNvPr>
          <p:cNvSpPr txBox="1"/>
          <p:nvPr/>
        </p:nvSpPr>
        <p:spPr>
          <a:xfrm>
            <a:off x="3655559" y="4703363"/>
            <a:ext cx="474489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Baseline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A7BF0AF-2F6B-21C8-7D4E-71BF70276500}"/>
              </a:ext>
            </a:extLst>
          </p:cNvPr>
          <p:cNvSpPr txBox="1"/>
          <p:nvPr/>
        </p:nvSpPr>
        <p:spPr>
          <a:xfrm>
            <a:off x="4197429" y="4703363"/>
            <a:ext cx="487314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Week 24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9BDD52C-7016-122B-0F90-2B63A5AFDBFF}"/>
              </a:ext>
            </a:extLst>
          </p:cNvPr>
          <p:cNvSpPr txBox="1"/>
          <p:nvPr/>
        </p:nvSpPr>
        <p:spPr>
          <a:xfrm>
            <a:off x="3752063" y="4878677"/>
            <a:ext cx="830357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 b="1">
                <a:solidFill>
                  <a:prstClr val="black"/>
                </a:solidFill>
                <a:latin typeface="Arial" panose="020B0604020202020204"/>
              </a:rPr>
              <a:t>Danazol (N=65)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F2699E1-538F-F66D-4C7A-D76F4723A552}"/>
              </a:ext>
            </a:extLst>
          </p:cNvPr>
          <p:cNvSpPr txBox="1"/>
          <p:nvPr/>
        </p:nvSpPr>
        <p:spPr>
          <a:xfrm>
            <a:off x="3783344" y="3400784"/>
            <a:ext cx="230833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5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2A6408E-9C18-7160-3638-3B1E0B4E843F}"/>
              </a:ext>
            </a:extLst>
          </p:cNvPr>
          <p:cNvSpPr txBox="1"/>
          <p:nvPr/>
        </p:nvSpPr>
        <p:spPr>
          <a:xfrm>
            <a:off x="4331627" y="3076899"/>
            <a:ext cx="230833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20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B8A228E-13BB-8D4F-3A37-1AA3BAF32E57}"/>
              </a:ext>
            </a:extLst>
          </p:cNvPr>
          <p:cNvSpPr txBox="1"/>
          <p:nvPr/>
        </p:nvSpPr>
        <p:spPr>
          <a:xfrm>
            <a:off x="3035035" y="2321783"/>
            <a:ext cx="230833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31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8F64A03-7022-84AF-819E-01909EDEE83C}"/>
              </a:ext>
            </a:extLst>
          </p:cNvPr>
          <p:cNvSpPr txBox="1"/>
          <p:nvPr/>
        </p:nvSpPr>
        <p:spPr>
          <a:xfrm>
            <a:off x="2471317" y="3568305"/>
            <a:ext cx="262892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3% 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3ED082E-AB18-FD66-2C04-D2C26A34F4F0}"/>
              </a:ext>
            </a:extLst>
          </p:cNvPr>
          <p:cNvSpPr txBox="1"/>
          <p:nvPr/>
        </p:nvSpPr>
        <p:spPr>
          <a:xfrm rot="16200000">
            <a:off x="568651" y="3375230"/>
            <a:ext cx="2445544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800"/>
            <a:r>
              <a:rPr lang="en-GB" sz="900" b="1">
                <a:solidFill>
                  <a:prstClr val="black"/>
                </a:solidFill>
                <a:latin typeface="Arial" panose="020B0604020202020204"/>
              </a:rPr>
              <a:t>Transfusion Independence Rate (%)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1267A5A7-A0F6-6A1F-D5DE-41AA5836560A}"/>
              </a:ext>
            </a:extLst>
          </p:cNvPr>
          <p:cNvSpPr>
            <a:spLocks/>
          </p:cNvSpPr>
          <p:nvPr/>
        </p:nvSpPr>
        <p:spPr bwMode="auto">
          <a:xfrm>
            <a:off x="2172349" y="2221707"/>
            <a:ext cx="2690813" cy="2445544"/>
          </a:xfrm>
          <a:custGeom>
            <a:avLst/>
            <a:gdLst>
              <a:gd name="T0" fmla="*/ 0 w 2260"/>
              <a:gd name="T1" fmla="*/ 0 h 2054"/>
              <a:gd name="T2" fmla="*/ 0 w 2260"/>
              <a:gd name="T3" fmla="*/ 2054 h 2054"/>
              <a:gd name="T4" fmla="*/ 2260 w 2260"/>
              <a:gd name="T5" fmla="*/ 2054 h 20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260" h="2054">
                <a:moveTo>
                  <a:pt x="0" y="0"/>
                </a:moveTo>
                <a:lnTo>
                  <a:pt x="0" y="2054"/>
                </a:lnTo>
                <a:lnTo>
                  <a:pt x="2260" y="2054"/>
                </a:lnTo>
              </a:path>
            </a:pathLst>
          </a:cu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3" name="Freeform 21">
            <a:extLst>
              <a:ext uri="{FF2B5EF4-FFF2-40B4-BE49-F238E27FC236}">
                <a16:creationId xmlns:a16="http://schemas.microsoft.com/office/drawing/2014/main" id="{1EBAFA94-17F4-3789-AF74-1A5FBA28BD78}"/>
              </a:ext>
            </a:extLst>
          </p:cNvPr>
          <p:cNvSpPr>
            <a:spLocks/>
          </p:cNvSpPr>
          <p:nvPr/>
        </p:nvSpPr>
        <p:spPr bwMode="auto">
          <a:xfrm>
            <a:off x="5800726" y="2220517"/>
            <a:ext cx="4526756" cy="1982390"/>
          </a:xfrm>
          <a:custGeom>
            <a:avLst/>
            <a:gdLst>
              <a:gd name="T0" fmla="*/ 0 w 3802"/>
              <a:gd name="T1" fmla="*/ 0 h 1665"/>
              <a:gd name="T2" fmla="*/ 0 w 3802"/>
              <a:gd name="T3" fmla="*/ 1665 h 1665"/>
              <a:gd name="T4" fmla="*/ 3802 w 3802"/>
              <a:gd name="T5" fmla="*/ 1665 h 16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802" h="1665">
                <a:moveTo>
                  <a:pt x="0" y="0"/>
                </a:moveTo>
                <a:lnTo>
                  <a:pt x="0" y="1665"/>
                </a:lnTo>
                <a:lnTo>
                  <a:pt x="3802" y="1665"/>
                </a:lnTo>
              </a:path>
            </a:pathLst>
          </a:custGeom>
          <a:noFill/>
          <a:ln w="12700" cap="sq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4" name="Line 22">
            <a:extLst>
              <a:ext uri="{FF2B5EF4-FFF2-40B4-BE49-F238E27FC236}">
                <a16:creationId xmlns:a16="http://schemas.microsoft.com/office/drawing/2014/main" id="{50C5DFAF-5537-E57A-B3FB-4A9033476EEC}"/>
              </a:ext>
            </a:extLst>
          </p:cNvPr>
          <p:cNvSpPr>
            <a:spLocks noChangeShapeType="1"/>
          </p:cNvSpPr>
          <p:nvPr/>
        </p:nvSpPr>
        <p:spPr bwMode="auto">
          <a:xfrm>
            <a:off x="5745956" y="2786063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5" name="Line 23">
            <a:extLst>
              <a:ext uri="{FF2B5EF4-FFF2-40B4-BE49-F238E27FC236}">
                <a16:creationId xmlns:a16="http://schemas.microsoft.com/office/drawing/2014/main" id="{A01FC89A-A95B-D4AE-509F-47AF26D15AA2}"/>
              </a:ext>
            </a:extLst>
          </p:cNvPr>
          <p:cNvSpPr>
            <a:spLocks noChangeShapeType="1"/>
          </p:cNvSpPr>
          <p:nvPr/>
        </p:nvSpPr>
        <p:spPr bwMode="auto">
          <a:xfrm>
            <a:off x="5745956" y="3353991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6" name="Line 24">
            <a:extLst>
              <a:ext uri="{FF2B5EF4-FFF2-40B4-BE49-F238E27FC236}">
                <a16:creationId xmlns:a16="http://schemas.microsoft.com/office/drawing/2014/main" id="{6E5F2069-C2C2-CE8C-B2F6-04006C6BDFDA}"/>
              </a:ext>
            </a:extLst>
          </p:cNvPr>
          <p:cNvSpPr>
            <a:spLocks noChangeShapeType="1"/>
          </p:cNvSpPr>
          <p:nvPr/>
        </p:nvSpPr>
        <p:spPr bwMode="auto">
          <a:xfrm>
            <a:off x="5745956" y="3921919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7" name="Line 25">
            <a:extLst>
              <a:ext uri="{FF2B5EF4-FFF2-40B4-BE49-F238E27FC236}">
                <a16:creationId xmlns:a16="http://schemas.microsoft.com/office/drawing/2014/main" id="{1D5CD1F3-5D53-9B9D-DD89-8646DCE1DA52}"/>
              </a:ext>
            </a:extLst>
          </p:cNvPr>
          <p:cNvSpPr>
            <a:spLocks noChangeShapeType="1"/>
          </p:cNvSpPr>
          <p:nvPr/>
        </p:nvSpPr>
        <p:spPr bwMode="auto">
          <a:xfrm>
            <a:off x="5745956" y="3637360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8" name="Line 26">
            <a:extLst>
              <a:ext uri="{FF2B5EF4-FFF2-40B4-BE49-F238E27FC236}">
                <a16:creationId xmlns:a16="http://schemas.microsoft.com/office/drawing/2014/main" id="{B9B25D60-88DC-C3FE-B1C5-1F984B3F98A0}"/>
              </a:ext>
            </a:extLst>
          </p:cNvPr>
          <p:cNvSpPr>
            <a:spLocks noChangeShapeType="1"/>
          </p:cNvSpPr>
          <p:nvPr/>
        </p:nvSpPr>
        <p:spPr bwMode="auto">
          <a:xfrm>
            <a:off x="5745956" y="3069431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9" name="Line 27">
            <a:extLst>
              <a:ext uri="{FF2B5EF4-FFF2-40B4-BE49-F238E27FC236}">
                <a16:creationId xmlns:a16="http://schemas.microsoft.com/office/drawing/2014/main" id="{BE55A111-C820-F19F-8EC6-D2B525B36E07}"/>
              </a:ext>
            </a:extLst>
          </p:cNvPr>
          <p:cNvSpPr>
            <a:spLocks noChangeShapeType="1"/>
          </p:cNvSpPr>
          <p:nvPr/>
        </p:nvSpPr>
        <p:spPr bwMode="auto">
          <a:xfrm>
            <a:off x="5745956" y="2503885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0" name="Line 28">
            <a:extLst>
              <a:ext uri="{FF2B5EF4-FFF2-40B4-BE49-F238E27FC236}">
                <a16:creationId xmlns:a16="http://schemas.microsoft.com/office/drawing/2014/main" id="{C7DCC32F-F97A-423C-1F9C-765676D817C0}"/>
              </a:ext>
            </a:extLst>
          </p:cNvPr>
          <p:cNvSpPr>
            <a:spLocks noChangeShapeType="1"/>
          </p:cNvSpPr>
          <p:nvPr/>
        </p:nvSpPr>
        <p:spPr bwMode="auto">
          <a:xfrm>
            <a:off x="5745956" y="4202906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1" name="Line 29">
            <a:extLst>
              <a:ext uri="{FF2B5EF4-FFF2-40B4-BE49-F238E27FC236}">
                <a16:creationId xmlns:a16="http://schemas.microsoft.com/office/drawing/2014/main" id="{2B13B11F-0EA7-AFD5-88F6-7B3859B612DB}"/>
              </a:ext>
            </a:extLst>
          </p:cNvPr>
          <p:cNvSpPr>
            <a:spLocks noChangeShapeType="1"/>
          </p:cNvSpPr>
          <p:nvPr/>
        </p:nvSpPr>
        <p:spPr bwMode="auto">
          <a:xfrm>
            <a:off x="5865019" y="4202906"/>
            <a:ext cx="0" cy="5400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2" name="Line 30">
            <a:extLst>
              <a:ext uri="{FF2B5EF4-FFF2-40B4-BE49-F238E27FC236}">
                <a16:creationId xmlns:a16="http://schemas.microsoft.com/office/drawing/2014/main" id="{473C63F4-750D-A031-8FEA-62F0A87FE4C0}"/>
              </a:ext>
            </a:extLst>
          </p:cNvPr>
          <p:cNvSpPr>
            <a:spLocks noChangeShapeType="1"/>
          </p:cNvSpPr>
          <p:nvPr/>
        </p:nvSpPr>
        <p:spPr bwMode="auto">
          <a:xfrm>
            <a:off x="6236494" y="4202906"/>
            <a:ext cx="0" cy="5400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3" name="Line 31">
            <a:extLst>
              <a:ext uri="{FF2B5EF4-FFF2-40B4-BE49-F238E27FC236}">
                <a16:creationId xmlns:a16="http://schemas.microsoft.com/office/drawing/2014/main" id="{6162DB8C-5E08-A6CE-691B-17732D8CFACD}"/>
              </a:ext>
            </a:extLst>
          </p:cNvPr>
          <p:cNvSpPr>
            <a:spLocks noChangeShapeType="1"/>
          </p:cNvSpPr>
          <p:nvPr/>
        </p:nvSpPr>
        <p:spPr bwMode="auto">
          <a:xfrm>
            <a:off x="6610350" y="4202906"/>
            <a:ext cx="0" cy="5400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4" name="Line 32">
            <a:extLst>
              <a:ext uri="{FF2B5EF4-FFF2-40B4-BE49-F238E27FC236}">
                <a16:creationId xmlns:a16="http://schemas.microsoft.com/office/drawing/2014/main" id="{863FD936-E0B5-7D45-2195-68C3CDD36B5A}"/>
              </a:ext>
            </a:extLst>
          </p:cNvPr>
          <p:cNvSpPr>
            <a:spLocks noChangeShapeType="1"/>
          </p:cNvSpPr>
          <p:nvPr/>
        </p:nvSpPr>
        <p:spPr bwMode="auto">
          <a:xfrm>
            <a:off x="6981825" y="4202906"/>
            <a:ext cx="0" cy="5400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5" name="Line 33">
            <a:extLst>
              <a:ext uri="{FF2B5EF4-FFF2-40B4-BE49-F238E27FC236}">
                <a16:creationId xmlns:a16="http://schemas.microsoft.com/office/drawing/2014/main" id="{4F7532AB-5277-1DBF-EFDE-893ECEC6BC7E}"/>
              </a:ext>
            </a:extLst>
          </p:cNvPr>
          <p:cNvSpPr>
            <a:spLocks noChangeShapeType="1"/>
          </p:cNvSpPr>
          <p:nvPr/>
        </p:nvSpPr>
        <p:spPr bwMode="auto">
          <a:xfrm>
            <a:off x="7352110" y="4202906"/>
            <a:ext cx="0" cy="5400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6" name="Line 34">
            <a:extLst>
              <a:ext uri="{FF2B5EF4-FFF2-40B4-BE49-F238E27FC236}">
                <a16:creationId xmlns:a16="http://schemas.microsoft.com/office/drawing/2014/main" id="{958E38C0-AE37-77DB-159B-7121E167A1D4}"/>
              </a:ext>
            </a:extLst>
          </p:cNvPr>
          <p:cNvSpPr>
            <a:spLocks noChangeShapeType="1"/>
          </p:cNvSpPr>
          <p:nvPr/>
        </p:nvSpPr>
        <p:spPr bwMode="auto">
          <a:xfrm>
            <a:off x="7723585" y="4202906"/>
            <a:ext cx="0" cy="5400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7" name="Line 35">
            <a:extLst>
              <a:ext uri="{FF2B5EF4-FFF2-40B4-BE49-F238E27FC236}">
                <a16:creationId xmlns:a16="http://schemas.microsoft.com/office/drawing/2014/main" id="{CAC324E1-456C-E00B-1153-307E438CBA6D}"/>
              </a:ext>
            </a:extLst>
          </p:cNvPr>
          <p:cNvSpPr>
            <a:spLocks noChangeShapeType="1"/>
          </p:cNvSpPr>
          <p:nvPr/>
        </p:nvSpPr>
        <p:spPr bwMode="auto">
          <a:xfrm>
            <a:off x="8097441" y="4202906"/>
            <a:ext cx="0" cy="5400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8" name="Line 36">
            <a:extLst>
              <a:ext uri="{FF2B5EF4-FFF2-40B4-BE49-F238E27FC236}">
                <a16:creationId xmlns:a16="http://schemas.microsoft.com/office/drawing/2014/main" id="{A82E0F66-C03F-769C-BA82-A78163BDB95B}"/>
              </a:ext>
            </a:extLst>
          </p:cNvPr>
          <p:cNvSpPr>
            <a:spLocks noChangeShapeType="1"/>
          </p:cNvSpPr>
          <p:nvPr/>
        </p:nvSpPr>
        <p:spPr bwMode="auto">
          <a:xfrm>
            <a:off x="8468916" y="4202906"/>
            <a:ext cx="0" cy="5400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9" name="Line 37">
            <a:extLst>
              <a:ext uri="{FF2B5EF4-FFF2-40B4-BE49-F238E27FC236}">
                <a16:creationId xmlns:a16="http://schemas.microsoft.com/office/drawing/2014/main" id="{5F3B47E7-C946-5556-7BAE-083AC4EBA92F}"/>
              </a:ext>
            </a:extLst>
          </p:cNvPr>
          <p:cNvSpPr>
            <a:spLocks noChangeShapeType="1"/>
          </p:cNvSpPr>
          <p:nvPr/>
        </p:nvSpPr>
        <p:spPr bwMode="auto">
          <a:xfrm>
            <a:off x="8840391" y="4202906"/>
            <a:ext cx="0" cy="5400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0" name="Line 38">
            <a:extLst>
              <a:ext uri="{FF2B5EF4-FFF2-40B4-BE49-F238E27FC236}">
                <a16:creationId xmlns:a16="http://schemas.microsoft.com/office/drawing/2014/main" id="{D36679D8-F068-C9E2-C901-D3EBA253D0D9}"/>
              </a:ext>
            </a:extLst>
          </p:cNvPr>
          <p:cNvSpPr>
            <a:spLocks noChangeShapeType="1"/>
          </p:cNvSpPr>
          <p:nvPr/>
        </p:nvSpPr>
        <p:spPr bwMode="auto">
          <a:xfrm>
            <a:off x="9211866" y="4202906"/>
            <a:ext cx="0" cy="5400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1" name="Line 39">
            <a:extLst>
              <a:ext uri="{FF2B5EF4-FFF2-40B4-BE49-F238E27FC236}">
                <a16:creationId xmlns:a16="http://schemas.microsoft.com/office/drawing/2014/main" id="{8F63D1D0-1DCA-BF80-6DCF-554EAEF06C08}"/>
              </a:ext>
            </a:extLst>
          </p:cNvPr>
          <p:cNvSpPr>
            <a:spLocks noChangeShapeType="1"/>
          </p:cNvSpPr>
          <p:nvPr/>
        </p:nvSpPr>
        <p:spPr bwMode="auto">
          <a:xfrm>
            <a:off x="9584531" y="4202906"/>
            <a:ext cx="0" cy="5400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2" name="Line 40">
            <a:extLst>
              <a:ext uri="{FF2B5EF4-FFF2-40B4-BE49-F238E27FC236}">
                <a16:creationId xmlns:a16="http://schemas.microsoft.com/office/drawing/2014/main" id="{10AC0CC1-D7B9-ED0A-6EB8-3D7ECC907970}"/>
              </a:ext>
            </a:extLst>
          </p:cNvPr>
          <p:cNvSpPr>
            <a:spLocks noChangeShapeType="1"/>
          </p:cNvSpPr>
          <p:nvPr/>
        </p:nvSpPr>
        <p:spPr bwMode="auto">
          <a:xfrm>
            <a:off x="9956006" y="4202906"/>
            <a:ext cx="0" cy="5400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3" name="Line 41">
            <a:extLst>
              <a:ext uri="{FF2B5EF4-FFF2-40B4-BE49-F238E27FC236}">
                <a16:creationId xmlns:a16="http://schemas.microsoft.com/office/drawing/2014/main" id="{C506025D-5389-8AC2-479E-C79BFECF99C7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27481" y="4202906"/>
            <a:ext cx="0" cy="5400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4" name="Line 42">
            <a:extLst>
              <a:ext uri="{FF2B5EF4-FFF2-40B4-BE49-F238E27FC236}">
                <a16:creationId xmlns:a16="http://schemas.microsoft.com/office/drawing/2014/main" id="{65A5DB4D-1D3F-C9DD-8ADE-9A6E697728AE}"/>
              </a:ext>
            </a:extLst>
          </p:cNvPr>
          <p:cNvSpPr>
            <a:spLocks noChangeShapeType="1"/>
          </p:cNvSpPr>
          <p:nvPr/>
        </p:nvSpPr>
        <p:spPr bwMode="auto">
          <a:xfrm>
            <a:off x="5745956" y="2220516"/>
            <a:ext cx="54000" cy="0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5" name="Oval 43">
            <a:extLst>
              <a:ext uri="{FF2B5EF4-FFF2-40B4-BE49-F238E27FC236}">
                <a16:creationId xmlns:a16="http://schemas.microsoft.com/office/drawing/2014/main" id="{BF9949B5-49E8-FEA6-52EA-4EFB692071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34063" y="3856436"/>
            <a:ext cx="61913" cy="63103"/>
          </a:xfrm>
          <a:prstGeom prst="ellipse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6" name="Oval 44">
            <a:extLst>
              <a:ext uri="{FF2B5EF4-FFF2-40B4-BE49-F238E27FC236}">
                <a16:creationId xmlns:a16="http://schemas.microsoft.com/office/drawing/2014/main" id="{8BB74405-B75D-96F2-DE9A-C250AE347D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420" y="3019426"/>
            <a:ext cx="61913" cy="61913"/>
          </a:xfrm>
          <a:prstGeom prst="ellipse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7" name="Oval 45">
            <a:extLst>
              <a:ext uri="{FF2B5EF4-FFF2-40B4-BE49-F238E27FC236}">
                <a16:creationId xmlns:a16="http://schemas.microsoft.com/office/drawing/2014/main" id="{51220744-AD1B-575C-183A-980D3A8924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5539" y="3159919"/>
            <a:ext cx="59531" cy="60722"/>
          </a:xfrm>
          <a:prstGeom prst="ellipse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8" name="Oval 46">
            <a:extLst>
              <a:ext uri="{FF2B5EF4-FFF2-40B4-BE49-F238E27FC236}">
                <a16:creationId xmlns:a16="http://schemas.microsoft.com/office/drawing/2014/main" id="{718FBE6D-A548-A3BD-EAC9-C2761FA2D5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9395" y="3225404"/>
            <a:ext cx="59531" cy="61913"/>
          </a:xfrm>
          <a:prstGeom prst="ellipse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79" name="Oval 47">
            <a:extLst>
              <a:ext uri="{FF2B5EF4-FFF2-40B4-BE49-F238E27FC236}">
                <a16:creationId xmlns:a16="http://schemas.microsoft.com/office/drawing/2014/main" id="{D373E112-C906-CB9A-71A3-7028A40837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0870" y="3167062"/>
            <a:ext cx="59531" cy="60722"/>
          </a:xfrm>
          <a:prstGeom prst="ellipse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0" name="Oval 48">
            <a:extLst>
              <a:ext uri="{FF2B5EF4-FFF2-40B4-BE49-F238E27FC236}">
                <a16:creationId xmlns:a16="http://schemas.microsoft.com/office/drawing/2014/main" id="{374DE346-AEDA-4D1F-BA78-4C7FB686ED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8773" y="3119439"/>
            <a:ext cx="61913" cy="59531"/>
          </a:xfrm>
          <a:prstGeom prst="ellipse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1" name="Oval 49">
            <a:extLst>
              <a:ext uri="{FF2B5EF4-FFF2-40B4-BE49-F238E27FC236}">
                <a16:creationId xmlns:a16="http://schemas.microsoft.com/office/drawing/2014/main" id="{36E76442-2318-9FF7-9DB0-6564CB376B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2629" y="3121820"/>
            <a:ext cx="61913" cy="61913"/>
          </a:xfrm>
          <a:prstGeom prst="ellipse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2" name="Oval 50">
            <a:extLst>
              <a:ext uri="{FF2B5EF4-FFF2-40B4-BE49-F238E27FC236}">
                <a16:creationId xmlns:a16="http://schemas.microsoft.com/office/drawing/2014/main" id="{F5848BCA-8BA4-6356-3977-29D6BA4204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6486" y="3112295"/>
            <a:ext cx="61913" cy="61913"/>
          </a:xfrm>
          <a:prstGeom prst="ellipse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3" name="Oval 51">
            <a:extLst>
              <a:ext uri="{FF2B5EF4-FFF2-40B4-BE49-F238E27FC236}">
                <a16:creationId xmlns:a16="http://schemas.microsoft.com/office/drawing/2014/main" id="{C0B008D9-4DF8-6D02-5A56-67FAC287EC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37961" y="3181350"/>
            <a:ext cx="59531" cy="60722"/>
          </a:xfrm>
          <a:prstGeom prst="ellipse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4" name="Oval 52">
            <a:extLst>
              <a:ext uri="{FF2B5EF4-FFF2-40B4-BE49-F238E27FC236}">
                <a16:creationId xmlns:a16="http://schemas.microsoft.com/office/drawing/2014/main" id="{7DD92406-F531-B3C1-93B0-C4C93C8672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1818" y="3126583"/>
            <a:ext cx="59531" cy="59531"/>
          </a:xfrm>
          <a:prstGeom prst="ellipse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5" name="Oval 53">
            <a:extLst>
              <a:ext uri="{FF2B5EF4-FFF2-40B4-BE49-F238E27FC236}">
                <a16:creationId xmlns:a16="http://schemas.microsoft.com/office/drawing/2014/main" id="{565061BB-65D6-9DF5-7C89-4C7A384DE6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911" y="3126583"/>
            <a:ext cx="61913" cy="59531"/>
          </a:xfrm>
          <a:prstGeom prst="ellipse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6" name="Oval 54">
            <a:extLst>
              <a:ext uri="{FF2B5EF4-FFF2-40B4-BE49-F238E27FC236}">
                <a16:creationId xmlns:a16="http://schemas.microsoft.com/office/drawing/2014/main" id="{EF025D91-81F6-8B82-BFED-CA02EB740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53576" y="3152776"/>
            <a:ext cx="61913" cy="63103"/>
          </a:xfrm>
          <a:prstGeom prst="ellipse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7" name="Oval 55">
            <a:extLst>
              <a:ext uri="{FF2B5EF4-FFF2-40B4-BE49-F238E27FC236}">
                <a16:creationId xmlns:a16="http://schemas.microsoft.com/office/drawing/2014/main" id="{A68E7A1C-54B7-FE30-C865-04F2A57382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5051" y="3162300"/>
            <a:ext cx="61913" cy="60722"/>
          </a:xfrm>
          <a:prstGeom prst="ellipse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8" name="Oval 56">
            <a:extLst>
              <a:ext uri="{FF2B5EF4-FFF2-40B4-BE49-F238E27FC236}">
                <a16:creationId xmlns:a16="http://schemas.microsoft.com/office/drawing/2014/main" id="{424247E0-6135-0371-F59B-AF04AFE57C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96526" y="3040858"/>
            <a:ext cx="61913" cy="59531"/>
          </a:xfrm>
          <a:prstGeom prst="ellipse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89" name="Freeform 57">
            <a:extLst>
              <a:ext uri="{FF2B5EF4-FFF2-40B4-BE49-F238E27FC236}">
                <a16:creationId xmlns:a16="http://schemas.microsoft.com/office/drawing/2014/main" id="{955E4BBC-CD72-9EBF-AE3A-690F5CB68B6D}"/>
              </a:ext>
            </a:extLst>
          </p:cNvPr>
          <p:cNvSpPr>
            <a:spLocks/>
          </p:cNvSpPr>
          <p:nvPr/>
        </p:nvSpPr>
        <p:spPr bwMode="auto">
          <a:xfrm>
            <a:off x="5865020" y="3050382"/>
            <a:ext cx="4462463" cy="837009"/>
          </a:xfrm>
          <a:custGeom>
            <a:avLst/>
            <a:gdLst>
              <a:gd name="T0" fmla="*/ 0 w 3748"/>
              <a:gd name="T1" fmla="*/ 703 h 703"/>
              <a:gd name="T2" fmla="*/ 154 w 3748"/>
              <a:gd name="T3" fmla="*/ 0 h 703"/>
              <a:gd name="T4" fmla="*/ 312 w 3748"/>
              <a:gd name="T5" fmla="*/ 116 h 703"/>
              <a:gd name="T6" fmla="*/ 626 w 3748"/>
              <a:gd name="T7" fmla="*/ 173 h 703"/>
              <a:gd name="T8" fmla="*/ 938 w 3748"/>
              <a:gd name="T9" fmla="*/ 122 h 703"/>
              <a:gd name="T10" fmla="*/ 1247 w 3748"/>
              <a:gd name="T11" fmla="*/ 82 h 703"/>
              <a:gd name="T12" fmla="*/ 1561 w 3748"/>
              <a:gd name="T13" fmla="*/ 86 h 703"/>
              <a:gd name="T14" fmla="*/ 1875 w 3748"/>
              <a:gd name="T15" fmla="*/ 78 h 703"/>
              <a:gd name="T16" fmla="*/ 2185 w 3748"/>
              <a:gd name="T17" fmla="*/ 137 h 703"/>
              <a:gd name="T18" fmla="*/ 2501 w 3748"/>
              <a:gd name="T19" fmla="*/ 90 h 703"/>
              <a:gd name="T20" fmla="*/ 2811 w 3748"/>
              <a:gd name="T21" fmla="*/ 90 h 703"/>
              <a:gd name="T22" fmla="*/ 3124 w 3748"/>
              <a:gd name="T23" fmla="*/ 112 h 703"/>
              <a:gd name="T24" fmla="*/ 3436 w 3748"/>
              <a:gd name="T25" fmla="*/ 120 h 703"/>
              <a:gd name="T26" fmla="*/ 3748 w 3748"/>
              <a:gd name="T27" fmla="*/ 18 h 7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48" h="703">
                <a:moveTo>
                  <a:pt x="0" y="703"/>
                </a:moveTo>
                <a:lnTo>
                  <a:pt x="154" y="0"/>
                </a:lnTo>
                <a:lnTo>
                  <a:pt x="312" y="116"/>
                </a:lnTo>
                <a:lnTo>
                  <a:pt x="626" y="173"/>
                </a:lnTo>
                <a:lnTo>
                  <a:pt x="938" y="122"/>
                </a:lnTo>
                <a:lnTo>
                  <a:pt x="1247" y="82"/>
                </a:lnTo>
                <a:lnTo>
                  <a:pt x="1561" y="86"/>
                </a:lnTo>
                <a:lnTo>
                  <a:pt x="1875" y="78"/>
                </a:lnTo>
                <a:lnTo>
                  <a:pt x="2185" y="137"/>
                </a:lnTo>
                <a:lnTo>
                  <a:pt x="2501" y="90"/>
                </a:lnTo>
                <a:lnTo>
                  <a:pt x="2811" y="90"/>
                </a:lnTo>
                <a:lnTo>
                  <a:pt x="3124" y="112"/>
                </a:lnTo>
                <a:lnTo>
                  <a:pt x="3436" y="120"/>
                </a:lnTo>
                <a:lnTo>
                  <a:pt x="3748" y="18"/>
                </a:lnTo>
              </a:path>
            </a:pathLst>
          </a:cu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0" name="Line 58">
            <a:extLst>
              <a:ext uri="{FF2B5EF4-FFF2-40B4-BE49-F238E27FC236}">
                <a16:creationId xmlns:a16="http://schemas.microsoft.com/office/drawing/2014/main" id="{D973247A-16FB-C315-0F8F-FC8BAFFD767B}"/>
              </a:ext>
            </a:extLst>
          </p:cNvPr>
          <p:cNvSpPr>
            <a:spLocks noChangeShapeType="1"/>
          </p:cNvSpPr>
          <p:nvPr/>
        </p:nvSpPr>
        <p:spPr bwMode="auto">
          <a:xfrm>
            <a:off x="6017420" y="2976563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1" name="Line 59">
            <a:extLst>
              <a:ext uri="{FF2B5EF4-FFF2-40B4-BE49-F238E27FC236}">
                <a16:creationId xmlns:a16="http://schemas.microsoft.com/office/drawing/2014/main" id="{35A1F763-6C43-4818-561F-D2BA9656ACF1}"/>
              </a:ext>
            </a:extLst>
          </p:cNvPr>
          <p:cNvSpPr>
            <a:spLocks noChangeShapeType="1"/>
          </p:cNvSpPr>
          <p:nvPr/>
        </p:nvSpPr>
        <p:spPr bwMode="auto">
          <a:xfrm>
            <a:off x="6017420" y="3119438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2" name="Line 60">
            <a:extLst>
              <a:ext uri="{FF2B5EF4-FFF2-40B4-BE49-F238E27FC236}">
                <a16:creationId xmlns:a16="http://schemas.microsoft.com/office/drawing/2014/main" id="{A8A355A8-E160-94F1-9322-C8BE27A87ADC}"/>
              </a:ext>
            </a:extLst>
          </p:cNvPr>
          <p:cNvSpPr>
            <a:spLocks noChangeShapeType="1"/>
          </p:cNvSpPr>
          <p:nvPr/>
        </p:nvSpPr>
        <p:spPr bwMode="auto">
          <a:xfrm>
            <a:off x="6048375" y="2976564"/>
            <a:ext cx="0" cy="142875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3" name="Line 61">
            <a:extLst>
              <a:ext uri="{FF2B5EF4-FFF2-40B4-BE49-F238E27FC236}">
                <a16:creationId xmlns:a16="http://schemas.microsoft.com/office/drawing/2014/main" id="{3F05A7E7-5B6A-CA83-F7EB-4FA2E717A63D}"/>
              </a:ext>
            </a:extLst>
          </p:cNvPr>
          <p:cNvSpPr>
            <a:spLocks noChangeShapeType="1"/>
          </p:cNvSpPr>
          <p:nvPr/>
        </p:nvSpPr>
        <p:spPr bwMode="auto">
          <a:xfrm>
            <a:off x="5834063" y="3827860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4" name="Line 62">
            <a:extLst>
              <a:ext uri="{FF2B5EF4-FFF2-40B4-BE49-F238E27FC236}">
                <a16:creationId xmlns:a16="http://schemas.microsoft.com/office/drawing/2014/main" id="{E8F689A3-BA76-3009-2347-DD5BD13E21C1}"/>
              </a:ext>
            </a:extLst>
          </p:cNvPr>
          <p:cNvSpPr>
            <a:spLocks noChangeShapeType="1"/>
          </p:cNvSpPr>
          <p:nvPr/>
        </p:nvSpPr>
        <p:spPr bwMode="auto">
          <a:xfrm>
            <a:off x="5865019" y="3827860"/>
            <a:ext cx="0" cy="7620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5" name="Line 63">
            <a:extLst>
              <a:ext uri="{FF2B5EF4-FFF2-40B4-BE49-F238E27FC236}">
                <a16:creationId xmlns:a16="http://schemas.microsoft.com/office/drawing/2014/main" id="{B74BA513-BD5F-73EA-EA25-D372EAACEB30}"/>
              </a:ext>
            </a:extLst>
          </p:cNvPr>
          <p:cNvSpPr>
            <a:spLocks noChangeShapeType="1"/>
          </p:cNvSpPr>
          <p:nvPr/>
        </p:nvSpPr>
        <p:spPr bwMode="auto">
          <a:xfrm>
            <a:off x="6205539" y="3109913"/>
            <a:ext cx="59531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6" name="Line 64">
            <a:extLst>
              <a:ext uri="{FF2B5EF4-FFF2-40B4-BE49-F238E27FC236}">
                <a16:creationId xmlns:a16="http://schemas.microsoft.com/office/drawing/2014/main" id="{2A94F753-F09D-23D7-D61C-4090EA8E5611}"/>
              </a:ext>
            </a:extLst>
          </p:cNvPr>
          <p:cNvSpPr>
            <a:spLocks noChangeShapeType="1"/>
          </p:cNvSpPr>
          <p:nvPr/>
        </p:nvSpPr>
        <p:spPr bwMode="auto">
          <a:xfrm>
            <a:off x="6205539" y="3263504"/>
            <a:ext cx="59531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7" name="Line 65">
            <a:extLst>
              <a:ext uri="{FF2B5EF4-FFF2-40B4-BE49-F238E27FC236}">
                <a16:creationId xmlns:a16="http://schemas.microsoft.com/office/drawing/2014/main" id="{EB5995DA-BAD0-B77B-86CC-CF8CF7F1F2BB}"/>
              </a:ext>
            </a:extLst>
          </p:cNvPr>
          <p:cNvSpPr>
            <a:spLocks noChangeShapeType="1"/>
          </p:cNvSpPr>
          <p:nvPr/>
        </p:nvSpPr>
        <p:spPr bwMode="auto">
          <a:xfrm>
            <a:off x="6236494" y="3109913"/>
            <a:ext cx="0" cy="15359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8" name="Line 66">
            <a:extLst>
              <a:ext uri="{FF2B5EF4-FFF2-40B4-BE49-F238E27FC236}">
                <a16:creationId xmlns:a16="http://schemas.microsoft.com/office/drawing/2014/main" id="{7B06A3F4-1461-0541-0875-A97C24CA5E82}"/>
              </a:ext>
            </a:extLst>
          </p:cNvPr>
          <p:cNvSpPr>
            <a:spLocks noChangeShapeType="1"/>
          </p:cNvSpPr>
          <p:nvPr/>
        </p:nvSpPr>
        <p:spPr bwMode="auto">
          <a:xfrm>
            <a:off x="6579395" y="3171825"/>
            <a:ext cx="59531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9" name="Line 67">
            <a:extLst>
              <a:ext uri="{FF2B5EF4-FFF2-40B4-BE49-F238E27FC236}">
                <a16:creationId xmlns:a16="http://schemas.microsoft.com/office/drawing/2014/main" id="{1999C409-5B59-D7E8-2734-5BE2B80DF007}"/>
              </a:ext>
            </a:extLst>
          </p:cNvPr>
          <p:cNvSpPr>
            <a:spLocks noChangeShapeType="1"/>
          </p:cNvSpPr>
          <p:nvPr/>
        </p:nvSpPr>
        <p:spPr bwMode="auto">
          <a:xfrm>
            <a:off x="6579395" y="3339704"/>
            <a:ext cx="59531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0" name="Line 68">
            <a:extLst>
              <a:ext uri="{FF2B5EF4-FFF2-40B4-BE49-F238E27FC236}">
                <a16:creationId xmlns:a16="http://schemas.microsoft.com/office/drawing/2014/main" id="{46D75008-A4DA-D889-1263-8A850CDF7A5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10350" y="3171825"/>
            <a:ext cx="0" cy="167878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1" name="Line 69">
            <a:extLst>
              <a:ext uri="{FF2B5EF4-FFF2-40B4-BE49-F238E27FC236}">
                <a16:creationId xmlns:a16="http://schemas.microsoft.com/office/drawing/2014/main" id="{86CBAF06-E1DE-9A27-2B0F-ACD68631CF14}"/>
              </a:ext>
            </a:extLst>
          </p:cNvPr>
          <p:cNvSpPr>
            <a:spLocks noChangeShapeType="1"/>
          </p:cNvSpPr>
          <p:nvPr/>
        </p:nvSpPr>
        <p:spPr bwMode="auto">
          <a:xfrm>
            <a:off x="6950870" y="3102769"/>
            <a:ext cx="59531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2" name="Line 70">
            <a:extLst>
              <a:ext uri="{FF2B5EF4-FFF2-40B4-BE49-F238E27FC236}">
                <a16:creationId xmlns:a16="http://schemas.microsoft.com/office/drawing/2014/main" id="{C3CB5C13-2961-1A3D-ECAE-97DE30290F9E}"/>
              </a:ext>
            </a:extLst>
          </p:cNvPr>
          <p:cNvSpPr>
            <a:spLocks noChangeShapeType="1"/>
          </p:cNvSpPr>
          <p:nvPr/>
        </p:nvSpPr>
        <p:spPr bwMode="auto">
          <a:xfrm>
            <a:off x="6950870" y="3292079"/>
            <a:ext cx="59531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3" name="Line 71">
            <a:extLst>
              <a:ext uri="{FF2B5EF4-FFF2-40B4-BE49-F238E27FC236}">
                <a16:creationId xmlns:a16="http://schemas.microsoft.com/office/drawing/2014/main" id="{6F12DB82-5AC8-3F57-C379-23880AC33074}"/>
              </a:ext>
            </a:extLst>
          </p:cNvPr>
          <p:cNvSpPr>
            <a:spLocks noChangeShapeType="1"/>
          </p:cNvSpPr>
          <p:nvPr/>
        </p:nvSpPr>
        <p:spPr bwMode="auto">
          <a:xfrm>
            <a:off x="6981825" y="3102770"/>
            <a:ext cx="0" cy="189309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4" name="Line 72">
            <a:extLst>
              <a:ext uri="{FF2B5EF4-FFF2-40B4-BE49-F238E27FC236}">
                <a16:creationId xmlns:a16="http://schemas.microsoft.com/office/drawing/2014/main" id="{8FF500D8-BC80-C357-6640-F51836B12BB8}"/>
              </a:ext>
            </a:extLst>
          </p:cNvPr>
          <p:cNvSpPr>
            <a:spLocks noChangeShapeType="1"/>
          </p:cNvSpPr>
          <p:nvPr/>
        </p:nvSpPr>
        <p:spPr bwMode="auto">
          <a:xfrm>
            <a:off x="7318773" y="3048000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5" name="Line 73">
            <a:extLst>
              <a:ext uri="{FF2B5EF4-FFF2-40B4-BE49-F238E27FC236}">
                <a16:creationId xmlns:a16="http://schemas.microsoft.com/office/drawing/2014/main" id="{69DA7968-0150-9DCD-809D-B71C11788A73}"/>
              </a:ext>
            </a:extLst>
          </p:cNvPr>
          <p:cNvSpPr>
            <a:spLocks noChangeShapeType="1"/>
          </p:cNvSpPr>
          <p:nvPr/>
        </p:nvSpPr>
        <p:spPr bwMode="auto">
          <a:xfrm>
            <a:off x="7318773" y="3251597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6" name="Line 74">
            <a:extLst>
              <a:ext uri="{FF2B5EF4-FFF2-40B4-BE49-F238E27FC236}">
                <a16:creationId xmlns:a16="http://schemas.microsoft.com/office/drawing/2014/main" id="{198C9114-9F44-5233-C93D-A544D64B9222}"/>
              </a:ext>
            </a:extLst>
          </p:cNvPr>
          <p:cNvSpPr>
            <a:spLocks noChangeShapeType="1"/>
          </p:cNvSpPr>
          <p:nvPr/>
        </p:nvSpPr>
        <p:spPr bwMode="auto">
          <a:xfrm>
            <a:off x="7349729" y="3048001"/>
            <a:ext cx="0" cy="203597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7" name="Line 75">
            <a:extLst>
              <a:ext uri="{FF2B5EF4-FFF2-40B4-BE49-F238E27FC236}">
                <a16:creationId xmlns:a16="http://schemas.microsoft.com/office/drawing/2014/main" id="{8E7677FD-897A-409C-8A16-54C31BCE142E}"/>
              </a:ext>
            </a:extLst>
          </p:cNvPr>
          <p:cNvSpPr>
            <a:spLocks noChangeShapeType="1"/>
          </p:cNvSpPr>
          <p:nvPr/>
        </p:nvSpPr>
        <p:spPr bwMode="auto">
          <a:xfrm>
            <a:off x="7692629" y="3074194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8" name="Line 76">
            <a:extLst>
              <a:ext uri="{FF2B5EF4-FFF2-40B4-BE49-F238E27FC236}">
                <a16:creationId xmlns:a16="http://schemas.microsoft.com/office/drawing/2014/main" id="{367655A8-FDB2-27BF-34A6-3F40F851969C}"/>
              </a:ext>
            </a:extLst>
          </p:cNvPr>
          <p:cNvSpPr>
            <a:spLocks noChangeShapeType="1"/>
          </p:cNvSpPr>
          <p:nvPr/>
        </p:nvSpPr>
        <p:spPr bwMode="auto">
          <a:xfrm>
            <a:off x="7692629" y="3230166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9" name="Line 77">
            <a:extLst>
              <a:ext uri="{FF2B5EF4-FFF2-40B4-BE49-F238E27FC236}">
                <a16:creationId xmlns:a16="http://schemas.microsoft.com/office/drawing/2014/main" id="{36253FB4-EE4B-1711-254D-B88AF507FA7F}"/>
              </a:ext>
            </a:extLst>
          </p:cNvPr>
          <p:cNvSpPr>
            <a:spLocks noChangeShapeType="1"/>
          </p:cNvSpPr>
          <p:nvPr/>
        </p:nvSpPr>
        <p:spPr bwMode="auto">
          <a:xfrm>
            <a:off x="7723585" y="3074194"/>
            <a:ext cx="0" cy="155972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0" name="Line 78">
            <a:extLst>
              <a:ext uri="{FF2B5EF4-FFF2-40B4-BE49-F238E27FC236}">
                <a16:creationId xmlns:a16="http://schemas.microsoft.com/office/drawing/2014/main" id="{7D120A60-7708-555D-E37A-13880AC6EE06}"/>
              </a:ext>
            </a:extLst>
          </p:cNvPr>
          <p:cNvSpPr>
            <a:spLocks noChangeShapeType="1"/>
          </p:cNvSpPr>
          <p:nvPr/>
        </p:nvSpPr>
        <p:spPr bwMode="auto">
          <a:xfrm>
            <a:off x="8066486" y="3050381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1" name="Line 79">
            <a:extLst>
              <a:ext uri="{FF2B5EF4-FFF2-40B4-BE49-F238E27FC236}">
                <a16:creationId xmlns:a16="http://schemas.microsoft.com/office/drawing/2014/main" id="{42A1E416-4369-D5AC-73D4-46B24CA90023}"/>
              </a:ext>
            </a:extLst>
          </p:cNvPr>
          <p:cNvSpPr>
            <a:spLocks noChangeShapeType="1"/>
          </p:cNvSpPr>
          <p:nvPr/>
        </p:nvSpPr>
        <p:spPr bwMode="auto">
          <a:xfrm>
            <a:off x="8066486" y="3230166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2" name="Line 80">
            <a:extLst>
              <a:ext uri="{FF2B5EF4-FFF2-40B4-BE49-F238E27FC236}">
                <a16:creationId xmlns:a16="http://schemas.microsoft.com/office/drawing/2014/main" id="{C9245173-7BDC-7A90-1D40-0F2D4511AAD5}"/>
              </a:ext>
            </a:extLst>
          </p:cNvPr>
          <p:cNvSpPr>
            <a:spLocks noChangeShapeType="1"/>
          </p:cNvSpPr>
          <p:nvPr/>
        </p:nvSpPr>
        <p:spPr bwMode="auto">
          <a:xfrm>
            <a:off x="8097441" y="3050381"/>
            <a:ext cx="0" cy="179784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3" name="Line 81">
            <a:extLst>
              <a:ext uri="{FF2B5EF4-FFF2-40B4-BE49-F238E27FC236}">
                <a16:creationId xmlns:a16="http://schemas.microsoft.com/office/drawing/2014/main" id="{5C457FF9-64E9-021E-4F10-1D2F22EB9E88}"/>
              </a:ext>
            </a:extLst>
          </p:cNvPr>
          <p:cNvSpPr>
            <a:spLocks noChangeShapeType="1"/>
          </p:cNvSpPr>
          <p:nvPr/>
        </p:nvSpPr>
        <p:spPr bwMode="auto">
          <a:xfrm>
            <a:off x="8437961" y="3112294"/>
            <a:ext cx="59531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4" name="Line 82">
            <a:extLst>
              <a:ext uri="{FF2B5EF4-FFF2-40B4-BE49-F238E27FC236}">
                <a16:creationId xmlns:a16="http://schemas.microsoft.com/office/drawing/2014/main" id="{12CCF8A1-DE05-2E8D-4DDE-E0FEDBAE9B60}"/>
              </a:ext>
            </a:extLst>
          </p:cNvPr>
          <p:cNvSpPr>
            <a:spLocks noChangeShapeType="1"/>
          </p:cNvSpPr>
          <p:nvPr/>
        </p:nvSpPr>
        <p:spPr bwMode="auto">
          <a:xfrm>
            <a:off x="8437961" y="3313510"/>
            <a:ext cx="59531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5" name="Line 83">
            <a:extLst>
              <a:ext uri="{FF2B5EF4-FFF2-40B4-BE49-F238E27FC236}">
                <a16:creationId xmlns:a16="http://schemas.microsoft.com/office/drawing/2014/main" id="{30B7A193-5937-5B1A-EBD7-884BFDA12573}"/>
              </a:ext>
            </a:extLst>
          </p:cNvPr>
          <p:cNvSpPr>
            <a:spLocks noChangeShapeType="1"/>
          </p:cNvSpPr>
          <p:nvPr/>
        </p:nvSpPr>
        <p:spPr bwMode="auto">
          <a:xfrm>
            <a:off x="8466535" y="3112295"/>
            <a:ext cx="0" cy="201215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6" name="Line 84">
            <a:extLst>
              <a:ext uri="{FF2B5EF4-FFF2-40B4-BE49-F238E27FC236}">
                <a16:creationId xmlns:a16="http://schemas.microsoft.com/office/drawing/2014/main" id="{89F3EF3E-7038-956E-E1B2-73839814DB9F}"/>
              </a:ext>
            </a:extLst>
          </p:cNvPr>
          <p:cNvSpPr>
            <a:spLocks noChangeShapeType="1"/>
          </p:cNvSpPr>
          <p:nvPr/>
        </p:nvSpPr>
        <p:spPr bwMode="auto">
          <a:xfrm>
            <a:off x="8811818" y="3048000"/>
            <a:ext cx="59531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7" name="Line 85">
            <a:extLst>
              <a:ext uri="{FF2B5EF4-FFF2-40B4-BE49-F238E27FC236}">
                <a16:creationId xmlns:a16="http://schemas.microsoft.com/office/drawing/2014/main" id="{2CD81651-681A-5901-4BA8-E8C8967860CD}"/>
              </a:ext>
            </a:extLst>
          </p:cNvPr>
          <p:cNvSpPr>
            <a:spLocks noChangeShapeType="1"/>
          </p:cNvSpPr>
          <p:nvPr/>
        </p:nvSpPr>
        <p:spPr bwMode="auto">
          <a:xfrm>
            <a:off x="8811818" y="3275410"/>
            <a:ext cx="59531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8" name="Line 86">
            <a:extLst>
              <a:ext uri="{FF2B5EF4-FFF2-40B4-BE49-F238E27FC236}">
                <a16:creationId xmlns:a16="http://schemas.microsoft.com/office/drawing/2014/main" id="{39323F42-FD2F-C014-2DE1-2B1E70871944}"/>
              </a:ext>
            </a:extLst>
          </p:cNvPr>
          <p:cNvSpPr>
            <a:spLocks noChangeShapeType="1"/>
          </p:cNvSpPr>
          <p:nvPr/>
        </p:nvSpPr>
        <p:spPr bwMode="auto">
          <a:xfrm>
            <a:off x="8842772" y="3048001"/>
            <a:ext cx="0" cy="227409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19" name="Line 87">
            <a:extLst>
              <a:ext uri="{FF2B5EF4-FFF2-40B4-BE49-F238E27FC236}">
                <a16:creationId xmlns:a16="http://schemas.microsoft.com/office/drawing/2014/main" id="{5FCDBBF0-4744-BFE1-CD25-7589BE4B17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0911" y="3043238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0" name="Line 88">
            <a:extLst>
              <a:ext uri="{FF2B5EF4-FFF2-40B4-BE49-F238E27FC236}">
                <a16:creationId xmlns:a16="http://schemas.microsoft.com/office/drawing/2014/main" id="{3AFD1462-728C-CCD8-61F2-53A18F303631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0911" y="3270647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1" name="Line 89">
            <a:extLst>
              <a:ext uri="{FF2B5EF4-FFF2-40B4-BE49-F238E27FC236}">
                <a16:creationId xmlns:a16="http://schemas.microsoft.com/office/drawing/2014/main" id="{BA813863-17C2-182A-186C-62AA9D30E562}"/>
              </a:ext>
            </a:extLst>
          </p:cNvPr>
          <p:cNvSpPr>
            <a:spLocks noChangeShapeType="1"/>
          </p:cNvSpPr>
          <p:nvPr/>
        </p:nvSpPr>
        <p:spPr bwMode="auto">
          <a:xfrm>
            <a:off x="9211866" y="3043239"/>
            <a:ext cx="0" cy="227409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2" name="Line 90">
            <a:extLst>
              <a:ext uri="{FF2B5EF4-FFF2-40B4-BE49-F238E27FC236}">
                <a16:creationId xmlns:a16="http://schemas.microsoft.com/office/drawing/2014/main" id="{A537C3D6-AC9D-266B-C898-61C0880501E8}"/>
              </a:ext>
            </a:extLst>
          </p:cNvPr>
          <p:cNvSpPr>
            <a:spLocks noChangeShapeType="1"/>
          </p:cNvSpPr>
          <p:nvPr/>
        </p:nvSpPr>
        <p:spPr bwMode="auto">
          <a:xfrm>
            <a:off x="9553576" y="3081338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3" name="Line 91">
            <a:extLst>
              <a:ext uri="{FF2B5EF4-FFF2-40B4-BE49-F238E27FC236}">
                <a16:creationId xmlns:a16="http://schemas.microsoft.com/office/drawing/2014/main" id="{88FB0976-0FAB-E1BE-07AB-CE9CCF318611}"/>
              </a:ext>
            </a:extLst>
          </p:cNvPr>
          <p:cNvSpPr>
            <a:spLocks noChangeShapeType="1"/>
          </p:cNvSpPr>
          <p:nvPr/>
        </p:nvSpPr>
        <p:spPr bwMode="auto">
          <a:xfrm>
            <a:off x="9553576" y="3287316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4" name="Line 92">
            <a:extLst>
              <a:ext uri="{FF2B5EF4-FFF2-40B4-BE49-F238E27FC236}">
                <a16:creationId xmlns:a16="http://schemas.microsoft.com/office/drawing/2014/main" id="{4108B249-AC35-12F8-069B-A5DE75612FE2}"/>
              </a:ext>
            </a:extLst>
          </p:cNvPr>
          <p:cNvSpPr>
            <a:spLocks noChangeShapeType="1"/>
          </p:cNvSpPr>
          <p:nvPr/>
        </p:nvSpPr>
        <p:spPr bwMode="auto">
          <a:xfrm>
            <a:off x="9584531" y="3081338"/>
            <a:ext cx="0" cy="205978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5" name="Line 93">
            <a:extLst>
              <a:ext uri="{FF2B5EF4-FFF2-40B4-BE49-F238E27FC236}">
                <a16:creationId xmlns:a16="http://schemas.microsoft.com/office/drawing/2014/main" id="{2C281EAD-3729-1278-7068-C1788AAA5A7E}"/>
              </a:ext>
            </a:extLst>
          </p:cNvPr>
          <p:cNvSpPr>
            <a:spLocks noChangeShapeType="1"/>
          </p:cNvSpPr>
          <p:nvPr/>
        </p:nvSpPr>
        <p:spPr bwMode="auto">
          <a:xfrm>
            <a:off x="9925051" y="3043238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6" name="Line 94">
            <a:extLst>
              <a:ext uri="{FF2B5EF4-FFF2-40B4-BE49-F238E27FC236}">
                <a16:creationId xmlns:a16="http://schemas.microsoft.com/office/drawing/2014/main" id="{DA5F24AD-9818-6100-0704-103C7D980853}"/>
              </a:ext>
            </a:extLst>
          </p:cNvPr>
          <p:cNvSpPr>
            <a:spLocks noChangeShapeType="1"/>
          </p:cNvSpPr>
          <p:nvPr/>
        </p:nvSpPr>
        <p:spPr bwMode="auto">
          <a:xfrm>
            <a:off x="9925051" y="3349229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7" name="Line 95">
            <a:extLst>
              <a:ext uri="{FF2B5EF4-FFF2-40B4-BE49-F238E27FC236}">
                <a16:creationId xmlns:a16="http://schemas.microsoft.com/office/drawing/2014/main" id="{AB9094D4-4E35-3463-5D23-76C278D5B33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56006" y="3043238"/>
            <a:ext cx="0" cy="30599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8" name="Line 96">
            <a:extLst>
              <a:ext uri="{FF2B5EF4-FFF2-40B4-BE49-F238E27FC236}">
                <a16:creationId xmlns:a16="http://schemas.microsoft.com/office/drawing/2014/main" id="{7E61A51F-F487-24A8-05AC-BE4791D6206D}"/>
              </a:ext>
            </a:extLst>
          </p:cNvPr>
          <p:cNvSpPr>
            <a:spLocks noChangeShapeType="1"/>
          </p:cNvSpPr>
          <p:nvPr/>
        </p:nvSpPr>
        <p:spPr bwMode="auto">
          <a:xfrm>
            <a:off x="10296526" y="2931319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29" name="Line 97">
            <a:extLst>
              <a:ext uri="{FF2B5EF4-FFF2-40B4-BE49-F238E27FC236}">
                <a16:creationId xmlns:a16="http://schemas.microsoft.com/office/drawing/2014/main" id="{11FB94B6-7F5B-878C-8FB9-8BF92B5B93A4}"/>
              </a:ext>
            </a:extLst>
          </p:cNvPr>
          <p:cNvSpPr>
            <a:spLocks noChangeShapeType="1"/>
          </p:cNvSpPr>
          <p:nvPr/>
        </p:nvSpPr>
        <p:spPr bwMode="auto">
          <a:xfrm>
            <a:off x="10296526" y="3207544"/>
            <a:ext cx="61913" cy="0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0" name="Line 98">
            <a:extLst>
              <a:ext uri="{FF2B5EF4-FFF2-40B4-BE49-F238E27FC236}">
                <a16:creationId xmlns:a16="http://schemas.microsoft.com/office/drawing/2014/main" id="{7931AA90-50CA-68AF-D155-9FBA0E37C5A3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27481" y="2931320"/>
            <a:ext cx="0" cy="276225"/>
          </a:xfrm>
          <a:prstGeom prst="line">
            <a:avLst/>
          </a:prstGeom>
          <a:noFill/>
          <a:ln w="12700" cap="flat">
            <a:solidFill>
              <a:srgbClr val="0076A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1" name="Oval 99">
            <a:extLst>
              <a:ext uri="{FF2B5EF4-FFF2-40B4-BE49-F238E27FC236}">
                <a16:creationId xmlns:a16="http://schemas.microsoft.com/office/drawing/2014/main" id="{56E4C4C7-C615-DF62-1E77-9D1F7AC4BF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34063" y="3969545"/>
            <a:ext cx="61913" cy="59531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2" name="Oval 100">
            <a:extLst>
              <a:ext uri="{FF2B5EF4-FFF2-40B4-BE49-F238E27FC236}">
                <a16:creationId xmlns:a16="http://schemas.microsoft.com/office/drawing/2014/main" id="{137CBE76-2328-844C-D28D-B1AEF539C8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7420" y="3496868"/>
            <a:ext cx="61913" cy="59531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3" name="Oval 101">
            <a:extLst>
              <a:ext uri="{FF2B5EF4-FFF2-40B4-BE49-F238E27FC236}">
                <a16:creationId xmlns:a16="http://schemas.microsoft.com/office/drawing/2014/main" id="{927DD926-D1FF-1177-3A88-E1D1158767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5539" y="3465911"/>
            <a:ext cx="59531" cy="59531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4" name="Oval 102">
            <a:extLst>
              <a:ext uri="{FF2B5EF4-FFF2-40B4-BE49-F238E27FC236}">
                <a16:creationId xmlns:a16="http://schemas.microsoft.com/office/drawing/2014/main" id="{632EE962-1B12-78AA-83A2-D5C607F51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9395" y="3477818"/>
            <a:ext cx="59531" cy="59531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5" name="Oval 103">
            <a:extLst>
              <a:ext uri="{FF2B5EF4-FFF2-40B4-BE49-F238E27FC236}">
                <a16:creationId xmlns:a16="http://schemas.microsoft.com/office/drawing/2014/main" id="{767DCF7A-BF04-A5C1-0182-142F0F2BAB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0870" y="3589736"/>
            <a:ext cx="59531" cy="61913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6" name="Oval 104">
            <a:extLst>
              <a:ext uri="{FF2B5EF4-FFF2-40B4-BE49-F238E27FC236}">
                <a16:creationId xmlns:a16="http://schemas.microsoft.com/office/drawing/2014/main" id="{CDCC23D0-FD4D-84D2-3BB8-B120B0DF44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8773" y="3577829"/>
            <a:ext cx="61913" cy="61913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7" name="Oval 105">
            <a:extLst>
              <a:ext uri="{FF2B5EF4-FFF2-40B4-BE49-F238E27FC236}">
                <a16:creationId xmlns:a16="http://schemas.microsoft.com/office/drawing/2014/main" id="{4ACB7281-A523-88AE-B57A-2FCF74E7D0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2629" y="3363518"/>
            <a:ext cx="61913" cy="59531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8" name="Oval 106">
            <a:extLst>
              <a:ext uri="{FF2B5EF4-FFF2-40B4-BE49-F238E27FC236}">
                <a16:creationId xmlns:a16="http://schemas.microsoft.com/office/drawing/2014/main" id="{644169E9-4254-1EE2-DDF2-CDA55AAD13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6486" y="3413524"/>
            <a:ext cx="61913" cy="59531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39" name="Oval 107">
            <a:extLst>
              <a:ext uri="{FF2B5EF4-FFF2-40B4-BE49-F238E27FC236}">
                <a16:creationId xmlns:a16="http://schemas.microsoft.com/office/drawing/2014/main" id="{B415F393-8E6A-FB7B-FDF2-10FCDDC3F2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37961" y="3344468"/>
            <a:ext cx="59531" cy="59531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0" name="Oval 108">
            <a:extLst>
              <a:ext uri="{FF2B5EF4-FFF2-40B4-BE49-F238E27FC236}">
                <a16:creationId xmlns:a16="http://schemas.microsoft.com/office/drawing/2014/main" id="{0EC3A73E-1FA2-958F-1A37-480B89D37D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4198" y="3527823"/>
            <a:ext cx="61913" cy="61913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1" name="Oval 109">
            <a:extLst>
              <a:ext uri="{FF2B5EF4-FFF2-40B4-BE49-F238E27FC236}">
                <a16:creationId xmlns:a16="http://schemas.microsoft.com/office/drawing/2014/main" id="{E487C6D1-8248-F856-2172-92AC8F5B25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3293" y="3382567"/>
            <a:ext cx="59531" cy="61913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2" name="Oval 110">
            <a:extLst>
              <a:ext uri="{FF2B5EF4-FFF2-40B4-BE49-F238E27FC236}">
                <a16:creationId xmlns:a16="http://schemas.microsoft.com/office/drawing/2014/main" id="{DA3858F8-FB01-EB3D-869F-5AED716797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55958" y="3339705"/>
            <a:ext cx="59531" cy="59531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3" name="Oval 111">
            <a:extLst>
              <a:ext uri="{FF2B5EF4-FFF2-40B4-BE49-F238E27FC236}">
                <a16:creationId xmlns:a16="http://schemas.microsoft.com/office/drawing/2014/main" id="{C8C531D0-D45A-8F02-F244-D5CA76B2C9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5051" y="3218261"/>
            <a:ext cx="61913" cy="61913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4" name="Oval 112">
            <a:extLst>
              <a:ext uri="{FF2B5EF4-FFF2-40B4-BE49-F238E27FC236}">
                <a16:creationId xmlns:a16="http://schemas.microsoft.com/office/drawing/2014/main" id="{8B09C56F-8C6F-64EE-4F42-8E6396FA3D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96526" y="3117057"/>
            <a:ext cx="61913" cy="61913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5" name="Line 113">
            <a:extLst>
              <a:ext uri="{FF2B5EF4-FFF2-40B4-BE49-F238E27FC236}">
                <a16:creationId xmlns:a16="http://schemas.microsoft.com/office/drawing/2014/main" id="{57326C42-D509-69AB-6DCC-12483551668B}"/>
              </a:ext>
            </a:extLst>
          </p:cNvPr>
          <p:cNvSpPr>
            <a:spLocks noChangeShapeType="1"/>
          </p:cNvSpPr>
          <p:nvPr/>
        </p:nvSpPr>
        <p:spPr bwMode="auto">
          <a:xfrm>
            <a:off x="5834063" y="3945731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6" name="Line 114">
            <a:extLst>
              <a:ext uri="{FF2B5EF4-FFF2-40B4-BE49-F238E27FC236}">
                <a16:creationId xmlns:a16="http://schemas.microsoft.com/office/drawing/2014/main" id="{D75B2137-F676-69F4-E83F-4F299B97635C}"/>
              </a:ext>
            </a:extLst>
          </p:cNvPr>
          <p:cNvSpPr>
            <a:spLocks noChangeShapeType="1"/>
          </p:cNvSpPr>
          <p:nvPr/>
        </p:nvSpPr>
        <p:spPr bwMode="auto">
          <a:xfrm>
            <a:off x="5834063" y="4060031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7" name="Line 115">
            <a:extLst>
              <a:ext uri="{FF2B5EF4-FFF2-40B4-BE49-F238E27FC236}">
                <a16:creationId xmlns:a16="http://schemas.microsoft.com/office/drawing/2014/main" id="{514DA09C-3901-CFDD-5194-E53F804FC2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865019" y="3945731"/>
            <a:ext cx="0" cy="11430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8" name="Line 116">
            <a:extLst>
              <a:ext uri="{FF2B5EF4-FFF2-40B4-BE49-F238E27FC236}">
                <a16:creationId xmlns:a16="http://schemas.microsoft.com/office/drawing/2014/main" id="{D3A0DE5C-4159-4F71-D320-E587243D7880}"/>
              </a:ext>
            </a:extLst>
          </p:cNvPr>
          <p:cNvSpPr>
            <a:spLocks noChangeShapeType="1"/>
          </p:cNvSpPr>
          <p:nvPr/>
        </p:nvSpPr>
        <p:spPr bwMode="auto">
          <a:xfrm>
            <a:off x="6017420" y="3430191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49" name="Line 117">
            <a:extLst>
              <a:ext uri="{FF2B5EF4-FFF2-40B4-BE49-F238E27FC236}">
                <a16:creationId xmlns:a16="http://schemas.microsoft.com/office/drawing/2014/main" id="{5548C511-3680-36DE-1C97-F29DF27DC597}"/>
              </a:ext>
            </a:extLst>
          </p:cNvPr>
          <p:cNvSpPr>
            <a:spLocks noChangeShapeType="1"/>
          </p:cNvSpPr>
          <p:nvPr/>
        </p:nvSpPr>
        <p:spPr bwMode="auto">
          <a:xfrm>
            <a:off x="6017420" y="3632597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0" name="Line 118">
            <a:extLst>
              <a:ext uri="{FF2B5EF4-FFF2-40B4-BE49-F238E27FC236}">
                <a16:creationId xmlns:a16="http://schemas.microsoft.com/office/drawing/2014/main" id="{951658EF-B154-908F-9D83-7833CAA2D5D9}"/>
              </a:ext>
            </a:extLst>
          </p:cNvPr>
          <p:cNvSpPr>
            <a:spLocks noChangeShapeType="1"/>
          </p:cNvSpPr>
          <p:nvPr/>
        </p:nvSpPr>
        <p:spPr bwMode="auto">
          <a:xfrm>
            <a:off x="6048375" y="3430192"/>
            <a:ext cx="0" cy="202406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1" name="Line 119">
            <a:extLst>
              <a:ext uri="{FF2B5EF4-FFF2-40B4-BE49-F238E27FC236}">
                <a16:creationId xmlns:a16="http://schemas.microsoft.com/office/drawing/2014/main" id="{DFC2A334-6D38-F5BF-649E-6295DB29307A}"/>
              </a:ext>
            </a:extLst>
          </p:cNvPr>
          <p:cNvSpPr>
            <a:spLocks noChangeShapeType="1"/>
          </p:cNvSpPr>
          <p:nvPr/>
        </p:nvSpPr>
        <p:spPr bwMode="auto">
          <a:xfrm>
            <a:off x="6205539" y="3415904"/>
            <a:ext cx="59531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2" name="Line 120">
            <a:extLst>
              <a:ext uri="{FF2B5EF4-FFF2-40B4-BE49-F238E27FC236}">
                <a16:creationId xmlns:a16="http://schemas.microsoft.com/office/drawing/2014/main" id="{D910810F-4D49-37A2-DEDB-1D5CFA087500}"/>
              </a:ext>
            </a:extLst>
          </p:cNvPr>
          <p:cNvSpPr>
            <a:spLocks noChangeShapeType="1"/>
          </p:cNvSpPr>
          <p:nvPr/>
        </p:nvSpPr>
        <p:spPr bwMode="auto">
          <a:xfrm>
            <a:off x="6205539" y="3582591"/>
            <a:ext cx="59531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3" name="Line 121">
            <a:extLst>
              <a:ext uri="{FF2B5EF4-FFF2-40B4-BE49-F238E27FC236}">
                <a16:creationId xmlns:a16="http://schemas.microsoft.com/office/drawing/2014/main" id="{E60910A8-21BB-36F1-8001-AF77B4E05E3C}"/>
              </a:ext>
            </a:extLst>
          </p:cNvPr>
          <p:cNvSpPr>
            <a:spLocks noChangeShapeType="1"/>
          </p:cNvSpPr>
          <p:nvPr/>
        </p:nvSpPr>
        <p:spPr bwMode="auto">
          <a:xfrm>
            <a:off x="6236494" y="3415903"/>
            <a:ext cx="0" cy="166688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4" name="Line 122">
            <a:extLst>
              <a:ext uri="{FF2B5EF4-FFF2-40B4-BE49-F238E27FC236}">
                <a16:creationId xmlns:a16="http://schemas.microsoft.com/office/drawing/2014/main" id="{3D0CD662-3166-BB99-9803-B77E875E926D}"/>
              </a:ext>
            </a:extLst>
          </p:cNvPr>
          <p:cNvSpPr>
            <a:spLocks noChangeShapeType="1"/>
          </p:cNvSpPr>
          <p:nvPr/>
        </p:nvSpPr>
        <p:spPr bwMode="auto">
          <a:xfrm>
            <a:off x="6579395" y="3382566"/>
            <a:ext cx="59531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5" name="Line 123">
            <a:extLst>
              <a:ext uri="{FF2B5EF4-FFF2-40B4-BE49-F238E27FC236}">
                <a16:creationId xmlns:a16="http://schemas.microsoft.com/office/drawing/2014/main" id="{D499FDCB-F6C4-C162-0077-882743DE419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79395" y="3637360"/>
            <a:ext cx="59531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6" name="Line 124">
            <a:extLst>
              <a:ext uri="{FF2B5EF4-FFF2-40B4-BE49-F238E27FC236}">
                <a16:creationId xmlns:a16="http://schemas.microsoft.com/office/drawing/2014/main" id="{DDEA41F4-09EC-474A-6EE0-2C5F87D3CD12}"/>
              </a:ext>
            </a:extLst>
          </p:cNvPr>
          <p:cNvSpPr>
            <a:spLocks noChangeShapeType="1"/>
          </p:cNvSpPr>
          <p:nvPr/>
        </p:nvSpPr>
        <p:spPr bwMode="auto">
          <a:xfrm>
            <a:off x="6610350" y="3382566"/>
            <a:ext cx="0" cy="254794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7" name="Line 125">
            <a:extLst>
              <a:ext uri="{FF2B5EF4-FFF2-40B4-BE49-F238E27FC236}">
                <a16:creationId xmlns:a16="http://schemas.microsoft.com/office/drawing/2014/main" id="{34FFC708-D4B5-1918-6D47-340E5EF5B763}"/>
              </a:ext>
            </a:extLst>
          </p:cNvPr>
          <p:cNvSpPr>
            <a:spLocks noChangeShapeType="1"/>
          </p:cNvSpPr>
          <p:nvPr/>
        </p:nvSpPr>
        <p:spPr bwMode="auto">
          <a:xfrm>
            <a:off x="6950870" y="3487341"/>
            <a:ext cx="59531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8" name="Line 126">
            <a:extLst>
              <a:ext uri="{FF2B5EF4-FFF2-40B4-BE49-F238E27FC236}">
                <a16:creationId xmlns:a16="http://schemas.microsoft.com/office/drawing/2014/main" id="{5AEDC658-1DC3-A487-FA1D-ECBF1531C675}"/>
              </a:ext>
            </a:extLst>
          </p:cNvPr>
          <p:cNvSpPr>
            <a:spLocks noChangeShapeType="1"/>
          </p:cNvSpPr>
          <p:nvPr/>
        </p:nvSpPr>
        <p:spPr bwMode="auto">
          <a:xfrm>
            <a:off x="6950870" y="3761185"/>
            <a:ext cx="59531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59" name="Line 127">
            <a:extLst>
              <a:ext uri="{FF2B5EF4-FFF2-40B4-BE49-F238E27FC236}">
                <a16:creationId xmlns:a16="http://schemas.microsoft.com/office/drawing/2014/main" id="{41A76283-4BB3-1E8C-E1D0-B0FE421F2266}"/>
              </a:ext>
            </a:extLst>
          </p:cNvPr>
          <p:cNvSpPr>
            <a:spLocks noChangeShapeType="1"/>
          </p:cNvSpPr>
          <p:nvPr/>
        </p:nvSpPr>
        <p:spPr bwMode="auto">
          <a:xfrm>
            <a:off x="6981825" y="3487341"/>
            <a:ext cx="0" cy="273844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60" name="Line 128">
            <a:extLst>
              <a:ext uri="{FF2B5EF4-FFF2-40B4-BE49-F238E27FC236}">
                <a16:creationId xmlns:a16="http://schemas.microsoft.com/office/drawing/2014/main" id="{580BA00C-DF47-E899-71AF-016A41A562D4}"/>
              </a:ext>
            </a:extLst>
          </p:cNvPr>
          <p:cNvSpPr>
            <a:spLocks noChangeShapeType="1"/>
          </p:cNvSpPr>
          <p:nvPr/>
        </p:nvSpPr>
        <p:spPr bwMode="auto">
          <a:xfrm>
            <a:off x="7318773" y="3487341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61" name="Line 129">
            <a:extLst>
              <a:ext uri="{FF2B5EF4-FFF2-40B4-BE49-F238E27FC236}">
                <a16:creationId xmlns:a16="http://schemas.microsoft.com/office/drawing/2014/main" id="{7C6DA2FB-6C2F-1689-CC24-812EC75AE06C}"/>
              </a:ext>
            </a:extLst>
          </p:cNvPr>
          <p:cNvSpPr>
            <a:spLocks noChangeShapeType="1"/>
          </p:cNvSpPr>
          <p:nvPr/>
        </p:nvSpPr>
        <p:spPr bwMode="auto">
          <a:xfrm>
            <a:off x="7318773" y="3732610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62" name="Line 130">
            <a:extLst>
              <a:ext uri="{FF2B5EF4-FFF2-40B4-BE49-F238E27FC236}">
                <a16:creationId xmlns:a16="http://schemas.microsoft.com/office/drawing/2014/main" id="{F32545A3-1DA5-936C-7FA0-43909F684934}"/>
              </a:ext>
            </a:extLst>
          </p:cNvPr>
          <p:cNvSpPr>
            <a:spLocks noChangeShapeType="1"/>
          </p:cNvSpPr>
          <p:nvPr/>
        </p:nvSpPr>
        <p:spPr bwMode="auto">
          <a:xfrm>
            <a:off x="7349729" y="3487342"/>
            <a:ext cx="0" cy="245269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63" name="Line 131">
            <a:extLst>
              <a:ext uri="{FF2B5EF4-FFF2-40B4-BE49-F238E27FC236}">
                <a16:creationId xmlns:a16="http://schemas.microsoft.com/office/drawing/2014/main" id="{6DA7259C-4682-9EBA-D44D-487811D25916}"/>
              </a:ext>
            </a:extLst>
          </p:cNvPr>
          <p:cNvSpPr>
            <a:spLocks noChangeShapeType="1"/>
          </p:cNvSpPr>
          <p:nvPr/>
        </p:nvSpPr>
        <p:spPr bwMode="auto">
          <a:xfrm>
            <a:off x="7692629" y="3237310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64" name="Line 132">
            <a:extLst>
              <a:ext uri="{FF2B5EF4-FFF2-40B4-BE49-F238E27FC236}">
                <a16:creationId xmlns:a16="http://schemas.microsoft.com/office/drawing/2014/main" id="{B22F8B69-9BFA-2CB4-A0FE-0697227898E4}"/>
              </a:ext>
            </a:extLst>
          </p:cNvPr>
          <p:cNvSpPr>
            <a:spLocks noChangeShapeType="1"/>
          </p:cNvSpPr>
          <p:nvPr/>
        </p:nvSpPr>
        <p:spPr bwMode="auto">
          <a:xfrm>
            <a:off x="7692629" y="3554016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65" name="Line 133">
            <a:extLst>
              <a:ext uri="{FF2B5EF4-FFF2-40B4-BE49-F238E27FC236}">
                <a16:creationId xmlns:a16="http://schemas.microsoft.com/office/drawing/2014/main" id="{8B06A877-DC6F-273F-3921-9B45C12BE9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23585" y="3237310"/>
            <a:ext cx="0" cy="316706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66" name="Line 134">
            <a:extLst>
              <a:ext uri="{FF2B5EF4-FFF2-40B4-BE49-F238E27FC236}">
                <a16:creationId xmlns:a16="http://schemas.microsoft.com/office/drawing/2014/main" id="{42DC5659-8972-DD7B-B0FD-C3B1533C7FA7}"/>
              </a:ext>
            </a:extLst>
          </p:cNvPr>
          <p:cNvSpPr>
            <a:spLocks noChangeShapeType="1"/>
          </p:cNvSpPr>
          <p:nvPr/>
        </p:nvSpPr>
        <p:spPr bwMode="auto">
          <a:xfrm>
            <a:off x="8066486" y="3275410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67" name="Line 135">
            <a:extLst>
              <a:ext uri="{FF2B5EF4-FFF2-40B4-BE49-F238E27FC236}">
                <a16:creationId xmlns:a16="http://schemas.microsoft.com/office/drawing/2014/main" id="{907B15DC-CA76-4923-2907-DCEC07A42F73}"/>
              </a:ext>
            </a:extLst>
          </p:cNvPr>
          <p:cNvSpPr>
            <a:spLocks noChangeShapeType="1"/>
          </p:cNvSpPr>
          <p:nvPr/>
        </p:nvSpPr>
        <p:spPr bwMode="auto">
          <a:xfrm>
            <a:off x="8066486" y="3613547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68" name="Line 136">
            <a:extLst>
              <a:ext uri="{FF2B5EF4-FFF2-40B4-BE49-F238E27FC236}">
                <a16:creationId xmlns:a16="http://schemas.microsoft.com/office/drawing/2014/main" id="{0BC257C8-0F4A-8B64-419F-F41231C66795}"/>
              </a:ext>
            </a:extLst>
          </p:cNvPr>
          <p:cNvSpPr>
            <a:spLocks noChangeShapeType="1"/>
          </p:cNvSpPr>
          <p:nvPr/>
        </p:nvSpPr>
        <p:spPr bwMode="auto">
          <a:xfrm>
            <a:off x="8097441" y="3275410"/>
            <a:ext cx="0" cy="338138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69" name="Line 137">
            <a:extLst>
              <a:ext uri="{FF2B5EF4-FFF2-40B4-BE49-F238E27FC236}">
                <a16:creationId xmlns:a16="http://schemas.microsoft.com/office/drawing/2014/main" id="{CF1FB38B-39FD-0216-EE74-16D2742B7D2E}"/>
              </a:ext>
            </a:extLst>
          </p:cNvPr>
          <p:cNvSpPr>
            <a:spLocks noChangeShapeType="1"/>
          </p:cNvSpPr>
          <p:nvPr/>
        </p:nvSpPr>
        <p:spPr bwMode="auto">
          <a:xfrm>
            <a:off x="8437961" y="3251597"/>
            <a:ext cx="59531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70" name="Line 138">
            <a:extLst>
              <a:ext uri="{FF2B5EF4-FFF2-40B4-BE49-F238E27FC236}">
                <a16:creationId xmlns:a16="http://schemas.microsoft.com/office/drawing/2014/main" id="{FD7CC04F-4CF0-18DF-AFCA-C2B874A36AEA}"/>
              </a:ext>
            </a:extLst>
          </p:cNvPr>
          <p:cNvSpPr>
            <a:spLocks noChangeShapeType="1"/>
          </p:cNvSpPr>
          <p:nvPr/>
        </p:nvSpPr>
        <p:spPr bwMode="auto">
          <a:xfrm>
            <a:off x="8437961" y="3504010"/>
            <a:ext cx="59531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71" name="Line 139">
            <a:extLst>
              <a:ext uri="{FF2B5EF4-FFF2-40B4-BE49-F238E27FC236}">
                <a16:creationId xmlns:a16="http://schemas.microsoft.com/office/drawing/2014/main" id="{955EEC9E-2B73-5221-D4D1-A67B74F7A757}"/>
              </a:ext>
            </a:extLst>
          </p:cNvPr>
          <p:cNvSpPr>
            <a:spLocks noChangeShapeType="1"/>
          </p:cNvSpPr>
          <p:nvPr/>
        </p:nvSpPr>
        <p:spPr bwMode="auto">
          <a:xfrm>
            <a:off x="8466535" y="3251598"/>
            <a:ext cx="0" cy="252413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72" name="Line 140">
            <a:extLst>
              <a:ext uri="{FF2B5EF4-FFF2-40B4-BE49-F238E27FC236}">
                <a16:creationId xmlns:a16="http://schemas.microsoft.com/office/drawing/2014/main" id="{18EBF96E-F715-359B-AD00-63134D447E5A}"/>
              </a:ext>
            </a:extLst>
          </p:cNvPr>
          <p:cNvSpPr>
            <a:spLocks noChangeShapeType="1"/>
          </p:cNvSpPr>
          <p:nvPr/>
        </p:nvSpPr>
        <p:spPr bwMode="auto">
          <a:xfrm>
            <a:off x="8814198" y="3373041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73" name="Line 141">
            <a:extLst>
              <a:ext uri="{FF2B5EF4-FFF2-40B4-BE49-F238E27FC236}">
                <a16:creationId xmlns:a16="http://schemas.microsoft.com/office/drawing/2014/main" id="{D1DADD96-06DE-6516-F805-0B5390D50F08}"/>
              </a:ext>
            </a:extLst>
          </p:cNvPr>
          <p:cNvSpPr>
            <a:spLocks noChangeShapeType="1"/>
          </p:cNvSpPr>
          <p:nvPr/>
        </p:nvSpPr>
        <p:spPr bwMode="auto">
          <a:xfrm>
            <a:off x="8814198" y="3749279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74" name="Line 142">
            <a:extLst>
              <a:ext uri="{FF2B5EF4-FFF2-40B4-BE49-F238E27FC236}">
                <a16:creationId xmlns:a16="http://schemas.microsoft.com/office/drawing/2014/main" id="{0B1B4033-5550-257A-451E-CE603542C4F8}"/>
              </a:ext>
            </a:extLst>
          </p:cNvPr>
          <p:cNvSpPr>
            <a:spLocks noChangeShapeType="1"/>
          </p:cNvSpPr>
          <p:nvPr/>
        </p:nvSpPr>
        <p:spPr bwMode="auto">
          <a:xfrm>
            <a:off x="8845154" y="3373041"/>
            <a:ext cx="0" cy="376238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75" name="Line 143">
            <a:extLst>
              <a:ext uri="{FF2B5EF4-FFF2-40B4-BE49-F238E27FC236}">
                <a16:creationId xmlns:a16="http://schemas.microsoft.com/office/drawing/2014/main" id="{B33E4DC0-E036-96CC-0A0C-FC94F15B332E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3293" y="3213497"/>
            <a:ext cx="59531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76" name="Line 144">
            <a:extLst>
              <a:ext uri="{FF2B5EF4-FFF2-40B4-BE49-F238E27FC236}">
                <a16:creationId xmlns:a16="http://schemas.microsoft.com/office/drawing/2014/main" id="{A4E16BC9-18D6-2B92-FEF2-01D7F778EE3E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3293" y="3623072"/>
            <a:ext cx="59531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77" name="Line 145">
            <a:extLst>
              <a:ext uri="{FF2B5EF4-FFF2-40B4-BE49-F238E27FC236}">
                <a16:creationId xmlns:a16="http://schemas.microsoft.com/office/drawing/2014/main" id="{09E7DCD1-CD97-40CE-CB9D-77E73E40575A}"/>
              </a:ext>
            </a:extLst>
          </p:cNvPr>
          <p:cNvSpPr>
            <a:spLocks noChangeShapeType="1"/>
          </p:cNvSpPr>
          <p:nvPr/>
        </p:nvSpPr>
        <p:spPr bwMode="auto">
          <a:xfrm>
            <a:off x="9211866" y="3213498"/>
            <a:ext cx="0" cy="409575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78" name="Line 146">
            <a:extLst>
              <a:ext uri="{FF2B5EF4-FFF2-40B4-BE49-F238E27FC236}">
                <a16:creationId xmlns:a16="http://schemas.microsoft.com/office/drawing/2014/main" id="{2AA396F6-7DE9-6517-7EBA-CA6CFB8E0037}"/>
              </a:ext>
            </a:extLst>
          </p:cNvPr>
          <p:cNvSpPr>
            <a:spLocks noChangeShapeType="1"/>
          </p:cNvSpPr>
          <p:nvPr/>
        </p:nvSpPr>
        <p:spPr bwMode="auto">
          <a:xfrm>
            <a:off x="9553576" y="3287316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79" name="Line 147">
            <a:extLst>
              <a:ext uri="{FF2B5EF4-FFF2-40B4-BE49-F238E27FC236}">
                <a16:creationId xmlns:a16="http://schemas.microsoft.com/office/drawing/2014/main" id="{CB4C8F36-B2B6-4EFE-CF83-06980165C156}"/>
              </a:ext>
            </a:extLst>
          </p:cNvPr>
          <p:cNvSpPr>
            <a:spLocks noChangeShapeType="1"/>
          </p:cNvSpPr>
          <p:nvPr/>
        </p:nvSpPr>
        <p:spPr bwMode="auto">
          <a:xfrm>
            <a:off x="9553576" y="3561160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0" name="Line 148">
            <a:extLst>
              <a:ext uri="{FF2B5EF4-FFF2-40B4-BE49-F238E27FC236}">
                <a16:creationId xmlns:a16="http://schemas.microsoft.com/office/drawing/2014/main" id="{D3EC98D7-085E-C649-FD7C-984CDC19A4DD}"/>
              </a:ext>
            </a:extLst>
          </p:cNvPr>
          <p:cNvSpPr>
            <a:spLocks noChangeShapeType="1"/>
          </p:cNvSpPr>
          <p:nvPr/>
        </p:nvSpPr>
        <p:spPr bwMode="auto">
          <a:xfrm>
            <a:off x="9584531" y="3287316"/>
            <a:ext cx="0" cy="273844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1" name="Line 149">
            <a:extLst>
              <a:ext uri="{FF2B5EF4-FFF2-40B4-BE49-F238E27FC236}">
                <a16:creationId xmlns:a16="http://schemas.microsoft.com/office/drawing/2014/main" id="{A34AE39B-C06B-C5CB-1C39-A56E0D351143}"/>
              </a:ext>
            </a:extLst>
          </p:cNvPr>
          <p:cNvSpPr>
            <a:spLocks noChangeShapeType="1"/>
          </p:cNvSpPr>
          <p:nvPr/>
        </p:nvSpPr>
        <p:spPr bwMode="auto">
          <a:xfrm>
            <a:off x="9925051" y="2974181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2" name="Line 150">
            <a:extLst>
              <a:ext uri="{FF2B5EF4-FFF2-40B4-BE49-F238E27FC236}">
                <a16:creationId xmlns:a16="http://schemas.microsoft.com/office/drawing/2014/main" id="{5E2A136C-2487-1BB9-4BEE-C674D643843B}"/>
              </a:ext>
            </a:extLst>
          </p:cNvPr>
          <p:cNvSpPr>
            <a:spLocks noChangeShapeType="1"/>
          </p:cNvSpPr>
          <p:nvPr/>
        </p:nvSpPr>
        <p:spPr bwMode="auto">
          <a:xfrm>
            <a:off x="9925051" y="3537347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3" name="Line 151">
            <a:extLst>
              <a:ext uri="{FF2B5EF4-FFF2-40B4-BE49-F238E27FC236}">
                <a16:creationId xmlns:a16="http://schemas.microsoft.com/office/drawing/2014/main" id="{C12BB677-7920-7C7C-6FDE-822DEC7AD99C}"/>
              </a:ext>
            </a:extLst>
          </p:cNvPr>
          <p:cNvSpPr>
            <a:spLocks noChangeShapeType="1"/>
          </p:cNvSpPr>
          <p:nvPr/>
        </p:nvSpPr>
        <p:spPr bwMode="auto">
          <a:xfrm>
            <a:off x="9956006" y="2974183"/>
            <a:ext cx="0" cy="563165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4" name="Line 152">
            <a:extLst>
              <a:ext uri="{FF2B5EF4-FFF2-40B4-BE49-F238E27FC236}">
                <a16:creationId xmlns:a16="http://schemas.microsoft.com/office/drawing/2014/main" id="{165DA2C3-8458-19D6-651C-285AE630F4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296526" y="2759869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5" name="Line 153">
            <a:extLst>
              <a:ext uri="{FF2B5EF4-FFF2-40B4-BE49-F238E27FC236}">
                <a16:creationId xmlns:a16="http://schemas.microsoft.com/office/drawing/2014/main" id="{0C74F1D8-6816-A88E-F832-F094C166BA42}"/>
              </a:ext>
            </a:extLst>
          </p:cNvPr>
          <p:cNvSpPr>
            <a:spLocks noChangeShapeType="1"/>
          </p:cNvSpPr>
          <p:nvPr/>
        </p:nvSpPr>
        <p:spPr bwMode="auto">
          <a:xfrm>
            <a:off x="10296526" y="3544491"/>
            <a:ext cx="61913" cy="0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6" name="Line 154">
            <a:extLst>
              <a:ext uri="{FF2B5EF4-FFF2-40B4-BE49-F238E27FC236}">
                <a16:creationId xmlns:a16="http://schemas.microsoft.com/office/drawing/2014/main" id="{C1952C52-FFBB-B597-3DE0-8074BEEA5C22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27481" y="2759869"/>
            <a:ext cx="0" cy="784622"/>
          </a:xfrm>
          <a:prstGeom prst="line">
            <a:avLst/>
          </a:pr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7" name="Freeform 155">
            <a:extLst>
              <a:ext uri="{FF2B5EF4-FFF2-40B4-BE49-F238E27FC236}">
                <a16:creationId xmlns:a16="http://schemas.microsoft.com/office/drawing/2014/main" id="{B545477D-4248-9B77-DDE2-21F1A4832871}"/>
              </a:ext>
            </a:extLst>
          </p:cNvPr>
          <p:cNvSpPr>
            <a:spLocks/>
          </p:cNvSpPr>
          <p:nvPr/>
        </p:nvSpPr>
        <p:spPr bwMode="auto">
          <a:xfrm>
            <a:off x="5865019" y="3394473"/>
            <a:ext cx="2232422" cy="603647"/>
          </a:xfrm>
          <a:custGeom>
            <a:avLst/>
            <a:gdLst>
              <a:gd name="T0" fmla="*/ 0 w 1875"/>
              <a:gd name="T1" fmla="*/ 507 h 507"/>
              <a:gd name="T2" fmla="*/ 154 w 1875"/>
              <a:gd name="T3" fmla="*/ 110 h 507"/>
              <a:gd name="T4" fmla="*/ 312 w 1875"/>
              <a:gd name="T5" fmla="*/ 86 h 507"/>
              <a:gd name="T6" fmla="*/ 626 w 1875"/>
              <a:gd name="T7" fmla="*/ 94 h 507"/>
              <a:gd name="T8" fmla="*/ 938 w 1875"/>
              <a:gd name="T9" fmla="*/ 190 h 507"/>
              <a:gd name="T10" fmla="*/ 1247 w 1875"/>
              <a:gd name="T11" fmla="*/ 180 h 507"/>
              <a:gd name="T12" fmla="*/ 1561 w 1875"/>
              <a:gd name="T13" fmla="*/ 0 h 507"/>
              <a:gd name="T14" fmla="*/ 1875 w 1875"/>
              <a:gd name="T15" fmla="*/ 40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75" h="507">
                <a:moveTo>
                  <a:pt x="0" y="507"/>
                </a:moveTo>
                <a:lnTo>
                  <a:pt x="154" y="110"/>
                </a:lnTo>
                <a:lnTo>
                  <a:pt x="312" y="86"/>
                </a:lnTo>
                <a:lnTo>
                  <a:pt x="626" y="94"/>
                </a:lnTo>
                <a:lnTo>
                  <a:pt x="938" y="190"/>
                </a:lnTo>
                <a:lnTo>
                  <a:pt x="1247" y="180"/>
                </a:lnTo>
                <a:lnTo>
                  <a:pt x="1561" y="0"/>
                </a:lnTo>
                <a:lnTo>
                  <a:pt x="1875" y="40"/>
                </a:lnTo>
              </a:path>
            </a:pathLst>
          </a:custGeom>
          <a:noFill/>
          <a:ln w="12700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8" name="Freeform 156">
            <a:extLst>
              <a:ext uri="{FF2B5EF4-FFF2-40B4-BE49-F238E27FC236}">
                <a16:creationId xmlns:a16="http://schemas.microsoft.com/office/drawing/2014/main" id="{58F595FB-E83A-3820-79D9-53A1F0F5D7FE}"/>
              </a:ext>
            </a:extLst>
          </p:cNvPr>
          <p:cNvSpPr>
            <a:spLocks/>
          </p:cNvSpPr>
          <p:nvPr/>
        </p:nvSpPr>
        <p:spPr bwMode="auto">
          <a:xfrm>
            <a:off x="8116492" y="3148014"/>
            <a:ext cx="2210991" cy="410765"/>
          </a:xfrm>
          <a:custGeom>
            <a:avLst/>
            <a:gdLst>
              <a:gd name="T0" fmla="*/ 1857 w 1857"/>
              <a:gd name="T1" fmla="*/ 0 h 345"/>
              <a:gd name="T2" fmla="*/ 1545 w 1857"/>
              <a:gd name="T3" fmla="*/ 85 h 345"/>
              <a:gd name="T4" fmla="*/ 1235 w 1857"/>
              <a:gd name="T5" fmla="*/ 185 h 345"/>
              <a:gd name="T6" fmla="*/ 920 w 1857"/>
              <a:gd name="T7" fmla="*/ 223 h 345"/>
              <a:gd name="T8" fmla="*/ 612 w 1857"/>
              <a:gd name="T9" fmla="*/ 345 h 345"/>
              <a:gd name="T10" fmla="*/ 294 w 1857"/>
              <a:gd name="T11" fmla="*/ 189 h 345"/>
              <a:gd name="T12" fmla="*/ 0 w 1857"/>
              <a:gd name="T13" fmla="*/ 247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57" h="345">
                <a:moveTo>
                  <a:pt x="1857" y="0"/>
                </a:moveTo>
                <a:lnTo>
                  <a:pt x="1545" y="85"/>
                </a:lnTo>
                <a:lnTo>
                  <a:pt x="1235" y="185"/>
                </a:lnTo>
                <a:lnTo>
                  <a:pt x="920" y="223"/>
                </a:lnTo>
                <a:lnTo>
                  <a:pt x="612" y="345"/>
                </a:lnTo>
                <a:lnTo>
                  <a:pt x="294" y="189"/>
                </a:lnTo>
                <a:lnTo>
                  <a:pt x="0" y="247"/>
                </a:lnTo>
              </a:path>
            </a:pathLst>
          </a:custGeom>
          <a:noFill/>
          <a:ln w="12700" cap="flat">
            <a:solidFill>
              <a:srgbClr val="BFBFBF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89" name="Line 35">
            <a:extLst>
              <a:ext uri="{FF2B5EF4-FFF2-40B4-BE49-F238E27FC236}">
                <a16:creationId xmlns:a16="http://schemas.microsoft.com/office/drawing/2014/main" id="{32B7FA54-9F0B-612C-DFD5-54E69AD24B77}"/>
              </a:ext>
            </a:extLst>
          </p:cNvPr>
          <p:cNvSpPr>
            <a:spLocks noChangeShapeType="1"/>
          </p:cNvSpPr>
          <p:nvPr/>
        </p:nvSpPr>
        <p:spPr bwMode="auto">
          <a:xfrm>
            <a:off x="8097441" y="2228851"/>
            <a:ext cx="0" cy="1975669"/>
          </a:xfrm>
          <a:prstGeom prst="line">
            <a:avLst/>
          </a:prstGeom>
          <a:noFill/>
          <a:ln w="12700" cap="sq">
            <a:solidFill>
              <a:schemeClr val="tx1"/>
            </a:solidFill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43BF259C-F7B3-CE1E-04EA-33A05BA99CF1}"/>
              </a:ext>
            </a:extLst>
          </p:cNvPr>
          <p:cNvSpPr txBox="1"/>
          <p:nvPr/>
        </p:nvSpPr>
        <p:spPr>
          <a:xfrm>
            <a:off x="5496090" y="2152458"/>
            <a:ext cx="224420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1.0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255A3079-FD30-7E60-8614-4AA501539FE6}"/>
              </a:ext>
            </a:extLst>
          </p:cNvPr>
          <p:cNvSpPr txBox="1"/>
          <p:nvPr/>
        </p:nvSpPr>
        <p:spPr>
          <a:xfrm>
            <a:off x="5496090" y="2716815"/>
            <a:ext cx="224420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0.0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AB5790BB-C798-5BF7-71EF-E2B77A4E2B45}"/>
              </a:ext>
            </a:extLst>
          </p:cNvPr>
          <p:cNvSpPr txBox="1"/>
          <p:nvPr/>
        </p:nvSpPr>
        <p:spPr>
          <a:xfrm>
            <a:off x="5560210" y="3284743"/>
            <a:ext cx="160301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9.0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694A730B-7988-BBC5-1C52-5F4CB978F41E}"/>
              </a:ext>
            </a:extLst>
          </p:cNvPr>
          <p:cNvSpPr txBox="1"/>
          <p:nvPr/>
        </p:nvSpPr>
        <p:spPr>
          <a:xfrm>
            <a:off x="5560210" y="3852671"/>
            <a:ext cx="160301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8.0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DD04CE08-18E4-DCA6-9574-B3A52953C644}"/>
              </a:ext>
            </a:extLst>
          </p:cNvPr>
          <p:cNvSpPr txBox="1"/>
          <p:nvPr/>
        </p:nvSpPr>
        <p:spPr>
          <a:xfrm>
            <a:off x="5795085" y="4280094"/>
            <a:ext cx="141065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BL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17C5C0D2-56DB-4B3F-9823-4A53887191D7}"/>
              </a:ext>
            </a:extLst>
          </p:cNvPr>
          <p:cNvSpPr txBox="1"/>
          <p:nvPr/>
        </p:nvSpPr>
        <p:spPr>
          <a:xfrm>
            <a:off x="6204435" y="4280094"/>
            <a:ext cx="64121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4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39B747F6-BEF2-DAC8-6AFE-3A35C2A1CB77}"/>
              </a:ext>
            </a:extLst>
          </p:cNvPr>
          <p:cNvSpPr txBox="1"/>
          <p:nvPr/>
        </p:nvSpPr>
        <p:spPr>
          <a:xfrm>
            <a:off x="6578490" y="4280094"/>
            <a:ext cx="63720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8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174DD2C2-68D8-5AB3-58B4-638FEF0AEBC3}"/>
              </a:ext>
            </a:extLst>
          </p:cNvPr>
          <p:cNvSpPr txBox="1"/>
          <p:nvPr/>
        </p:nvSpPr>
        <p:spPr>
          <a:xfrm>
            <a:off x="6911619" y="4280094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2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4DEFD320-E20C-92AB-31FA-4AF6D5B214AA}"/>
              </a:ext>
            </a:extLst>
          </p:cNvPr>
          <p:cNvSpPr txBox="1"/>
          <p:nvPr/>
        </p:nvSpPr>
        <p:spPr>
          <a:xfrm>
            <a:off x="7281903" y="4280094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6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116B579D-BC72-B0AF-1DCF-01F7B493B76D}"/>
              </a:ext>
            </a:extLst>
          </p:cNvPr>
          <p:cNvSpPr txBox="1"/>
          <p:nvPr/>
        </p:nvSpPr>
        <p:spPr>
          <a:xfrm>
            <a:off x="7653378" y="4280094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20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AF017A77-8117-4B07-B1CA-291280E9FD69}"/>
              </a:ext>
            </a:extLst>
          </p:cNvPr>
          <p:cNvSpPr txBox="1"/>
          <p:nvPr/>
        </p:nvSpPr>
        <p:spPr>
          <a:xfrm>
            <a:off x="8027235" y="4280094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24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28E6AC1F-73E5-B7BC-3528-B96D0FC8CC7E}"/>
              </a:ext>
            </a:extLst>
          </p:cNvPr>
          <p:cNvSpPr txBox="1"/>
          <p:nvPr/>
        </p:nvSpPr>
        <p:spPr>
          <a:xfrm>
            <a:off x="8398710" y="4280094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28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69AAB042-C2A8-A216-B542-6A40D5BAC2D1}"/>
              </a:ext>
            </a:extLst>
          </p:cNvPr>
          <p:cNvSpPr txBox="1"/>
          <p:nvPr/>
        </p:nvSpPr>
        <p:spPr>
          <a:xfrm>
            <a:off x="8770185" y="4280094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32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57FF3076-48A2-2EEF-0B9C-771ECC199882}"/>
              </a:ext>
            </a:extLst>
          </p:cNvPr>
          <p:cNvSpPr txBox="1"/>
          <p:nvPr/>
        </p:nvSpPr>
        <p:spPr>
          <a:xfrm>
            <a:off x="9141660" y="4280094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36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80026157-35AC-0153-39C3-1D19F086C85D}"/>
              </a:ext>
            </a:extLst>
          </p:cNvPr>
          <p:cNvSpPr txBox="1"/>
          <p:nvPr/>
        </p:nvSpPr>
        <p:spPr>
          <a:xfrm>
            <a:off x="9514325" y="4280094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40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F43010C7-50A0-8640-51CF-5DADBCFA6102}"/>
              </a:ext>
            </a:extLst>
          </p:cNvPr>
          <p:cNvSpPr txBox="1"/>
          <p:nvPr/>
        </p:nvSpPr>
        <p:spPr>
          <a:xfrm>
            <a:off x="9885800" y="4280094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44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1B52DBDA-844D-0555-682B-A20048B8E105}"/>
              </a:ext>
            </a:extLst>
          </p:cNvPr>
          <p:cNvSpPr txBox="1"/>
          <p:nvPr/>
        </p:nvSpPr>
        <p:spPr>
          <a:xfrm>
            <a:off x="10257275" y="4280094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48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2CB35B0B-2447-BC4B-074A-7C802C03A399}"/>
              </a:ext>
            </a:extLst>
          </p:cNvPr>
          <p:cNvSpPr txBox="1"/>
          <p:nvPr/>
        </p:nvSpPr>
        <p:spPr>
          <a:xfrm>
            <a:off x="5867402" y="4463324"/>
            <a:ext cx="4460081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 b="1">
                <a:solidFill>
                  <a:prstClr val="black"/>
                </a:solidFill>
                <a:latin typeface="Arial" panose="020B0604020202020204"/>
              </a:rPr>
              <a:t>Weeks since Randomization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3261A582-72F9-131B-A1DB-3447F1434796}"/>
              </a:ext>
            </a:extLst>
          </p:cNvPr>
          <p:cNvSpPr txBox="1"/>
          <p:nvPr/>
        </p:nvSpPr>
        <p:spPr>
          <a:xfrm rot="16200000">
            <a:off x="4318078" y="3142464"/>
            <a:ext cx="1982390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 defTabSz="685800"/>
            <a:r>
              <a:rPr lang="en-GB" sz="900" b="1">
                <a:solidFill>
                  <a:prstClr val="black"/>
                </a:solidFill>
                <a:latin typeface="Arial" panose="020B0604020202020204"/>
              </a:rPr>
              <a:t>Mean </a:t>
            </a:r>
            <a:r>
              <a:rPr lang="en-GB" sz="900" b="1" err="1">
                <a:solidFill>
                  <a:prstClr val="black"/>
                </a:solidFill>
                <a:latin typeface="Arial" panose="020B0604020202020204"/>
              </a:rPr>
              <a:t>Hemoglobin</a:t>
            </a:r>
            <a:r>
              <a:rPr lang="en-GB" sz="900" b="1">
                <a:solidFill>
                  <a:prstClr val="black"/>
                </a:solidFill>
                <a:latin typeface="Arial" panose="020B0604020202020204"/>
              </a:rPr>
              <a:t> Levels (g/dL)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317FB819-835D-300C-E459-D70510E9BBDA}"/>
              </a:ext>
            </a:extLst>
          </p:cNvPr>
          <p:cNvSpPr txBox="1"/>
          <p:nvPr/>
        </p:nvSpPr>
        <p:spPr>
          <a:xfrm>
            <a:off x="5097078" y="4484423"/>
            <a:ext cx="807914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r" defTabSz="685800"/>
            <a:r>
              <a:rPr lang="en-GB" sz="900" b="1">
                <a:solidFill>
                  <a:prstClr val="black"/>
                </a:solidFill>
                <a:latin typeface="Arial" panose="020B0604020202020204"/>
              </a:rPr>
              <a:t>No. of Patients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FADC33FF-E3C0-DD98-171E-0B0A0D608852}"/>
              </a:ext>
            </a:extLst>
          </p:cNvPr>
          <p:cNvSpPr txBox="1"/>
          <p:nvPr/>
        </p:nvSpPr>
        <p:spPr>
          <a:xfrm>
            <a:off x="5076863" y="4688020"/>
            <a:ext cx="621966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r" defTabSz="685800"/>
            <a:r>
              <a:rPr lang="en-GB" sz="900" err="1">
                <a:solidFill>
                  <a:prstClr val="black"/>
                </a:solidFill>
                <a:latin typeface="Arial" panose="020B0604020202020204"/>
              </a:rPr>
              <a:t>Momelotinib</a:t>
            </a:r>
            <a:endParaRPr lang="en-GB" sz="90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41BC3FEC-8DFD-FC9E-8032-7B97656CE61B}"/>
              </a:ext>
            </a:extLst>
          </p:cNvPr>
          <p:cNvSpPr txBox="1"/>
          <p:nvPr/>
        </p:nvSpPr>
        <p:spPr>
          <a:xfrm>
            <a:off x="5275635" y="4861479"/>
            <a:ext cx="423194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Danazol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392955FD-7C69-8198-5190-96BCBC4E2749}"/>
              </a:ext>
            </a:extLst>
          </p:cNvPr>
          <p:cNvSpPr txBox="1"/>
          <p:nvPr/>
        </p:nvSpPr>
        <p:spPr>
          <a:xfrm>
            <a:off x="5769437" y="4688020"/>
            <a:ext cx="192361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29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AC6D31ED-3923-9281-EC43-13E933B18F63}"/>
              </a:ext>
            </a:extLst>
          </p:cNvPr>
          <p:cNvSpPr txBox="1"/>
          <p:nvPr/>
        </p:nvSpPr>
        <p:spPr>
          <a:xfrm>
            <a:off x="6140315" y="4688020"/>
            <a:ext cx="192361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05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F7BC0741-CF8E-6BEE-97D0-D693EE42FCFB}"/>
              </a:ext>
            </a:extLst>
          </p:cNvPr>
          <p:cNvSpPr txBox="1"/>
          <p:nvPr/>
        </p:nvSpPr>
        <p:spPr>
          <a:xfrm>
            <a:off x="6509396" y="4688020"/>
            <a:ext cx="201908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12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8258DA89-E5D0-B0FA-4D4F-23EA2CC96F89}"/>
              </a:ext>
            </a:extLst>
          </p:cNvPr>
          <p:cNvSpPr txBox="1"/>
          <p:nvPr/>
        </p:nvSpPr>
        <p:spPr>
          <a:xfrm>
            <a:off x="6911619" y="4688020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93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8E9C9F71-929D-0BFD-17E1-12D68FD8C8F4}"/>
              </a:ext>
            </a:extLst>
          </p:cNvPr>
          <p:cNvSpPr txBox="1"/>
          <p:nvPr/>
        </p:nvSpPr>
        <p:spPr>
          <a:xfrm>
            <a:off x="7281903" y="4688020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87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B50AA800-9F43-39E8-3512-0C16E1B33221}"/>
              </a:ext>
            </a:extLst>
          </p:cNvPr>
          <p:cNvSpPr txBox="1"/>
          <p:nvPr/>
        </p:nvSpPr>
        <p:spPr>
          <a:xfrm>
            <a:off x="7653378" y="4688020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88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FB3C0B3A-007A-6E7E-A938-271C4798AD8E}"/>
              </a:ext>
            </a:extLst>
          </p:cNvPr>
          <p:cNvSpPr txBox="1"/>
          <p:nvPr/>
        </p:nvSpPr>
        <p:spPr>
          <a:xfrm>
            <a:off x="8027235" y="4688020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83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9211F5B0-8D79-5A9B-09FB-86F56B0947CD}"/>
              </a:ext>
            </a:extLst>
          </p:cNvPr>
          <p:cNvSpPr txBox="1"/>
          <p:nvPr/>
        </p:nvSpPr>
        <p:spPr>
          <a:xfrm>
            <a:off x="8398710" y="4688020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67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4F857CDD-8D4F-D059-6D40-D023C1F40A41}"/>
              </a:ext>
            </a:extLst>
          </p:cNvPr>
          <p:cNvSpPr txBox="1"/>
          <p:nvPr/>
        </p:nvSpPr>
        <p:spPr>
          <a:xfrm>
            <a:off x="8770185" y="4688020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56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3F153316-9B3C-375A-23CE-89FBB1500B4F}"/>
              </a:ext>
            </a:extLst>
          </p:cNvPr>
          <p:cNvSpPr txBox="1"/>
          <p:nvPr/>
        </p:nvSpPr>
        <p:spPr>
          <a:xfrm>
            <a:off x="9141660" y="4688020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44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7622FF30-53BC-DE34-9551-B87E82C94755}"/>
              </a:ext>
            </a:extLst>
          </p:cNvPr>
          <p:cNvSpPr txBox="1"/>
          <p:nvPr/>
        </p:nvSpPr>
        <p:spPr>
          <a:xfrm>
            <a:off x="9514325" y="4688020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42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F659ED33-FBA1-AEB7-32A9-034E914F66C8}"/>
              </a:ext>
            </a:extLst>
          </p:cNvPr>
          <p:cNvSpPr txBox="1"/>
          <p:nvPr/>
        </p:nvSpPr>
        <p:spPr>
          <a:xfrm>
            <a:off x="9885800" y="4688020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36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A14051CD-D26C-41CD-8487-812D92FC0017}"/>
              </a:ext>
            </a:extLst>
          </p:cNvPr>
          <p:cNvSpPr txBox="1"/>
          <p:nvPr/>
        </p:nvSpPr>
        <p:spPr>
          <a:xfrm>
            <a:off x="10257275" y="4688020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28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78627DBA-4148-872A-FB9B-33C761CD553F}"/>
              </a:ext>
            </a:extLst>
          </p:cNvPr>
          <p:cNvSpPr txBox="1"/>
          <p:nvPr/>
        </p:nvSpPr>
        <p:spPr>
          <a:xfrm>
            <a:off x="5801496" y="4861479"/>
            <a:ext cx="128240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65</a:t>
            </a: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08008256-3DBB-920E-066B-6A88B46C0640}"/>
              </a:ext>
            </a:extLst>
          </p:cNvPr>
          <p:cNvSpPr txBox="1"/>
          <p:nvPr/>
        </p:nvSpPr>
        <p:spPr>
          <a:xfrm>
            <a:off x="6172374" y="4861479"/>
            <a:ext cx="128240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54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29397F63-BD80-E7A6-A3F4-372E734E71B3}"/>
              </a:ext>
            </a:extLst>
          </p:cNvPr>
          <p:cNvSpPr txBox="1"/>
          <p:nvPr/>
        </p:nvSpPr>
        <p:spPr>
          <a:xfrm>
            <a:off x="6509396" y="4861479"/>
            <a:ext cx="201908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50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749104A7-6D43-B36E-AC66-1375F3026123}"/>
              </a:ext>
            </a:extLst>
          </p:cNvPr>
          <p:cNvSpPr txBox="1"/>
          <p:nvPr/>
        </p:nvSpPr>
        <p:spPr>
          <a:xfrm>
            <a:off x="6911619" y="4861479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38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AF00E30E-580C-BC80-722B-76B4C8789E6A}"/>
              </a:ext>
            </a:extLst>
          </p:cNvPr>
          <p:cNvSpPr txBox="1"/>
          <p:nvPr/>
        </p:nvSpPr>
        <p:spPr>
          <a:xfrm>
            <a:off x="7281903" y="4861479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36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CEC3010-F33A-08A2-D66A-068BD5469D73}"/>
              </a:ext>
            </a:extLst>
          </p:cNvPr>
          <p:cNvSpPr txBox="1"/>
          <p:nvPr/>
        </p:nvSpPr>
        <p:spPr>
          <a:xfrm>
            <a:off x="7653378" y="4861479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36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B21AFC34-B84D-5F58-DB16-41F9C2806EAD}"/>
              </a:ext>
            </a:extLst>
          </p:cNvPr>
          <p:cNvSpPr txBox="1"/>
          <p:nvPr/>
        </p:nvSpPr>
        <p:spPr>
          <a:xfrm>
            <a:off x="8027235" y="4861479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29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C6D21A42-AB25-C90E-89D8-D217916C0C79}"/>
              </a:ext>
            </a:extLst>
          </p:cNvPr>
          <p:cNvSpPr txBox="1"/>
          <p:nvPr/>
        </p:nvSpPr>
        <p:spPr>
          <a:xfrm>
            <a:off x="8398710" y="4861479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31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B99B9DB3-F1E6-AB00-8913-804012DA3B8F}"/>
              </a:ext>
            </a:extLst>
          </p:cNvPr>
          <p:cNvSpPr txBox="1"/>
          <p:nvPr/>
        </p:nvSpPr>
        <p:spPr>
          <a:xfrm>
            <a:off x="8770185" y="4861479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21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5CD4BA35-7D27-CBEA-9FCE-FF26AF5572CC}"/>
              </a:ext>
            </a:extLst>
          </p:cNvPr>
          <p:cNvSpPr txBox="1"/>
          <p:nvPr/>
        </p:nvSpPr>
        <p:spPr>
          <a:xfrm>
            <a:off x="9141660" y="4861479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9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C289C7CF-A907-4FC6-F47E-2A4A703C48D9}"/>
              </a:ext>
            </a:extLst>
          </p:cNvPr>
          <p:cNvSpPr txBox="1"/>
          <p:nvPr/>
        </p:nvSpPr>
        <p:spPr>
          <a:xfrm>
            <a:off x="9514325" y="4861479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8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2EFEA882-2A07-64EA-47CA-00F4DFD8630F}"/>
              </a:ext>
            </a:extLst>
          </p:cNvPr>
          <p:cNvSpPr txBox="1"/>
          <p:nvPr/>
        </p:nvSpPr>
        <p:spPr>
          <a:xfrm>
            <a:off x="9885800" y="4861479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13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F82E1D03-11EF-B3D4-C4FC-217FFAB86ED4}"/>
              </a:ext>
            </a:extLst>
          </p:cNvPr>
          <p:cNvSpPr txBox="1"/>
          <p:nvPr/>
        </p:nvSpPr>
        <p:spPr>
          <a:xfrm>
            <a:off x="10257275" y="4861479"/>
            <a:ext cx="1404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7</a:t>
            </a:r>
          </a:p>
        </p:txBody>
      </p:sp>
      <p:cxnSp>
        <p:nvCxnSpPr>
          <p:cNvPr id="241" name="Straight Connector 240">
            <a:extLst>
              <a:ext uri="{FF2B5EF4-FFF2-40B4-BE49-F238E27FC236}">
                <a16:creationId xmlns:a16="http://schemas.microsoft.com/office/drawing/2014/main" id="{800A9876-4DCF-86E2-F8E4-D82FE1E7775C}"/>
              </a:ext>
            </a:extLst>
          </p:cNvPr>
          <p:cNvCxnSpPr/>
          <p:nvPr/>
        </p:nvCxnSpPr>
        <p:spPr>
          <a:xfrm>
            <a:off x="6172775" y="2371787"/>
            <a:ext cx="127439" cy="0"/>
          </a:xfrm>
          <a:prstGeom prst="line">
            <a:avLst/>
          </a:prstGeom>
          <a:ln w="12700" cap="sq">
            <a:solidFill>
              <a:srgbClr val="0076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4" name="Oval 44">
            <a:extLst>
              <a:ext uri="{FF2B5EF4-FFF2-40B4-BE49-F238E27FC236}">
                <a16:creationId xmlns:a16="http://schemas.microsoft.com/office/drawing/2014/main" id="{E141AFA5-213E-DB8C-7EE5-36AE0A33A5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5538" y="2340832"/>
            <a:ext cx="61913" cy="61913"/>
          </a:xfrm>
          <a:prstGeom prst="ellipse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C809E024-4996-29EC-27F2-D1319EF88522}"/>
              </a:ext>
            </a:extLst>
          </p:cNvPr>
          <p:cNvSpPr txBox="1"/>
          <p:nvPr/>
        </p:nvSpPr>
        <p:spPr>
          <a:xfrm>
            <a:off x="6347667" y="2302539"/>
            <a:ext cx="6219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en-GB" sz="900" err="1">
                <a:solidFill>
                  <a:prstClr val="black"/>
                </a:solidFill>
                <a:latin typeface="Arial" panose="020B0604020202020204"/>
              </a:rPr>
              <a:t>Momelotinib</a:t>
            </a:r>
            <a:endParaRPr lang="en-GB" sz="900">
              <a:solidFill>
                <a:prstClr val="black"/>
              </a:solidFill>
              <a:latin typeface="Arial" panose="020B0604020202020204"/>
            </a:endParaRPr>
          </a:p>
        </p:txBody>
      </p: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4DFB80F2-A084-DBA3-E61C-48374B266A48}"/>
              </a:ext>
            </a:extLst>
          </p:cNvPr>
          <p:cNvCxnSpPr/>
          <p:nvPr/>
        </p:nvCxnSpPr>
        <p:spPr>
          <a:xfrm>
            <a:off x="6172775" y="2509427"/>
            <a:ext cx="127439" cy="0"/>
          </a:xfrm>
          <a:prstGeom prst="line">
            <a:avLst/>
          </a:prstGeom>
          <a:ln w="12700" cap="sq"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Oval 44">
            <a:extLst>
              <a:ext uri="{FF2B5EF4-FFF2-40B4-BE49-F238E27FC236}">
                <a16:creationId xmlns:a16="http://schemas.microsoft.com/office/drawing/2014/main" id="{7964EDDF-88CD-4D5D-B0CD-E342A6A696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5538" y="2478472"/>
            <a:ext cx="61913" cy="61913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52B7C71C-4541-38CC-8261-E51A07727AB5}"/>
              </a:ext>
            </a:extLst>
          </p:cNvPr>
          <p:cNvSpPr txBox="1"/>
          <p:nvPr/>
        </p:nvSpPr>
        <p:spPr>
          <a:xfrm>
            <a:off x="6347667" y="2440179"/>
            <a:ext cx="423193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Danazol</a:t>
            </a:r>
          </a:p>
        </p:txBody>
      </p: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14ECEB8B-8446-5DE5-A999-27FD60A6A1E8}"/>
              </a:ext>
            </a:extLst>
          </p:cNvPr>
          <p:cNvCxnSpPr/>
          <p:nvPr/>
        </p:nvCxnSpPr>
        <p:spPr>
          <a:xfrm>
            <a:off x="8420675" y="2371787"/>
            <a:ext cx="127439" cy="0"/>
          </a:xfrm>
          <a:prstGeom prst="line">
            <a:avLst/>
          </a:prstGeom>
          <a:ln w="12700" cap="sq">
            <a:solidFill>
              <a:srgbClr val="0076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0" name="Oval 44">
            <a:extLst>
              <a:ext uri="{FF2B5EF4-FFF2-40B4-BE49-F238E27FC236}">
                <a16:creationId xmlns:a16="http://schemas.microsoft.com/office/drawing/2014/main" id="{DC13E63A-CDCD-4B07-7B24-909DB23419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53438" y="2340832"/>
            <a:ext cx="61913" cy="61913"/>
          </a:xfrm>
          <a:prstGeom prst="ellipse">
            <a:avLst/>
          </a:prstGeom>
          <a:solidFill>
            <a:srgbClr val="0076A9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88D90385-FF8F-61C3-4D23-16FFEBACA8DA}"/>
              </a:ext>
            </a:extLst>
          </p:cNvPr>
          <p:cNvSpPr txBox="1"/>
          <p:nvPr/>
        </p:nvSpPr>
        <p:spPr>
          <a:xfrm>
            <a:off x="8595567" y="2302539"/>
            <a:ext cx="621965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en-GB" sz="900" err="1">
                <a:solidFill>
                  <a:prstClr val="black"/>
                </a:solidFill>
                <a:latin typeface="Arial" panose="020B0604020202020204"/>
              </a:rPr>
              <a:t>Momelotinib</a:t>
            </a:r>
            <a:endParaRPr lang="en-GB" sz="900">
              <a:solidFill>
                <a:prstClr val="black"/>
              </a:solidFill>
              <a:latin typeface="Arial" panose="020B0604020202020204"/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6835D8CB-E69E-055B-1421-60F124580366}"/>
              </a:ext>
            </a:extLst>
          </p:cNvPr>
          <p:cNvCxnSpPr/>
          <p:nvPr/>
        </p:nvCxnSpPr>
        <p:spPr>
          <a:xfrm>
            <a:off x="8420675" y="2509427"/>
            <a:ext cx="127439" cy="0"/>
          </a:xfrm>
          <a:prstGeom prst="line">
            <a:avLst/>
          </a:prstGeom>
          <a:ln w="12700" cap="sq">
            <a:solidFill>
              <a:srgbClr val="BFBFB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Oval 44">
            <a:extLst>
              <a:ext uri="{FF2B5EF4-FFF2-40B4-BE49-F238E27FC236}">
                <a16:creationId xmlns:a16="http://schemas.microsoft.com/office/drawing/2014/main" id="{8617A57E-CC40-E6DF-40C8-2913D71F95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53438" y="2478472"/>
            <a:ext cx="61913" cy="61913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9B3BB600-4F07-2ED2-7506-81AC14AAA1AA}"/>
              </a:ext>
            </a:extLst>
          </p:cNvPr>
          <p:cNvSpPr txBox="1"/>
          <p:nvPr/>
        </p:nvSpPr>
        <p:spPr>
          <a:xfrm>
            <a:off x="8595565" y="2440179"/>
            <a:ext cx="1224694" cy="1384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Danazol </a:t>
            </a:r>
            <a:r>
              <a:rPr lang="en-GB"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→ </a:t>
            </a:r>
            <a:r>
              <a:rPr lang="en-GB" sz="90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melotinib</a:t>
            </a:r>
            <a:endParaRPr lang="en-GB" sz="90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5" name="Title 1">
            <a:extLst>
              <a:ext uri="{FF2B5EF4-FFF2-40B4-BE49-F238E27FC236}">
                <a16:creationId xmlns:a16="http://schemas.microsoft.com/office/drawing/2014/main" id="{4C714D6B-9CC9-A95E-4E9F-1A79294FCD7C}"/>
              </a:ext>
            </a:extLst>
          </p:cNvPr>
          <p:cNvSpPr txBox="1">
            <a:spLocks/>
          </p:cNvSpPr>
          <p:nvPr/>
        </p:nvSpPr>
        <p:spPr>
          <a:xfrm>
            <a:off x="5965667" y="1814748"/>
            <a:ext cx="1891903" cy="1840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2557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defTabSz="685800"/>
            <a:r>
              <a:rPr lang="en-US" sz="1050"/>
              <a:t>Double-blind Randomization Period</a:t>
            </a:r>
          </a:p>
        </p:txBody>
      </p:sp>
      <p:sp>
        <p:nvSpPr>
          <p:cNvPr id="256" name="Title 1">
            <a:extLst>
              <a:ext uri="{FF2B5EF4-FFF2-40B4-BE49-F238E27FC236}">
                <a16:creationId xmlns:a16="http://schemas.microsoft.com/office/drawing/2014/main" id="{EF9D97FA-BEC3-ACE3-BFE4-760CD0929ED3}"/>
              </a:ext>
            </a:extLst>
          </p:cNvPr>
          <p:cNvSpPr txBox="1">
            <a:spLocks/>
          </p:cNvSpPr>
          <p:nvPr/>
        </p:nvSpPr>
        <p:spPr>
          <a:xfrm>
            <a:off x="8100973" y="1871638"/>
            <a:ext cx="2296716" cy="1840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2557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defTabSz="685800"/>
            <a:r>
              <a:rPr lang="en-US" sz="1050"/>
              <a:t>Open-label Period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A01EB65-EC55-A6FD-9C4D-5402739D4CAD}"/>
              </a:ext>
            </a:extLst>
          </p:cNvPr>
          <p:cNvCxnSpPr>
            <a:cxnSpLocks/>
          </p:cNvCxnSpPr>
          <p:nvPr/>
        </p:nvCxnSpPr>
        <p:spPr>
          <a:xfrm>
            <a:off x="3124928" y="2152458"/>
            <a:ext cx="0" cy="13328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FE8709D1-BA7F-77EB-6CEC-AC72CE46A36C}"/>
              </a:ext>
            </a:extLst>
          </p:cNvPr>
          <p:cNvCxnSpPr>
            <a:cxnSpLocks/>
          </p:cNvCxnSpPr>
          <p:nvPr/>
        </p:nvCxnSpPr>
        <p:spPr>
          <a:xfrm>
            <a:off x="4429565" y="2152457"/>
            <a:ext cx="0" cy="8840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98249149-0558-6CC1-559B-84578DE8BD4D}"/>
              </a:ext>
            </a:extLst>
          </p:cNvPr>
          <p:cNvCxnSpPr>
            <a:cxnSpLocks/>
          </p:cNvCxnSpPr>
          <p:nvPr/>
        </p:nvCxnSpPr>
        <p:spPr>
          <a:xfrm>
            <a:off x="3123503" y="2152457"/>
            <a:ext cx="13060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F3986509-AF35-1B9D-D6DC-3DC53279A204}"/>
              </a:ext>
            </a:extLst>
          </p:cNvPr>
          <p:cNvCxnSpPr>
            <a:cxnSpLocks/>
          </p:cNvCxnSpPr>
          <p:nvPr/>
        </p:nvCxnSpPr>
        <p:spPr>
          <a:xfrm>
            <a:off x="3783944" y="2055699"/>
            <a:ext cx="0" cy="9675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258">
            <a:extLst>
              <a:ext uri="{FF2B5EF4-FFF2-40B4-BE49-F238E27FC236}">
                <a16:creationId xmlns:a16="http://schemas.microsoft.com/office/drawing/2014/main" id="{09A6EBFF-022D-EC80-2228-8EF52E84CA31}"/>
              </a:ext>
            </a:extLst>
          </p:cNvPr>
          <p:cNvSpPr txBox="1"/>
          <p:nvPr/>
        </p:nvSpPr>
        <p:spPr>
          <a:xfrm>
            <a:off x="3180327" y="1901546"/>
            <a:ext cx="1170193" cy="13849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defTabSz="685800"/>
            <a:r>
              <a:rPr lang="en-GB" sz="900">
                <a:solidFill>
                  <a:prstClr val="black"/>
                </a:solidFill>
                <a:latin typeface="Arial" panose="020B0604020202020204"/>
              </a:rPr>
              <a:t>P=0.0064 (Noninferior)</a:t>
            </a:r>
          </a:p>
        </p:txBody>
      </p:sp>
    </p:spTree>
    <p:extLst>
      <p:ext uri="{BB962C8B-B14F-4D97-AF65-F5344CB8AC3E}">
        <p14:creationId xmlns:p14="http://schemas.microsoft.com/office/powerpoint/2010/main" val="364118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A48520-D783-CB4D-8A6F-AB51345795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5064" y="951370"/>
            <a:ext cx="5915025" cy="783922"/>
          </a:xfrm>
        </p:spPr>
        <p:txBody>
          <a:bodyPr>
            <a:normAutofit/>
          </a:bodyPr>
          <a:lstStyle/>
          <a:p>
            <a:r>
              <a:rPr lang="en-US" sz="2100" dirty="0"/>
              <a:t>Step 1 for MF Management: Optimize JAK Inhibi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E825EF7-3A1F-B244-97C5-A9227EFA3D21}"/>
              </a:ext>
            </a:extLst>
          </p:cNvPr>
          <p:cNvSpPr/>
          <p:nvPr/>
        </p:nvSpPr>
        <p:spPr>
          <a:xfrm>
            <a:off x="3273199" y="4127989"/>
            <a:ext cx="5780315" cy="459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500" dirty="0">
                <a:solidFill>
                  <a:srgbClr val="FFFFFF"/>
                </a:solidFill>
                <a:latin typeface="Goudy Old Style"/>
              </a:rPr>
              <a:t>Clinical Spectrum of MF requiring Therapy (&gt; Symptomatic Low Risk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B56834-3346-5949-8FF8-257A1507F414}"/>
              </a:ext>
            </a:extLst>
          </p:cNvPr>
          <p:cNvSpPr/>
          <p:nvPr/>
        </p:nvSpPr>
        <p:spPr>
          <a:xfrm>
            <a:off x="3273198" y="4678138"/>
            <a:ext cx="1285404" cy="3315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Proliferative 1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C974B19-6242-004F-A1CC-5C1AECB147D1}"/>
              </a:ext>
            </a:extLst>
          </p:cNvPr>
          <p:cNvSpPr/>
          <p:nvPr/>
        </p:nvSpPr>
        <p:spPr>
          <a:xfrm>
            <a:off x="7768109" y="4678138"/>
            <a:ext cx="1285404" cy="3315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AP/BP MF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EBD915D-1DC1-E94B-A3EF-7AAFF24721A0}"/>
              </a:ext>
            </a:extLst>
          </p:cNvPr>
          <p:cNvSpPr/>
          <p:nvPr/>
        </p:nvSpPr>
        <p:spPr>
          <a:xfrm>
            <a:off x="4810596" y="4678138"/>
            <a:ext cx="1285404" cy="3315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Proliferative 2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12BBB7-7488-7745-B7C9-C07DBF998F01}"/>
              </a:ext>
            </a:extLst>
          </p:cNvPr>
          <p:cNvSpPr/>
          <p:nvPr/>
        </p:nvSpPr>
        <p:spPr>
          <a:xfrm>
            <a:off x="6289352" y="4678137"/>
            <a:ext cx="1285404" cy="3315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Cytopenic MF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B76688-B3C2-7449-980B-17A600A71540}"/>
              </a:ext>
            </a:extLst>
          </p:cNvPr>
          <p:cNvSpPr/>
          <p:nvPr/>
        </p:nvSpPr>
        <p:spPr>
          <a:xfrm>
            <a:off x="3279086" y="3144504"/>
            <a:ext cx="1285404" cy="331595"/>
          </a:xfrm>
          <a:prstGeom prst="rect">
            <a:avLst/>
          </a:prstGeom>
          <a:solidFill>
            <a:schemeClr val="accent4">
              <a:lumMod val="50000"/>
            </a:schemeClr>
          </a:solidFill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Dose </a:t>
            </a:r>
            <a:r>
              <a:rPr lang="en-US" sz="1350" dirty="0" err="1">
                <a:solidFill>
                  <a:srgbClr val="FFFFFF"/>
                </a:solidFill>
                <a:latin typeface="Goudy Old Style"/>
              </a:rPr>
              <a:t>Opt</a:t>
            </a:r>
            <a:r>
              <a:rPr lang="en-US" sz="1350" dirty="0">
                <a:solidFill>
                  <a:srgbClr val="FFFFFF"/>
                </a:solidFill>
                <a:latin typeface="Goudy Old Style"/>
              </a:rPr>
              <a:t> RUX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1D0A85-8BD7-E64E-A8A6-DB4CCC0EE50D}"/>
              </a:ext>
            </a:extLst>
          </p:cNvPr>
          <p:cNvSpPr/>
          <p:nvPr/>
        </p:nvSpPr>
        <p:spPr>
          <a:xfrm>
            <a:off x="7773997" y="3144503"/>
            <a:ext cx="1285404" cy="33159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Dose </a:t>
            </a:r>
            <a:r>
              <a:rPr lang="en-US" sz="1350" dirty="0" err="1">
                <a:solidFill>
                  <a:srgbClr val="FFFFFF"/>
                </a:solidFill>
                <a:latin typeface="Goudy Old Style"/>
              </a:rPr>
              <a:t>Opt</a:t>
            </a:r>
            <a:r>
              <a:rPr lang="en-US" sz="1350" dirty="0">
                <a:solidFill>
                  <a:srgbClr val="FFFFFF"/>
                </a:solidFill>
                <a:latin typeface="Goudy Old Style"/>
              </a:rPr>
              <a:t> RUX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1C306B-88C5-BF43-ADA2-FDA86CAAFEFA}"/>
              </a:ext>
            </a:extLst>
          </p:cNvPr>
          <p:cNvSpPr/>
          <p:nvPr/>
        </p:nvSpPr>
        <p:spPr>
          <a:xfrm>
            <a:off x="6295241" y="3159578"/>
            <a:ext cx="1285404" cy="33159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Dose </a:t>
            </a:r>
            <a:r>
              <a:rPr lang="en-US" sz="1350" dirty="0" err="1">
                <a:solidFill>
                  <a:srgbClr val="FFFFFF"/>
                </a:solidFill>
                <a:latin typeface="Goudy Old Style"/>
              </a:rPr>
              <a:t>Opt</a:t>
            </a:r>
            <a:r>
              <a:rPr lang="en-US" sz="1350" dirty="0">
                <a:solidFill>
                  <a:srgbClr val="FFFFFF"/>
                </a:solidFill>
                <a:latin typeface="Goudy Old Style"/>
              </a:rPr>
              <a:t> RUX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B4C6B4F-48CF-E540-9B3D-FA281FED4E6A}"/>
              </a:ext>
            </a:extLst>
          </p:cNvPr>
          <p:cNvSpPr/>
          <p:nvPr/>
        </p:nvSpPr>
        <p:spPr>
          <a:xfrm>
            <a:off x="3279086" y="2689522"/>
            <a:ext cx="1285404" cy="33159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Dose </a:t>
            </a:r>
            <a:r>
              <a:rPr lang="en-US" sz="1350" dirty="0" err="1">
                <a:solidFill>
                  <a:srgbClr val="FFFFFF"/>
                </a:solidFill>
                <a:latin typeface="Goudy Old Style"/>
              </a:rPr>
              <a:t>Opt</a:t>
            </a:r>
            <a:r>
              <a:rPr lang="en-US" sz="1350" dirty="0">
                <a:solidFill>
                  <a:srgbClr val="FFFFFF"/>
                </a:solidFill>
                <a:latin typeface="Goudy Old Style"/>
              </a:rPr>
              <a:t> FED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3D90E35-8E67-1645-80AF-016AA3444ECB}"/>
              </a:ext>
            </a:extLst>
          </p:cNvPr>
          <p:cNvSpPr/>
          <p:nvPr/>
        </p:nvSpPr>
        <p:spPr>
          <a:xfrm>
            <a:off x="7773997" y="2689521"/>
            <a:ext cx="1285404" cy="33159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Dose </a:t>
            </a:r>
            <a:r>
              <a:rPr lang="en-US" sz="1350" dirty="0" err="1">
                <a:solidFill>
                  <a:srgbClr val="FFFFFF"/>
                </a:solidFill>
                <a:latin typeface="Goudy Old Style"/>
              </a:rPr>
              <a:t>Opt</a:t>
            </a:r>
            <a:r>
              <a:rPr lang="en-US" sz="1350" dirty="0">
                <a:solidFill>
                  <a:srgbClr val="FFFFFF"/>
                </a:solidFill>
                <a:latin typeface="Goudy Old Style"/>
              </a:rPr>
              <a:t> FED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3D31F8-6911-0E45-964D-962581E7251A}"/>
              </a:ext>
            </a:extLst>
          </p:cNvPr>
          <p:cNvSpPr/>
          <p:nvPr/>
        </p:nvSpPr>
        <p:spPr>
          <a:xfrm>
            <a:off x="4816484" y="2689521"/>
            <a:ext cx="1285404" cy="33159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Dose </a:t>
            </a:r>
            <a:r>
              <a:rPr lang="en-US" sz="1350" dirty="0" err="1">
                <a:solidFill>
                  <a:srgbClr val="FFFFFF"/>
                </a:solidFill>
                <a:latin typeface="Goudy Old Style"/>
              </a:rPr>
              <a:t>Opt</a:t>
            </a:r>
            <a:r>
              <a:rPr lang="en-US" sz="1350" dirty="0">
                <a:solidFill>
                  <a:srgbClr val="FFFFFF"/>
                </a:solidFill>
                <a:latin typeface="Goudy Old Style"/>
              </a:rPr>
              <a:t> FED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D775C92-74E1-8D48-9EEA-273CDDFEA2BF}"/>
              </a:ext>
            </a:extLst>
          </p:cNvPr>
          <p:cNvSpPr/>
          <p:nvPr/>
        </p:nvSpPr>
        <p:spPr>
          <a:xfrm>
            <a:off x="6295241" y="2689520"/>
            <a:ext cx="1285404" cy="33159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Dose </a:t>
            </a:r>
            <a:r>
              <a:rPr lang="en-US" sz="1350" dirty="0" err="1">
                <a:solidFill>
                  <a:srgbClr val="FFFFFF"/>
                </a:solidFill>
                <a:latin typeface="Goudy Old Style"/>
              </a:rPr>
              <a:t>Opt</a:t>
            </a:r>
            <a:r>
              <a:rPr lang="en-US" sz="1350" dirty="0">
                <a:solidFill>
                  <a:srgbClr val="FFFFFF"/>
                </a:solidFill>
                <a:latin typeface="Goudy Old Style"/>
              </a:rPr>
              <a:t> FED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59791B-0694-0F4B-9836-211BB993F447}"/>
              </a:ext>
            </a:extLst>
          </p:cNvPr>
          <p:cNvSpPr/>
          <p:nvPr/>
        </p:nvSpPr>
        <p:spPr>
          <a:xfrm>
            <a:off x="3286622" y="2219463"/>
            <a:ext cx="1285404" cy="33159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 err="1">
                <a:solidFill>
                  <a:srgbClr val="000000"/>
                </a:solidFill>
                <a:latin typeface="Goudy Old Style"/>
              </a:rPr>
              <a:t>Pacritinib</a:t>
            </a:r>
            <a:endParaRPr lang="en-US" sz="1350" dirty="0">
              <a:solidFill>
                <a:srgbClr val="000000"/>
              </a:solidFill>
              <a:latin typeface="Goudy Old Style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47596D5-2694-1341-AA14-CE4319C231E7}"/>
              </a:ext>
            </a:extLst>
          </p:cNvPr>
          <p:cNvSpPr/>
          <p:nvPr/>
        </p:nvSpPr>
        <p:spPr>
          <a:xfrm>
            <a:off x="7781533" y="2219462"/>
            <a:ext cx="1285404" cy="33159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 err="1">
                <a:solidFill>
                  <a:srgbClr val="FFFFFF"/>
                </a:solidFill>
                <a:latin typeface="Goudy Old Style"/>
              </a:rPr>
              <a:t>Pacritinib</a:t>
            </a:r>
            <a:endParaRPr lang="en-US" sz="1350" dirty="0">
              <a:solidFill>
                <a:srgbClr val="FFFFFF"/>
              </a:solidFill>
              <a:latin typeface="Goudy Old Style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2F4BD5E-0AEF-C341-A1BB-CE02F0301B63}"/>
              </a:ext>
            </a:extLst>
          </p:cNvPr>
          <p:cNvSpPr/>
          <p:nvPr/>
        </p:nvSpPr>
        <p:spPr>
          <a:xfrm>
            <a:off x="6319498" y="2219462"/>
            <a:ext cx="1285404" cy="331595"/>
          </a:xfrm>
          <a:prstGeom prst="rect">
            <a:avLst/>
          </a:prstGeom>
          <a:solidFill>
            <a:schemeClr val="accent2">
              <a:lumMod val="50000"/>
            </a:schemeClr>
          </a:solidFill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 err="1">
                <a:solidFill>
                  <a:srgbClr val="FFFFFF"/>
                </a:solidFill>
                <a:latin typeface="Goudy Old Style"/>
              </a:rPr>
              <a:t>Pacritinib</a:t>
            </a:r>
            <a:endParaRPr lang="en-US" sz="1350" dirty="0">
              <a:solidFill>
                <a:srgbClr val="FFFFFF"/>
              </a:solidFill>
              <a:latin typeface="Goudy Old Style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E559182-9855-F940-8D8C-08B43374C8E5}"/>
              </a:ext>
            </a:extLst>
          </p:cNvPr>
          <p:cNvSpPr/>
          <p:nvPr/>
        </p:nvSpPr>
        <p:spPr>
          <a:xfrm>
            <a:off x="4803060" y="2219462"/>
            <a:ext cx="1285404" cy="33159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 err="1">
                <a:solidFill>
                  <a:srgbClr val="FFFFFF"/>
                </a:solidFill>
                <a:latin typeface="Goudy Old Style"/>
              </a:rPr>
              <a:t>Pacritinib</a:t>
            </a:r>
            <a:endParaRPr lang="en-US" sz="1350" dirty="0">
              <a:solidFill>
                <a:srgbClr val="FFFFFF"/>
              </a:solidFill>
              <a:latin typeface="Goudy Old Style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C9CCE9-808F-D643-B984-2DE8E4D4FFA4}"/>
              </a:ext>
            </a:extLst>
          </p:cNvPr>
          <p:cNvSpPr/>
          <p:nvPr/>
        </p:nvSpPr>
        <p:spPr>
          <a:xfrm>
            <a:off x="3286622" y="1735295"/>
            <a:ext cx="1285404" cy="33159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 err="1">
                <a:solidFill>
                  <a:srgbClr val="000000"/>
                </a:solidFill>
                <a:latin typeface="Goudy Old Style"/>
              </a:rPr>
              <a:t>Momelotinib</a:t>
            </a:r>
            <a:endParaRPr lang="en-US" sz="1350" dirty="0">
              <a:solidFill>
                <a:srgbClr val="000000"/>
              </a:solidFill>
              <a:latin typeface="Goudy Old Style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544B3E-D7F1-9143-871A-732CF0D590A3}"/>
              </a:ext>
            </a:extLst>
          </p:cNvPr>
          <p:cNvSpPr/>
          <p:nvPr/>
        </p:nvSpPr>
        <p:spPr>
          <a:xfrm>
            <a:off x="7781533" y="1735294"/>
            <a:ext cx="1285404" cy="33159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 err="1">
                <a:solidFill>
                  <a:srgbClr val="FFFFFF"/>
                </a:solidFill>
                <a:latin typeface="Goudy Old Style"/>
              </a:rPr>
              <a:t>Momelotinib</a:t>
            </a:r>
            <a:endParaRPr lang="en-US" sz="1350" dirty="0">
              <a:solidFill>
                <a:srgbClr val="FFFFFF"/>
              </a:solidFill>
              <a:latin typeface="Goudy Old Style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AAB37D4-D286-3249-88F2-D7E35BC98ECD}"/>
              </a:ext>
            </a:extLst>
          </p:cNvPr>
          <p:cNvSpPr/>
          <p:nvPr/>
        </p:nvSpPr>
        <p:spPr>
          <a:xfrm>
            <a:off x="6319498" y="1735293"/>
            <a:ext cx="1285404" cy="33159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 err="1">
                <a:solidFill>
                  <a:srgbClr val="FFFFFF"/>
                </a:solidFill>
                <a:latin typeface="Goudy Old Style"/>
              </a:rPr>
              <a:t>Momelotinib</a:t>
            </a:r>
            <a:endParaRPr lang="en-US" sz="1350" dirty="0">
              <a:solidFill>
                <a:srgbClr val="FFFFFF"/>
              </a:solidFill>
              <a:latin typeface="Goudy Old Style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F213324-8BBF-344E-98C8-BF742B926F14}"/>
              </a:ext>
            </a:extLst>
          </p:cNvPr>
          <p:cNvSpPr/>
          <p:nvPr/>
        </p:nvSpPr>
        <p:spPr>
          <a:xfrm>
            <a:off x="4803060" y="1735294"/>
            <a:ext cx="1285404" cy="33159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 err="1">
                <a:solidFill>
                  <a:srgbClr val="FFFFFF"/>
                </a:solidFill>
                <a:latin typeface="Goudy Old Style"/>
              </a:rPr>
              <a:t>Momelotinib</a:t>
            </a:r>
            <a:endParaRPr lang="en-US" sz="1350" dirty="0">
              <a:solidFill>
                <a:srgbClr val="FFFFFF"/>
              </a:solidFill>
              <a:latin typeface="Goudy Old Style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28EF2F3-9D45-B841-A984-5809D97C5B7C}"/>
              </a:ext>
            </a:extLst>
          </p:cNvPr>
          <p:cNvGrpSpPr/>
          <p:nvPr/>
        </p:nvGrpSpPr>
        <p:grpSpPr>
          <a:xfrm>
            <a:off x="2667000" y="938103"/>
            <a:ext cx="6858000" cy="2463210"/>
            <a:chOff x="0" y="715110"/>
            <a:chExt cx="9144000" cy="3284281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4325C10-91CF-904E-80CB-69E6DE3B980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331218"/>
              <a:ext cx="9144000" cy="0"/>
            </a:xfrm>
            <a:prstGeom prst="line">
              <a:avLst/>
            </a:prstGeom>
            <a:ln w="57150"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FDC2294-9768-C64E-84F7-E3ADF8E579EC}"/>
                </a:ext>
              </a:extLst>
            </p:cNvPr>
            <p:cNvSpPr txBox="1"/>
            <p:nvPr/>
          </p:nvSpPr>
          <p:spPr>
            <a:xfrm rot="16200000">
              <a:off x="-454485" y="2987874"/>
              <a:ext cx="1622924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>
                <a:defRPr/>
              </a:pPr>
              <a:r>
                <a:rPr lang="en-US" sz="1350" dirty="0">
                  <a:solidFill>
                    <a:srgbClr val="BC4800"/>
                  </a:solidFill>
                  <a:latin typeface="Goudy Old Style"/>
                </a:rPr>
                <a:t>FDA Approved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4259D1B-61CF-8A4B-A6D5-6C3AD6D09ADA}"/>
                </a:ext>
              </a:extLst>
            </p:cNvPr>
            <p:cNvSpPr txBox="1"/>
            <p:nvPr/>
          </p:nvSpPr>
          <p:spPr>
            <a:xfrm rot="16200000">
              <a:off x="-424220" y="1159977"/>
              <a:ext cx="1566841" cy="6771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>
                <a:defRPr/>
              </a:pPr>
              <a:r>
                <a:rPr lang="en-US" sz="1350" dirty="0">
                  <a:solidFill>
                    <a:srgbClr val="BC4800"/>
                  </a:solidFill>
                  <a:latin typeface="Goudy Old Style"/>
                </a:rPr>
                <a:t>FDA Approval</a:t>
              </a:r>
            </a:p>
            <a:p>
              <a:pPr defTabSz="685800">
                <a:defRPr/>
              </a:pPr>
              <a:r>
                <a:rPr lang="en-US" sz="1350" dirty="0">
                  <a:solidFill>
                    <a:srgbClr val="BC4800"/>
                  </a:solidFill>
                  <a:latin typeface="Goudy Old Style"/>
                </a:rPr>
                <a:t>Pend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1743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768572" y="409442"/>
            <a:ext cx="8243716" cy="377024"/>
          </a:xfrm>
          <a:prstGeom prst="rect">
            <a:avLst/>
          </a:prstGeom>
          <a:noFill/>
        </p:spPr>
        <p:txBody>
          <a:bodyPr wrap="none" lIns="68541" tIns="34289" rIns="68541" bIns="34289" rtlCol="0">
            <a:spAutoFit/>
          </a:bodyPr>
          <a:lstStyle/>
          <a:p>
            <a:pPr defTabSz="68535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1D366C"/>
                </a:solidFill>
                <a:latin typeface="Calibri" panose="020F0502020204030204" pitchFamily="34" charset="0"/>
              </a:rPr>
              <a:t>A selection of novel agents/targets being developed in MPN particularly MF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81D45CD-73BD-3F45-B9AA-095C043F5D21}"/>
              </a:ext>
            </a:extLst>
          </p:cNvPr>
          <p:cNvGrpSpPr/>
          <p:nvPr/>
        </p:nvGrpSpPr>
        <p:grpSpPr>
          <a:xfrm>
            <a:off x="1574373" y="1234984"/>
            <a:ext cx="9043254" cy="4382287"/>
            <a:chOff x="2048696" y="1333343"/>
            <a:chExt cx="8405996" cy="4073477"/>
          </a:xfrm>
        </p:grpSpPr>
        <p:graphicFrame>
          <p:nvGraphicFramePr>
            <p:cNvPr id="7" name="Chart 6">
              <a:extLst>
                <a:ext uri="{FF2B5EF4-FFF2-40B4-BE49-F238E27FC236}">
                  <a16:creationId xmlns:a16="http://schemas.microsoft.com/office/drawing/2014/main" id="{913711EA-3FB4-4ABE-B5AB-13F15247739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782511728"/>
                </p:ext>
              </p:extLst>
            </p:nvPr>
          </p:nvGraphicFramePr>
          <p:xfrm>
            <a:off x="3355154" y="1333343"/>
            <a:ext cx="4640141" cy="379379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572026F-50FC-465B-B4CE-A2E38B7B09CB}"/>
                </a:ext>
              </a:extLst>
            </p:cNvPr>
            <p:cNvGrpSpPr/>
            <p:nvPr/>
          </p:nvGrpSpPr>
          <p:grpSpPr>
            <a:xfrm>
              <a:off x="8033527" y="1493161"/>
              <a:ext cx="2013414" cy="614906"/>
              <a:chOff x="590699" y="4715293"/>
              <a:chExt cx="2684552" cy="819875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6026371-BD02-4AD3-B16D-C11B18C29603}"/>
                  </a:ext>
                </a:extLst>
              </p:cNvPr>
              <p:cNvSpPr/>
              <p:nvPr/>
            </p:nvSpPr>
            <p:spPr>
              <a:xfrm>
                <a:off x="921498" y="5006393"/>
                <a:ext cx="2353753" cy="528775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36000" rIns="36000" bIns="36000" rtlCol="0" anchor="t">
                <a:spAutoFit/>
              </a:bodyPr>
              <a:lstStyle/>
              <a:p>
                <a:pPr defTabSz="685341" eaLnBrk="0" fontAlgn="base" hangingPunct="0"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GB" sz="900" dirty="0">
                    <a:solidFill>
                      <a:srgbClr val="000000"/>
                    </a:solidFill>
                    <a:latin typeface="Calibri" panose="020F0502020204030204"/>
                  </a:rPr>
                  <a:t>KRT-232 </a:t>
                </a:r>
              </a:p>
              <a:p>
                <a:pPr defTabSz="685341" eaLnBrk="0" fontAlgn="base" hangingPunct="0"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GB" sz="900" dirty="0" err="1">
                    <a:solidFill>
                      <a:srgbClr val="000000"/>
                    </a:solidFill>
                    <a:latin typeface="Calibri" panose="020F0502020204030204"/>
                  </a:rPr>
                  <a:t>Idasanutlin</a:t>
                </a:r>
                <a:r>
                  <a:rPr lang="en-GB" sz="900" dirty="0">
                    <a:solidFill>
                      <a:srgbClr val="000000"/>
                    </a:solidFill>
                    <a:latin typeface="Calibri" panose="020F0502020204030204"/>
                  </a:rPr>
                  <a:t> / RG7388 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CF6FA39D-F37D-4268-931D-F195EC9DDC41}"/>
                  </a:ext>
                </a:extLst>
              </p:cNvPr>
              <p:cNvSpPr/>
              <p:nvPr/>
            </p:nvSpPr>
            <p:spPr>
              <a:xfrm>
                <a:off x="590699" y="4715293"/>
                <a:ext cx="87" cy="287259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defTabSz="68534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400" b="1" dirty="0">
                  <a:solidFill>
                    <a:srgbClr val="1D366C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E6A8FFF-E082-4969-B346-8ADFF9D1542C}"/>
                </a:ext>
              </a:extLst>
            </p:cNvPr>
            <p:cNvSpPr txBox="1"/>
            <p:nvPr/>
          </p:nvSpPr>
          <p:spPr>
            <a:xfrm>
              <a:off x="5292303" y="3076591"/>
              <a:ext cx="1219615" cy="300080"/>
            </a:xfrm>
            <a:prstGeom prst="rect">
              <a:avLst/>
            </a:prstGeom>
            <a:noFill/>
          </p:spPr>
          <p:txBody>
            <a:bodyPr wrap="none" lIns="68541" tIns="34289" rIns="68541" bIns="34289" rtlCol="0">
              <a:spAutoFit/>
            </a:bodyPr>
            <a:lstStyle/>
            <a:p>
              <a:pPr algn="ctr" defTabSz="685341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500" b="1" dirty="0">
                  <a:solidFill>
                    <a:srgbClr val="000000"/>
                  </a:solidFill>
                  <a:latin typeface="Calibri Light" panose="020F0302020204030204"/>
                </a:rPr>
                <a:t>+/- Ruxolitinib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AF0A11F-DD06-4AF3-8DDD-EF0DD0FE27F5}"/>
                </a:ext>
              </a:extLst>
            </p:cNvPr>
            <p:cNvSpPr/>
            <p:nvPr/>
          </p:nvSpPr>
          <p:spPr>
            <a:xfrm>
              <a:off x="2296796" y="4409141"/>
              <a:ext cx="1848362" cy="894976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26999" rIns="26999" bIns="26999" rtlCol="0" anchor="t"/>
            <a:lstStyle/>
            <a:p>
              <a:pPr defTabSz="685341" eaLnBrk="0" fontAlgn="base" hangingPunct="0">
                <a:spcBef>
                  <a:spcPts val="600"/>
                </a:spcBef>
                <a:spcAft>
                  <a:spcPct val="0"/>
                </a:spcAft>
                <a:defRPr/>
              </a:pPr>
              <a:r>
                <a:rPr lang="en-GB" sz="900" dirty="0" err="1">
                  <a:solidFill>
                    <a:srgbClr val="FF0000"/>
                  </a:solidFill>
                  <a:latin typeface="Calibri" panose="020F0502020204030204"/>
                </a:rPr>
                <a:t>Fedratinib</a:t>
              </a:r>
              <a:r>
                <a:rPr lang="en-GB" sz="900" dirty="0">
                  <a:solidFill>
                    <a:srgbClr val="FF0000"/>
                  </a:solidFill>
                  <a:latin typeface="Calibri" panose="020F0502020204030204"/>
                </a:rPr>
                <a:t> | JAK2 </a:t>
              </a:r>
            </a:p>
            <a:p>
              <a:pPr defTabSz="685341" eaLnBrk="0" fontAlgn="base" hangingPunct="0">
                <a:spcBef>
                  <a:spcPts val="600"/>
                </a:spcBef>
                <a:spcAft>
                  <a:spcPct val="0"/>
                </a:spcAft>
                <a:defRPr/>
              </a:pPr>
              <a:r>
                <a:rPr lang="en-GB" sz="900" dirty="0" err="1">
                  <a:solidFill>
                    <a:srgbClr val="FF0000"/>
                  </a:solidFill>
                  <a:latin typeface="Calibri" panose="020F0502020204030204"/>
                </a:rPr>
                <a:t>Pacritinib</a:t>
              </a:r>
              <a:r>
                <a:rPr lang="en-GB" sz="900" dirty="0">
                  <a:solidFill>
                    <a:srgbClr val="FF0000"/>
                  </a:solidFill>
                  <a:latin typeface="Calibri" panose="020F0502020204030204"/>
                </a:rPr>
                <a:t> | JAK2/FLT3 </a:t>
              </a:r>
            </a:p>
            <a:p>
              <a:pPr defTabSz="685341" eaLnBrk="0" fontAlgn="base" hangingPunct="0">
                <a:spcBef>
                  <a:spcPts val="600"/>
                </a:spcBef>
                <a:spcAft>
                  <a:spcPct val="0"/>
                </a:spcAft>
                <a:defRPr/>
              </a:pPr>
              <a:r>
                <a:rPr lang="en-GB" sz="900" dirty="0" err="1">
                  <a:solidFill>
                    <a:srgbClr val="FF0000"/>
                  </a:solidFill>
                  <a:latin typeface="Calibri" panose="020F0502020204030204"/>
                </a:rPr>
                <a:t>Momelotinib</a:t>
              </a:r>
              <a:r>
                <a:rPr lang="en-GB" sz="900" dirty="0">
                  <a:solidFill>
                    <a:srgbClr val="FF0000"/>
                  </a:solidFill>
                  <a:latin typeface="Calibri" panose="020F0502020204030204"/>
                </a:rPr>
                <a:t> | JAK2/1/ACVR1 </a:t>
              </a:r>
            </a:p>
            <a:p>
              <a:pPr defTabSz="685341" eaLnBrk="0" fontAlgn="base" hangingPunct="0">
                <a:spcBef>
                  <a:spcPts val="600"/>
                </a:spcBef>
                <a:spcAft>
                  <a:spcPct val="0"/>
                </a:spcAft>
                <a:defRPr/>
              </a:pPr>
              <a:r>
                <a:rPr lang="en-GB" sz="900" dirty="0" err="1">
                  <a:solidFill>
                    <a:srgbClr val="000000"/>
                  </a:solidFill>
                  <a:latin typeface="Calibri" panose="020F0502020204030204"/>
                </a:rPr>
                <a:t>Itacitinib</a:t>
              </a:r>
              <a:r>
                <a:rPr lang="en-GB" sz="900" dirty="0">
                  <a:solidFill>
                    <a:srgbClr val="000000"/>
                  </a:solidFill>
                  <a:latin typeface="Calibri" panose="020F0502020204030204"/>
                </a:rPr>
                <a:t> | JAK1 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ADD4167D-AA8E-42A6-B85E-836B73BD3428}"/>
                </a:ext>
              </a:extLst>
            </p:cNvPr>
            <p:cNvSpPr/>
            <p:nvPr/>
          </p:nvSpPr>
          <p:spPr>
            <a:xfrm>
              <a:off x="2048726" y="4157398"/>
              <a:ext cx="1115049" cy="24622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defTabSz="685341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fld id="{0E8AAEDC-7E3C-448F-AB18-7650701377E0}" type="CATEGORYNAME">
                <a:rPr lang="en-US" sz="1600" b="1" u="sng">
                  <a:solidFill>
                    <a:srgbClr val="FF0000"/>
                  </a:solidFill>
                  <a:latin typeface="Calibri Light" panose="020F0302020204030204"/>
                </a:rPr>
                <a:pPr defTabSz="68534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t>Next-gen JAKi</a:t>
              </a:fld>
              <a:endParaRPr lang="en-US" sz="1600" b="1" u="sng" dirty="0">
                <a:solidFill>
                  <a:srgbClr val="FF0000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3A7C0DBD-2FD8-459B-8FD9-FFCB031E7B9E}"/>
                </a:ext>
              </a:extLst>
            </p:cNvPr>
            <p:cNvGrpSpPr/>
            <p:nvPr/>
          </p:nvGrpSpPr>
          <p:grpSpPr>
            <a:xfrm>
              <a:off x="2048731" y="3144840"/>
              <a:ext cx="2096461" cy="848524"/>
              <a:chOff x="590699" y="3377031"/>
              <a:chExt cx="2795281" cy="1131365"/>
            </a:xfrm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3AFEA924-ECC1-4ABE-BA19-C84881DF6471}"/>
                  </a:ext>
                </a:extLst>
              </p:cNvPr>
              <p:cNvSpPr/>
              <p:nvPr/>
            </p:nvSpPr>
            <p:spPr>
              <a:xfrm>
                <a:off x="953228" y="3645695"/>
                <a:ext cx="2432752" cy="862701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36000" rIns="36000" bIns="36000" rtlCol="0" anchor="t"/>
              <a:lstStyle/>
              <a:p>
                <a:pPr defTabSz="685341" eaLnBrk="0" fontAlgn="base" hangingPunct="0"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GB" sz="900" dirty="0" err="1">
                    <a:solidFill>
                      <a:srgbClr val="1D366C"/>
                    </a:solidFill>
                    <a:latin typeface="Calibri" panose="020F0502020204030204"/>
                  </a:rPr>
                  <a:t>Glasdegib</a:t>
                </a:r>
                <a:r>
                  <a:rPr lang="en-GB" sz="900" dirty="0">
                    <a:solidFill>
                      <a:srgbClr val="1D366C"/>
                    </a:solidFill>
                    <a:latin typeface="Calibri" panose="020F0502020204030204"/>
                  </a:rPr>
                  <a:t> | Hedgehog </a:t>
                </a:r>
              </a:p>
              <a:p>
                <a:pPr defTabSz="685341" eaLnBrk="0" fontAlgn="base" hangingPunct="0"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GB" sz="900" dirty="0" err="1">
                    <a:solidFill>
                      <a:srgbClr val="1D366C"/>
                    </a:solidFill>
                    <a:latin typeface="Calibri" panose="020F0502020204030204"/>
                  </a:rPr>
                  <a:t>Sonidegib</a:t>
                </a:r>
                <a:r>
                  <a:rPr lang="en-GB" sz="900" dirty="0">
                    <a:solidFill>
                      <a:srgbClr val="1D366C"/>
                    </a:solidFill>
                    <a:latin typeface="Calibri" panose="020F0502020204030204"/>
                  </a:rPr>
                  <a:t> | Hedgehog </a:t>
                </a:r>
              </a:p>
              <a:p>
                <a:pPr defTabSz="685341" eaLnBrk="0" fontAlgn="base" hangingPunct="0"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GB" sz="900" dirty="0">
                    <a:solidFill>
                      <a:srgbClr val="000000"/>
                    </a:solidFill>
                    <a:latin typeface="Calibri" panose="020F0502020204030204"/>
                  </a:rPr>
                  <a:t>INCB’465 | PI3Ki  </a:t>
                </a:r>
              </a:p>
              <a:p>
                <a:pPr defTabSz="685341" eaLnBrk="0" fontAlgn="base" hangingPunct="0"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GB" sz="900" dirty="0">
                    <a:solidFill>
                      <a:srgbClr val="000000"/>
                    </a:solidFill>
                    <a:latin typeface="Calibri" panose="020F0502020204030204"/>
                  </a:rPr>
                  <a:t>LCL1 I SMAC/IAP 	</a:t>
                </a:r>
              </a:p>
            </p:txBody>
          </p: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867248D3-9CB5-4B0C-A4CF-80657B10E0CA}"/>
                  </a:ext>
                </a:extLst>
              </p:cNvPr>
              <p:cNvSpPr/>
              <p:nvPr/>
            </p:nvSpPr>
            <p:spPr>
              <a:xfrm>
                <a:off x="590699" y="3377031"/>
                <a:ext cx="1149888" cy="246221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defTabSz="68534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b="1" dirty="0">
                    <a:solidFill>
                      <a:srgbClr val="E7E6E6">
                        <a:lumMod val="50000"/>
                      </a:srgbClr>
                    </a:solidFill>
                    <a:latin typeface="Calibri Light" panose="020F0302020204030204"/>
                  </a:rPr>
                  <a:t>Signaling / TKI</a:t>
                </a:r>
                <a:endParaRPr lang="en-US" sz="1200" b="1" dirty="0">
                  <a:solidFill>
                    <a:srgbClr val="E7E6E6">
                      <a:lumMod val="50000"/>
                    </a:srgbClr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31FAE2D4-42B9-4E41-8B91-574ADD939EDB}"/>
                </a:ext>
              </a:extLst>
            </p:cNvPr>
            <p:cNvGrpSpPr/>
            <p:nvPr/>
          </p:nvGrpSpPr>
          <p:grpSpPr>
            <a:xfrm>
              <a:off x="2048696" y="2653306"/>
              <a:ext cx="2096462" cy="450656"/>
              <a:chOff x="590699" y="2248476"/>
              <a:chExt cx="2795282" cy="600875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D691A8D8-F308-4519-87A9-A75F3E94F88A}"/>
                  </a:ext>
                </a:extLst>
              </p:cNvPr>
              <p:cNvSpPr/>
              <p:nvPr/>
            </p:nvSpPr>
            <p:spPr>
              <a:xfrm>
                <a:off x="953229" y="2492375"/>
                <a:ext cx="2432752" cy="356976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36000" rIns="36000" bIns="36000" rtlCol="0" anchor="ctr"/>
              <a:lstStyle/>
              <a:p>
                <a:pPr defTabSz="685341" eaLnBrk="0" fontAlgn="base" hangingPunct="0">
                  <a:spcBef>
                    <a:spcPts val="450"/>
                  </a:spcBef>
                  <a:spcAft>
                    <a:spcPct val="0"/>
                  </a:spcAft>
                  <a:defRPr/>
                </a:pPr>
                <a:r>
                  <a:rPr lang="en-GB" sz="900" dirty="0">
                    <a:solidFill>
                      <a:srgbClr val="000000"/>
                    </a:solidFill>
                    <a:latin typeface="Calibri" panose="020F0502020204030204"/>
                  </a:rPr>
                  <a:t>SL-401 | CD123-toxin </a:t>
                </a:r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A741E699-37F2-464D-AFED-21DE7B6A0B04}"/>
                  </a:ext>
                </a:extLst>
              </p:cNvPr>
              <p:cNvSpPr/>
              <p:nvPr/>
            </p:nvSpPr>
            <p:spPr>
              <a:xfrm>
                <a:off x="590699" y="2248476"/>
                <a:ext cx="1529736" cy="246221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defTabSz="68534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b="1" dirty="0">
                    <a:solidFill>
                      <a:srgbClr val="E7E6E6">
                        <a:lumMod val="50000"/>
                      </a:srgbClr>
                    </a:solidFill>
                    <a:latin typeface="Calibri Light" panose="020F0302020204030204"/>
                  </a:rPr>
                  <a:t>Receptor Ab / ADC</a:t>
                </a:r>
                <a:endParaRPr lang="en-US" sz="1200" b="1" dirty="0">
                  <a:solidFill>
                    <a:srgbClr val="E7E6E6">
                      <a:lumMod val="50000"/>
                    </a:srgbClr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EAFC3D5B-1CCD-45F3-A911-AB292DDAB51D}"/>
                </a:ext>
              </a:extLst>
            </p:cNvPr>
            <p:cNvGrpSpPr/>
            <p:nvPr/>
          </p:nvGrpSpPr>
          <p:grpSpPr>
            <a:xfrm>
              <a:off x="2048696" y="2168509"/>
              <a:ext cx="2096462" cy="450656"/>
              <a:chOff x="590699" y="2223076"/>
              <a:chExt cx="2795282" cy="600875"/>
            </a:xfrm>
          </p:grpSpPr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2E86C89C-0C41-45F8-91C3-9F638775B61C}"/>
                  </a:ext>
                </a:extLst>
              </p:cNvPr>
              <p:cNvSpPr/>
              <p:nvPr/>
            </p:nvSpPr>
            <p:spPr>
              <a:xfrm>
                <a:off x="953229" y="2466975"/>
                <a:ext cx="2432752" cy="356976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36000" rIns="36000" bIns="36000" rtlCol="0" anchor="ctr"/>
              <a:lstStyle/>
              <a:p>
                <a:pPr defTabSz="685341" eaLnBrk="0" fontAlgn="base" hangingPunct="0">
                  <a:spcBef>
                    <a:spcPts val="450"/>
                  </a:spcBef>
                  <a:spcAft>
                    <a:spcPct val="0"/>
                  </a:spcAft>
                  <a:defRPr/>
                </a:pPr>
                <a:r>
                  <a:rPr lang="en-GB" sz="900" dirty="0">
                    <a:solidFill>
                      <a:srgbClr val="000000"/>
                    </a:solidFill>
                    <a:latin typeface="Calibri" panose="020F0502020204030204"/>
                  </a:rPr>
                  <a:t>PRM-151 | Pentraxin-2 </a:t>
                </a: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270DC1F7-EB6C-4F42-BC76-EAE199ED903B}"/>
                  </a:ext>
                </a:extLst>
              </p:cNvPr>
              <p:cNvSpPr/>
              <p:nvPr/>
            </p:nvSpPr>
            <p:spPr>
              <a:xfrm>
                <a:off x="590699" y="2223076"/>
                <a:ext cx="981636" cy="246221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defTabSz="68534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b="1" dirty="0">
                    <a:solidFill>
                      <a:srgbClr val="E7E6E6">
                        <a:lumMod val="50000"/>
                      </a:srgbClr>
                    </a:solidFill>
                    <a:latin typeface="Calibri Light" panose="020F0302020204030204"/>
                  </a:rPr>
                  <a:t>Anti-fibrotic</a:t>
                </a:r>
                <a:endParaRPr lang="en-US" sz="1200" b="1" dirty="0">
                  <a:solidFill>
                    <a:srgbClr val="E7E6E6">
                      <a:lumMod val="50000"/>
                    </a:srgbClr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C2AFC110-657B-42C3-9938-B355794277B0}"/>
                </a:ext>
              </a:extLst>
            </p:cNvPr>
            <p:cNvSpPr/>
            <p:nvPr/>
          </p:nvSpPr>
          <p:spPr>
            <a:xfrm>
              <a:off x="2320595" y="1660037"/>
              <a:ext cx="1967366" cy="267732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26999" rIns="26999" bIns="26999" rtlCol="0" anchor="ctr"/>
            <a:lstStyle/>
            <a:p>
              <a:pPr defTabSz="685341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dirty="0">
                  <a:solidFill>
                    <a:srgbClr val="000000"/>
                  </a:solidFill>
                  <a:latin typeface="Calibri" panose="020F0502020204030204"/>
                </a:rPr>
                <a:t>Imetelstat | Telomerase Inhibitor </a:t>
              </a:r>
            </a:p>
            <a:p>
              <a:pPr defTabSz="685341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18AEA0F5-CE96-43EC-AC4F-4AF2BB74F40C}"/>
                </a:ext>
              </a:extLst>
            </p:cNvPr>
            <p:cNvSpPr/>
            <p:nvPr/>
          </p:nvSpPr>
          <p:spPr>
            <a:xfrm>
              <a:off x="2048729" y="1446889"/>
              <a:ext cx="1306320" cy="184666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defTabSz="685341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dirty="0">
                  <a:solidFill>
                    <a:srgbClr val="E7E6E6">
                      <a:lumMod val="50000"/>
                    </a:srgbClr>
                  </a:solidFill>
                  <a:latin typeface="Calibri Light" panose="020F0302020204030204"/>
                </a:rPr>
                <a:t>Cell-cycle Checkpoint</a:t>
              </a:r>
              <a:endParaRPr lang="en-US" sz="1200" b="1" dirty="0">
                <a:solidFill>
                  <a:srgbClr val="E7E6E6">
                    <a:lumMod val="50000"/>
                  </a:srgb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BFE7DA64-E2B2-4F1F-8ED2-DDFBD5291127}"/>
                </a:ext>
              </a:extLst>
            </p:cNvPr>
            <p:cNvSpPr/>
            <p:nvPr/>
          </p:nvSpPr>
          <p:spPr>
            <a:xfrm>
              <a:off x="2306321" y="1936634"/>
              <a:ext cx="2154464" cy="267732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26999" rIns="26999" bIns="26999" rtlCol="0" anchor="ctr"/>
            <a:lstStyle/>
            <a:p>
              <a:pPr defTabSz="685341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dirty="0">
                  <a:solidFill>
                    <a:srgbClr val="1D366C"/>
                  </a:solidFill>
                  <a:latin typeface="Calibri" panose="020F0502020204030204"/>
                </a:rPr>
                <a:t>Alisertib | Aurora Kinase Inhibitor </a:t>
              </a:r>
            </a:p>
            <a:p>
              <a:pPr defTabSz="685341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dirty="0">
                <a:solidFill>
                  <a:srgbClr val="FFFFFF">
                    <a:lumMod val="75000"/>
                  </a:srgbClr>
                </a:solidFill>
                <a:latin typeface="Calibri" panose="020F0502020204030204"/>
              </a:endParaRP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67A9AA53-678B-40BB-A3DC-8BDC783301F3}"/>
                </a:ext>
              </a:extLst>
            </p:cNvPr>
            <p:cNvGrpSpPr/>
            <p:nvPr/>
          </p:nvGrpSpPr>
          <p:grpSpPr>
            <a:xfrm>
              <a:off x="8033561" y="2439186"/>
              <a:ext cx="2285767" cy="815167"/>
              <a:chOff x="590699" y="4715293"/>
              <a:chExt cx="2684552" cy="1086889"/>
            </a:xfrm>
          </p:grpSpPr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85A59EAB-99BB-496D-98D9-66EF115A876F}"/>
                  </a:ext>
                </a:extLst>
              </p:cNvPr>
              <p:cNvSpPr/>
              <p:nvPr/>
            </p:nvSpPr>
            <p:spPr>
              <a:xfrm>
                <a:off x="921499" y="5006391"/>
                <a:ext cx="2353752" cy="795791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36000" rIns="36000" bIns="36000" rtlCol="0" anchor="t">
                <a:spAutoFit/>
              </a:bodyPr>
              <a:lstStyle/>
              <a:p>
                <a:pPr defTabSz="685341" eaLnBrk="0" fontAlgn="base" hangingPunct="0"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GB" sz="900" dirty="0" err="1">
                    <a:solidFill>
                      <a:srgbClr val="1D366C"/>
                    </a:solidFill>
                    <a:latin typeface="Calibri" panose="020F0502020204030204"/>
                  </a:rPr>
                  <a:t>Pegasys</a:t>
                </a:r>
                <a:r>
                  <a:rPr lang="en-GB" sz="900" dirty="0">
                    <a:solidFill>
                      <a:srgbClr val="1D366C"/>
                    </a:solidFill>
                    <a:latin typeface="Calibri" panose="020F0502020204030204"/>
                  </a:rPr>
                  <a:t> | IFN-</a:t>
                </a:r>
                <a:r>
                  <a:rPr lang="el-GR" sz="900" dirty="0">
                    <a:solidFill>
                      <a:srgbClr val="1D366C"/>
                    </a:solidFill>
                    <a:latin typeface="Calibri" panose="020F0502020204030204"/>
                  </a:rPr>
                  <a:t>α</a:t>
                </a:r>
                <a:r>
                  <a:rPr lang="en-GB" sz="900" dirty="0">
                    <a:solidFill>
                      <a:srgbClr val="1D366C"/>
                    </a:solidFill>
                    <a:latin typeface="Calibri" panose="020F0502020204030204"/>
                  </a:rPr>
                  <a:t>2a </a:t>
                </a:r>
              </a:p>
              <a:p>
                <a:pPr defTabSz="685341" eaLnBrk="0" fontAlgn="base" hangingPunct="0"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GB" sz="900" dirty="0" err="1">
                    <a:solidFill>
                      <a:srgbClr val="000000"/>
                    </a:solidFill>
                    <a:latin typeface="Calibri" panose="020F0502020204030204"/>
                  </a:rPr>
                  <a:t>Ropeg</a:t>
                </a:r>
                <a:r>
                  <a:rPr lang="en-GB" sz="900" dirty="0">
                    <a:solidFill>
                      <a:srgbClr val="000000"/>
                    </a:solidFill>
                    <a:latin typeface="Calibri" panose="020F0502020204030204"/>
                  </a:rPr>
                  <a:t>-IFN-</a:t>
                </a:r>
                <a:r>
                  <a:rPr lang="el-GR" sz="900" dirty="0">
                    <a:solidFill>
                      <a:srgbClr val="000000"/>
                    </a:solidFill>
                    <a:latin typeface="Calibri" panose="020F0502020204030204"/>
                  </a:rPr>
                  <a:t>α</a:t>
                </a:r>
                <a:r>
                  <a:rPr lang="en-GB" sz="900" dirty="0">
                    <a:solidFill>
                      <a:srgbClr val="000000"/>
                    </a:solidFill>
                    <a:latin typeface="Calibri" panose="020F0502020204030204"/>
                  </a:rPr>
                  <a:t>2b </a:t>
                </a:r>
              </a:p>
              <a:p>
                <a:pPr defTabSz="685341" eaLnBrk="0" fontAlgn="base" hangingPunct="0"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GB" sz="900" dirty="0">
                    <a:solidFill>
                      <a:srgbClr val="1D366C"/>
                    </a:solidFill>
                    <a:latin typeface="Calibri" panose="020F0502020204030204"/>
                  </a:rPr>
                  <a:t>Nivolumab / Pembrolizumab | PD-1 </a:t>
                </a: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F1C0244F-89BF-475C-91A3-E732D913F8A3}"/>
                  </a:ext>
                </a:extLst>
              </p:cNvPr>
              <p:cNvSpPr/>
              <p:nvPr/>
            </p:nvSpPr>
            <p:spPr>
              <a:xfrm>
                <a:off x="590699" y="4715293"/>
                <a:ext cx="1809548" cy="246222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defTabSz="68534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b="1" dirty="0">
                    <a:solidFill>
                      <a:srgbClr val="E7E6E6">
                        <a:lumMod val="50000"/>
                      </a:srgbClr>
                    </a:solidFill>
                    <a:latin typeface="Calibri Light" panose="020F0302020204030204"/>
                  </a:rPr>
                  <a:t>Immuno-modulator / CPI</a:t>
                </a:r>
                <a:endParaRPr lang="en-US" sz="1200" b="1" dirty="0">
                  <a:solidFill>
                    <a:srgbClr val="E7E6E6">
                      <a:lumMod val="50000"/>
                    </a:srgbClr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BE392EF8-193F-419E-B257-FB25AA9F9DD6}"/>
                </a:ext>
              </a:extLst>
            </p:cNvPr>
            <p:cNvGrpSpPr/>
            <p:nvPr/>
          </p:nvGrpSpPr>
          <p:grpSpPr>
            <a:xfrm>
              <a:off x="8033527" y="3517789"/>
              <a:ext cx="2013414" cy="1444560"/>
              <a:chOff x="8646389" y="4559065"/>
              <a:chExt cx="2684552" cy="1926079"/>
            </a:xfrm>
          </p:grpSpPr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80837F0B-F5DB-4D9C-BFEB-F8E32CD6F384}"/>
                  </a:ext>
                </a:extLst>
              </p:cNvPr>
              <p:cNvSpPr/>
              <p:nvPr/>
            </p:nvSpPr>
            <p:spPr>
              <a:xfrm>
                <a:off x="8977188" y="4850162"/>
                <a:ext cx="2353753" cy="1634982"/>
              </a:xfrm>
              <a:prstGeom prst="rect">
                <a:avLst/>
              </a:prstGeom>
              <a:no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36000" rIns="36000" bIns="36000" rtlCol="0" anchor="t">
                <a:spAutoFit/>
              </a:bodyPr>
              <a:lstStyle/>
              <a:p>
                <a:pPr defTabSz="685341" eaLnBrk="0" fontAlgn="base" hangingPunct="0"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GB" sz="900" dirty="0">
                    <a:solidFill>
                      <a:srgbClr val="1D366C"/>
                    </a:solidFill>
                    <a:latin typeface="Calibri" panose="020F0502020204030204"/>
                  </a:rPr>
                  <a:t>Azacitidine | HMA </a:t>
                </a:r>
              </a:p>
              <a:p>
                <a:pPr defTabSz="685341" eaLnBrk="0" fontAlgn="base" hangingPunct="0"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GB" sz="900" dirty="0">
                    <a:solidFill>
                      <a:srgbClr val="1D366C"/>
                    </a:solidFill>
                    <a:latin typeface="Calibri" panose="020F0502020204030204"/>
                  </a:rPr>
                  <a:t>Panobinostat | HDAC</a:t>
                </a:r>
              </a:p>
              <a:p>
                <a:pPr defTabSz="685341" eaLnBrk="0" fontAlgn="base" hangingPunct="0"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GB" sz="900" dirty="0" err="1">
                    <a:solidFill>
                      <a:srgbClr val="1D366C"/>
                    </a:solidFill>
                    <a:latin typeface="Calibri" panose="020F0502020204030204"/>
                  </a:rPr>
                  <a:t>Givinostat</a:t>
                </a:r>
                <a:r>
                  <a:rPr lang="en-GB" sz="900" dirty="0">
                    <a:solidFill>
                      <a:srgbClr val="1D366C"/>
                    </a:solidFill>
                    <a:latin typeface="Calibri" panose="020F0502020204030204"/>
                  </a:rPr>
                  <a:t>  </a:t>
                </a:r>
                <a:r>
                  <a:rPr lang="en-GB" sz="1100" dirty="0">
                    <a:solidFill>
                      <a:srgbClr val="1D366C"/>
                    </a:solidFill>
                    <a:latin typeface="Calibri" panose="020F0502020204030204"/>
                  </a:rPr>
                  <a:t>I</a:t>
                </a:r>
                <a:r>
                  <a:rPr lang="en-GB" sz="900" dirty="0">
                    <a:solidFill>
                      <a:srgbClr val="1D366C"/>
                    </a:solidFill>
                    <a:latin typeface="Calibri" panose="020F0502020204030204"/>
                  </a:rPr>
                  <a:t> HDAC </a:t>
                </a:r>
              </a:p>
              <a:p>
                <a:pPr defTabSz="685341" eaLnBrk="0" fontAlgn="base" hangingPunct="0"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GB" sz="900" dirty="0">
                    <a:solidFill>
                      <a:srgbClr val="000000"/>
                    </a:solidFill>
                    <a:latin typeface="Calibri" panose="020F0502020204030204"/>
                  </a:rPr>
                  <a:t>IMG-7289 | LSD1 </a:t>
                </a:r>
              </a:p>
              <a:p>
                <a:pPr defTabSz="685341" eaLnBrk="0" fontAlgn="base" hangingPunct="0"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GB" sz="900" dirty="0">
                    <a:solidFill>
                      <a:srgbClr val="000000"/>
                    </a:solidFill>
                    <a:latin typeface="Calibri" panose="020F0502020204030204"/>
                  </a:rPr>
                  <a:t>CPI-0610 | </a:t>
                </a:r>
                <a:r>
                  <a:rPr lang="en-GB" sz="900" dirty="0" err="1">
                    <a:solidFill>
                      <a:srgbClr val="000000"/>
                    </a:solidFill>
                    <a:latin typeface="Calibri" panose="020F0502020204030204"/>
                  </a:rPr>
                  <a:t>BETi</a:t>
                </a:r>
                <a:r>
                  <a:rPr lang="en-GB" sz="900" dirty="0">
                    <a:solidFill>
                      <a:srgbClr val="000000"/>
                    </a:solidFill>
                    <a:latin typeface="Calibri" panose="020F0502020204030204"/>
                  </a:rPr>
                  <a:t> </a:t>
                </a:r>
              </a:p>
              <a:p>
                <a:pPr defTabSz="685341" eaLnBrk="0" fontAlgn="base" hangingPunct="0">
                  <a:spcBef>
                    <a:spcPts val="600"/>
                  </a:spcBef>
                  <a:spcAft>
                    <a:spcPct val="0"/>
                  </a:spcAft>
                  <a:defRPr/>
                </a:pPr>
                <a:r>
                  <a:rPr lang="en-GB" sz="900" dirty="0">
                    <a:solidFill>
                      <a:srgbClr val="1D366C"/>
                    </a:solidFill>
                    <a:latin typeface="Calibri" panose="020F0502020204030204"/>
                  </a:rPr>
                  <a:t>PU-H71 | HSP90i </a:t>
                </a: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53266616-65D1-4A0C-9FB8-EE650C8A86FA}"/>
                  </a:ext>
                </a:extLst>
              </p:cNvPr>
              <p:cNvSpPr/>
              <p:nvPr/>
            </p:nvSpPr>
            <p:spPr>
              <a:xfrm>
                <a:off x="8646389" y="4559065"/>
                <a:ext cx="1494855" cy="246221"/>
              </a:xfrm>
              <a:prstGeom prst="rect">
                <a:avLst/>
              </a:prstGeom>
            </p:spPr>
            <p:txBody>
              <a:bodyPr wrap="none" lIns="0" tIns="0" rIns="0" bIns="0">
                <a:spAutoFit/>
              </a:bodyPr>
              <a:lstStyle/>
              <a:p>
                <a:pPr defTabSz="68534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b="1" dirty="0">
                    <a:solidFill>
                      <a:srgbClr val="E7E6E6">
                        <a:lumMod val="50000"/>
                      </a:srgbClr>
                    </a:solidFill>
                    <a:latin typeface="Calibri Light" panose="020F0302020204030204"/>
                  </a:rPr>
                  <a:t>HDAC / Epigenetic</a:t>
                </a:r>
                <a:endParaRPr lang="en-US" sz="1200" b="1" dirty="0">
                  <a:solidFill>
                    <a:srgbClr val="E7E6E6">
                      <a:lumMod val="50000"/>
                    </a:srgbClr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BFE7DA64-E2B2-4F1F-8ED2-DDFBD5291127}"/>
                </a:ext>
              </a:extLst>
            </p:cNvPr>
            <p:cNvSpPr/>
            <p:nvPr/>
          </p:nvSpPr>
          <p:spPr>
            <a:xfrm>
              <a:off x="8300228" y="2177752"/>
              <a:ext cx="2154464" cy="267732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26999" rIns="26999" bIns="26999" rtlCol="0" anchor="ctr"/>
            <a:lstStyle/>
            <a:p>
              <a:pPr defTabSz="685341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dirty="0">
                  <a:solidFill>
                    <a:srgbClr val="1D366C"/>
                  </a:solidFill>
                  <a:latin typeface="Calibri" panose="020F0502020204030204"/>
                </a:rPr>
                <a:t>Navitoclax | BCL2 inhibition</a:t>
              </a:r>
            </a:p>
            <a:p>
              <a:pPr defTabSz="685341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dirty="0">
                <a:solidFill>
                  <a:srgbClr val="1D366C"/>
                </a:solidFill>
                <a:latin typeface="Calibri" panose="020F0502020204030204"/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F1C0244F-89BF-475C-91A3-E732D913F8A3}"/>
                </a:ext>
              </a:extLst>
            </p:cNvPr>
            <p:cNvSpPr/>
            <p:nvPr/>
          </p:nvSpPr>
          <p:spPr>
            <a:xfrm>
              <a:off x="8038607" y="1435873"/>
              <a:ext cx="1379545" cy="184666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defTabSz="685341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dirty="0">
                  <a:solidFill>
                    <a:srgbClr val="E7E6E6">
                      <a:lumMod val="50000"/>
                    </a:srgbClr>
                  </a:solidFill>
                  <a:latin typeface="Calibri Light" panose="020F0302020204030204"/>
                </a:rPr>
                <a:t>Apoptosis/MDM2/BCL</a:t>
              </a:r>
              <a:endParaRPr lang="en-US" sz="1200" b="1" dirty="0">
                <a:solidFill>
                  <a:srgbClr val="E7E6E6">
                    <a:lumMod val="50000"/>
                  </a:srgb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25504716-AE2C-EC49-9780-20D1C1990644}"/>
                </a:ext>
              </a:extLst>
            </p:cNvPr>
            <p:cNvSpPr txBox="1"/>
            <p:nvPr/>
          </p:nvSpPr>
          <p:spPr>
            <a:xfrm>
              <a:off x="4825051" y="5152904"/>
              <a:ext cx="2199641" cy="253916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none" rtlCol="0">
              <a:spAutoFit/>
            </a:bodyPr>
            <a:lstStyle/>
            <a:p>
              <a:pPr defTabSz="685800"/>
              <a:r>
                <a:rPr lang="en-US" sz="1050" dirty="0">
                  <a:solidFill>
                    <a:srgbClr val="FFFFFF"/>
                  </a:solidFill>
                  <a:latin typeface="Calibri"/>
                </a:rPr>
                <a:t>Slide Courtesy of Prof Claire Harris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017813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919DF49A-BA4C-274E-8998-76C14E675ECF}"/>
              </a:ext>
            </a:extLst>
          </p:cNvPr>
          <p:cNvSpPr txBox="1">
            <a:spLocks/>
          </p:cNvSpPr>
          <p:nvPr/>
        </p:nvSpPr>
        <p:spPr>
          <a:xfrm>
            <a:off x="890440" y="422764"/>
            <a:ext cx="5915025" cy="78392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514350">
              <a:defRPr/>
            </a:pPr>
            <a:r>
              <a:rPr lang="en-US" sz="3200" dirty="0">
                <a:solidFill>
                  <a:srgbClr val="BC4800"/>
                </a:solidFill>
                <a:latin typeface="Goudy Old Style"/>
              </a:rPr>
              <a:t>JAK Inhibitor Landscape 2022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90C03C8-9662-E94C-A059-645A9DC4C0D1}"/>
              </a:ext>
            </a:extLst>
          </p:cNvPr>
          <p:cNvGrpSpPr/>
          <p:nvPr/>
        </p:nvGrpSpPr>
        <p:grpSpPr>
          <a:xfrm>
            <a:off x="879396" y="1748790"/>
            <a:ext cx="10508825" cy="3817620"/>
            <a:chOff x="1832605" y="2122539"/>
            <a:chExt cx="8526792" cy="309759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91E93DE-A27D-F74F-AA67-A8BB61410DEB}"/>
                </a:ext>
              </a:extLst>
            </p:cNvPr>
            <p:cNvSpPr/>
            <p:nvPr/>
          </p:nvSpPr>
          <p:spPr>
            <a:xfrm>
              <a:off x="4328161" y="2122539"/>
              <a:ext cx="1903175" cy="48730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1600" b="1" dirty="0">
                  <a:solidFill>
                    <a:srgbClr val="FFFFFF"/>
                  </a:solidFill>
                  <a:latin typeface="Goudy Old Style"/>
                </a:rPr>
                <a:t>Seeking Approval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2EABA5E-CFC1-A84E-A179-3070AAD6DCFF}"/>
                </a:ext>
              </a:extLst>
            </p:cNvPr>
            <p:cNvSpPr/>
            <p:nvPr/>
          </p:nvSpPr>
          <p:spPr>
            <a:xfrm>
              <a:off x="8775364" y="2122540"/>
              <a:ext cx="1584033" cy="48730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1400" dirty="0">
                  <a:solidFill>
                    <a:srgbClr val="FFFFFF"/>
                  </a:solidFill>
                  <a:latin typeface="Goudy Old Style"/>
                </a:rPr>
                <a:t>Inactive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135F7C3-D0C1-EC4E-9B4B-EFA094957439}"/>
                </a:ext>
              </a:extLst>
            </p:cNvPr>
            <p:cNvSpPr/>
            <p:nvPr/>
          </p:nvSpPr>
          <p:spPr>
            <a:xfrm>
              <a:off x="1841568" y="2647788"/>
              <a:ext cx="2176115" cy="48730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1600" i="1" dirty="0" err="1">
                  <a:solidFill>
                    <a:srgbClr val="FFFFFF"/>
                  </a:solidFill>
                  <a:latin typeface="Goudy Old Style"/>
                </a:rPr>
                <a:t>Ruxolitinib</a:t>
              </a:r>
              <a:endParaRPr lang="en-US" sz="1600" i="1" dirty="0">
                <a:solidFill>
                  <a:srgbClr val="FFFFFF"/>
                </a:solidFill>
                <a:latin typeface="Goudy Old Style"/>
              </a:endParaRPr>
            </a:p>
            <a:p>
              <a:pPr algn="ctr" defTabSz="685800">
                <a:defRPr/>
              </a:pPr>
              <a:r>
                <a:rPr lang="en-US" sz="1600" dirty="0">
                  <a:solidFill>
                    <a:srgbClr val="FFFFFF"/>
                  </a:solidFill>
                  <a:latin typeface="Goudy Old Style"/>
                </a:rPr>
                <a:t>1L – MF, 2L PV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5832C8F-54B6-374F-8C7A-7568994AB80E}"/>
                </a:ext>
              </a:extLst>
            </p:cNvPr>
            <p:cNvSpPr/>
            <p:nvPr/>
          </p:nvSpPr>
          <p:spPr>
            <a:xfrm>
              <a:off x="1832605" y="3728912"/>
              <a:ext cx="2176115" cy="487305"/>
            </a:xfrm>
            <a:prstGeom prst="rect">
              <a:avLst/>
            </a:prstGeom>
            <a:solidFill>
              <a:schemeClr val="accent1"/>
            </a:solidFill>
            <a:ln w="571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1600" i="1" dirty="0" err="1">
                  <a:solidFill>
                    <a:srgbClr val="FFFFFF"/>
                  </a:solidFill>
                  <a:latin typeface="Goudy Old Style"/>
                </a:rPr>
                <a:t>Pacritinib</a:t>
              </a:r>
              <a:endParaRPr lang="en-US" sz="1600" i="1" dirty="0">
                <a:solidFill>
                  <a:srgbClr val="FFFFFF"/>
                </a:solidFill>
                <a:latin typeface="Goudy Old Style"/>
              </a:endParaRPr>
            </a:p>
            <a:p>
              <a:pPr algn="ctr" defTabSz="685800">
                <a:defRPr/>
              </a:pPr>
              <a:r>
                <a:rPr lang="en-US" sz="1600" dirty="0">
                  <a:solidFill>
                    <a:srgbClr val="FFFFFF"/>
                  </a:solidFill>
                  <a:latin typeface="Goudy Old Style"/>
                </a:rPr>
                <a:t>MF (Low PLT)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4177F32-0B3E-2543-B933-A8D9894EC1CD}"/>
                </a:ext>
              </a:extLst>
            </p:cNvPr>
            <p:cNvSpPr/>
            <p:nvPr/>
          </p:nvSpPr>
          <p:spPr>
            <a:xfrm>
              <a:off x="1841567" y="3177808"/>
              <a:ext cx="2176115" cy="48730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1600" i="1" dirty="0" err="1">
                  <a:solidFill>
                    <a:srgbClr val="FFFFFF"/>
                  </a:solidFill>
                  <a:latin typeface="Goudy Old Style"/>
                </a:rPr>
                <a:t>Fedratinib</a:t>
              </a:r>
              <a:endParaRPr lang="en-US" sz="1600" i="1" dirty="0">
                <a:solidFill>
                  <a:srgbClr val="FFFFFF"/>
                </a:solidFill>
                <a:latin typeface="Goudy Old Style"/>
              </a:endParaRPr>
            </a:p>
            <a:p>
              <a:pPr algn="ctr" defTabSz="685800">
                <a:defRPr/>
              </a:pPr>
              <a:r>
                <a:rPr lang="en-US" sz="1600" dirty="0">
                  <a:solidFill>
                    <a:srgbClr val="FFFFFF"/>
                  </a:solidFill>
                  <a:latin typeface="Goudy Old Style"/>
                </a:rPr>
                <a:t>MF-1L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E3756B3-8D88-434C-A917-2FAE82544757}"/>
                </a:ext>
              </a:extLst>
            </p:cNvPr>
            <p:cNvSpPr/>
            <p:nvPr/>
          </p:nvSpPr>
          <p:spPr>
            <a:xfrm>
              <a:off x="4328158" y="3699528"/>
              <a:ext cx="1903174" cy="487303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1600" i="1" dirty="0">
                  <a:solidFill>
                    <a:srgbClr val="BC4800">
                      <a:lumMod val="75000"/>
                    </a:srgbClr>
                  </a:solidFill>
                  <a:latin typeface="Goudy Old Style"/>
                </a:rPr>
                <a:t>NS - 018</a:t>
              </a:r>
            </a:p>
            <a:p>
              <a:pPr algn="ctr" defTabSz="685800">
                <a:defRPr/>
              </a:pPr>
              <a:r>
                <a:rPr lang="en-US" sz="1600" dirty="0">
                  <a:solidFill>
                    <a:srgbClr val="BC4800">
                      <a:lumMod val="75000"/>
                    </a:srgbClr>
                  </a:solidFill>
                  <a:latin typeface="Goudy Old Style"/>
                </a:rPr>
                <a:t>MF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11F1C7B-9CC4-4D44-BD0C-179900FEB641}"/>
                </a:ext>
              </a:extLst>
            </p:cNvPr>
            <p:cNvSpPr/>
            <p:nvPr/>
          </p:nvSpPr>
          <p:spPr>
            <a:xfrm>
              <a:off x="4328160" y="2647787"/>
              <a:ext cx="1903175" cy="48730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1600" i="1" dirty="0" err="1">
                  <a:solidFill>
                    <a:srgbClr val="FFFFFF"/>
                  </a:solidFill>
                  <a:latin typeface="Goudy Old Style"/>
                </a:rPr>
                <a:t>Momelotinib</a:t>
              </a:r>
              <a:endParaRPr lang="en-US" sz="1600" i="1" dirty="0">
                <a:solidFill>
                  <a:srgbClr val="FFFFFF"/>
                </a:solidFill>
                <a:latin typeface="Goudy Old Style"/>
              </a:endParaRPr>
            </a:p>
            <a:p>
              <a:pPr algn="ctr" defTabSz="685800">
                <a:defRPr/>
              </a:pPr>
              <a:r>
                <a:rPr lang="en-US" sz="1600" dirty="0">
                  <a:solidFill>
                    <a:srgbClr val="FFFFFF"/>
                  </a:solidFill>
                  <a:latin typeface="Goudy Old Style"/>
                </a:rPr>
                <a:t>MF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26D3524-AF60-C940-A13F-F9E11F47C667}"/>
                </a:ext>
              </a:extLst>
            </p:cNvPr>
            <p:cNvSpPr/>
            <p:nvPr/>
          </p:nvSpPr>
          <p:spPr>
            <a:xfrm>
              <a:off x="8771335" y="2686455"/>
              <a:ext cx="1579098" cy="36759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1400" i="1" dirty="0">
                  <a:solidFill>
                    <a:srgbClr val="BC4800"/>
                  </a:solidFill>
                  <a:latin typeface="Goudy Old Style"/>
                </a:rPr>
                <a:t>XL-019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2445133-218C-504B-A695-C5052E25FB27}"/>
                </a:ext>
              </a:extLst>
            </p:cNvPr>
            <p:cNvSpPr/>
            <p:nvPr/>
          </p:nvSpPr>
          <p:spPr>
            <a:xfrm>
              <a:off x="8771335" y="3140132"/>
              <a:ext cx="1579098" cy="36264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1400" i="1" dirty="0">
                  <a:solidFill>
                    <a:srgbClr val="BC4800"/>
                  </a:solidFill>
                  <a:latin typeface="Goudy Old Style"/>
                </a:rPr>
                <a:t>BMS-911543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96CF362-1AF1-1544-97BF-1D63C03D1981}"/>
                </a:ext>
              </a:extLst>
            </p:cNvPr>
            <p:cNvSpPr/>
            <p:nvPr/>
          </p:nvSpPr>
          <p:spPr>
            <a:xfrm>
              <a:off x="8771335" y="3588864"/>
              <a:ext cx="1579098" cy="36264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1400" i="1" dirty="0">
                  <a:solidFill>
                    <a:srgbClr val="BC4800"/>
                  </a:solidFill>
                  <a:latin typeface="Goudy Old Style"/>
                </a:rPr>
                <a:t>AZD-1480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F2EF8C5-0632-AB43-A5D1-76A3204284B6}"/>
                </a:ext>
              </a:extLst>
            </p:cNvPr>
            <p:cNvSpPr/>
            <p:nvPr/>
          </p:nvSpPr>
          <p:spPr>
            <a:xfrm>
              <a:off x="1841566" y="2122540"/>
              <a:ext cx="2176115" cy="48730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1600" b="1" dirty="0">
                  <a:solidFill>
                    <a:srgbClr val="FFFFFF"/>
                  </a:solidFill>
                  <a:latin typeface="Goudy Old Style"/>
                </a:rPr>
                <a:t>Approved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820F337-9D28-1945-A6A9-55B29F8DB69A}"/>
                </a:ext>
              </a:extLst>
            </p:cNvPr>
            <p:cNvSpPr/>
            <p:nvPr/>
          </p:nvSpPr>
          <p:spPr>
            <a:xfrm>
              <a:off x="4328159" y="3174280"/>
              <a:ext cx="1903175" cy="48730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1600" i="1" dirty="0">
                  <a:solidFill>
                    <a:srgbClr val="FFFFFF"/>
                  </a:solidFill>
                  <a:latin typeface="Goudy Old Style"/>
                </a:rPr>
                <a:t>Ruxolitinib Combination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9F3ABD5-C399-9940-9020-2197C294B565}"/>
                </a:ext>
              </a:extLst>
            </p:cNvPr>
            <p:cNvSpPr/>
            <p:nvPr/>
          </p:nvSpPr>
          <p:spPr>
            <a:xfrm>
              <a:off x="8771336" y="4032419"/>
              <a:ext cx="1588061" cy="40379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1400" i="1" dirty="0">
                  <a:solidFill>
                    <a:srgbClr val="BC4800"/>
                  </a:solidFill>
                  <a:latin typeface="Goudy Old Style"/>
                </a:rPr>
                <a:t>LY-2784544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F71038E-4BBD-0D46-B572-2E3AFBD46283}"/>
                </a:ext>
              </a:extLst>
            </p:cNvPr>
            <p:cNvSpPr/>
            <p:nvPr/>
          </p:nvSpPr>
          <p:spPr>
            <a:xfrm>
              <a:off x="2011681" y="4436209"/>
              <a:ext cx="1836725" cy="78392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1600" b="1" dirty="0">
                  <a:solidFill>
                    <a:srgbClr val="FFFFFF"/>
                  </a:solidFill>
                  <a:latin typeface="Goudy Old Style"/>
                </a:rPr>
                <a:t>NOW Approved</a:t>
              </a:r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C346A3FB-753E-864D-9560-35D1B3542272}"/>
                </a:ext>
              </a:extLst>
            </p:cNvPr>
            <p:cNvCxnSpPr>
              <a:cxnSpLocks/>
              <a:stCxn id="8" idx="2"/>
              <a:endCxn id="20" idx="0"/>
            </p:cNvCxnSpPr>
            <p:nvPr/>
          </p:nvCxnSpPr>
          <p:spPr>
            <a:xfrm>
              <a:off x="2920663" y="4216217"/>
              <a:ext cx="9381" cy="21999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46E0C4A-38D0-7B4C-A029-09E8CB30ACB6}"/>
                </a:ext>
              </a:extLst>
            </p:cNvPr>
            <p:cNvSpPr/>
            <p:nvPr/>
          </p:nvSpPr>
          <p:spPr>
            <a:xfrm>
              <a:off x="6868161" y="2512074"/>
              <a:ext cx="1611117" cy="7587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1600" dirty="0">
                  <a:solidFill>
                    <a:srgbClr val="92D050"/>
                  </a:solidFill>
                  <a:latin typeface="Goudy Old Style"/>
                </a:rPr>
                <a:t>NCT04173494</a:t>
              </a:r>
            </a:p>
          </p:txBody>
        </p: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ED6BED1D-7526-0B48-9FAE-2015930E0DA4}"/>
                </a:ext>
              </a:extLst>
            </p:cNvPr>
            <p:cNvCxnSpPr>
              <a:cxnSpLocks/>
              <a:stCxn id="11" idx="3"/>
              <a:endCxn id="24" idx="1"/>
            </p:cNvCxnSpPr>
            <p:nvPr/>
          </p:nvCxnSpPr>
          <p:spPr>
            <a:xfrm flipV="1">
              <a:off x="6231334" y="2891438"/>
              <a:ext cx="636826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602611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10A11-39BC-8C40-BB2F-3C7D0F754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es for Non </a:t>
            </a:r>
            <a:r>
              <a:rPr lang="en-US" dirty="0" err="1"/>
              <a:t>JAKi</a:t>
            </a:r>
            <a:r>
              <a:rPr lang="en-US" dirty="0"/>
              <a:t> MOA in MF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E55315-52B6-EF47-AA87-AA346BC21375}"/>
              </a:ext>
            </a:extLst>
          </p:cNvPr>
          <p:cNvSpPr/>
          <p:nvPr/>
        </p:nvSpPr>
        <p:spPr>
          <a:xfrm>
            <a:off x="3181350" y="4554709"/>
            <a:ext cx="4024365" cy="580292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Optimized JAK Inhibi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75CD04F-297C-BD4C-B9A9-3090B9ED8952}"/>
              </a:ext>
            </a:extLst>
          </p:cNvPr>
          <p:cNvSpPr/>
          <p:nvPr/>
        </p:nvSpPr>
        <p:spPr>
          <a:xfrm>
            <a:off x="7331317" y="4554709"/>
            <a:ext cx="1960058" cy="580292"/>
          </a:xfrm>
          <a:prstGeom prst="rect">
            <a:avLst/>
          </a:prstGeom>
          <a:solidFill>
            <a:srgbClr val="9411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2L Single Agent</a:t>
            </a:r>
          </a:p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Different MO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4C4BD1-964B-044C-A871-A2FDB101BB1E}"/>
              </a:ext>
            </a:extLst>
          </p:cNvPr>
          <p:cNvSpPr/>
          <p:nvPr/>
        </p:nvSpPr>
        <p:spPr>
          <a:xfrm>
            <a:off x="3181350" y="3726370"/>
            <a:ext cx="6110026" cy="580292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Optimized JAK Inhibi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CA135B5-F3E1-2B4D-843F-07ABDBEA5C27}"/>
              </a:ext>
            </a:extLst>
          </p:cNvPr>
          <p:cNvSpPr/>
          <p:nvPr/>
        </p:nvSpPr>
        <p:spPr>
          <a:xfrm>
            <a:off x="5967883" y="3146077"/>
            <a:ext cx="3323492" cy="580292"/>
          </a:xfrm>
          <a:prstGeom prst="rect">
            <a:avLst/>
          </a:prstGeom>
          <a:solidFill>
            <a:srgbClr val="9411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Add on of Single Agent</a:t>
            </a:r>
          </a:p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Different MO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88ECB8-0337-1547-AE2D-1E2290C4EFE2}"/>
              </a:ext>
            </a:extLst>
          </p:cNvPr>
          <p:cNvSpPr/>
          <p:nvPr/>
        </p:nvSpPr>
        <p:spPr>
          <a:xfrm>
            <a:off x="3181350" y="2317738"/>
            <a:ext cx="6110026" cy="580292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Optimized JAK Inhibi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BF44F9-3BB5-4249-8898-5ABC3F581D01}"/>
              </a:ext>
            </a:extLst>
          </p:cNvPr>
          <p:cNvSpPr/>
          <p:nvPr/>
        </p:nvSpPr>
        <p:spPr>
          <a:xfrm>
            <a:off x="3181350" y="1737445"/>
            <a:ext cx="6110026" cy="580292"/>
          </a:xfrm>
          <a:prstGeom prst="rect">
            <a:avLst/>
          </a:prstGeom>
          <a:solidFill>
            <a:srgbClr val="9411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Dual Therapy w/ Single Agent</a:t>
            </a:r>
          </a:p>
          <a:p>
            <a:pPr algn="ctr" defTabSz="685800">
              <a:defRPr/>
            </a:pPr>
            <a:r>
              <a:rPr lang="en-US" sz="1350" dirty="0">
                <a:solidFill>
                  <a:srgbClr val="FFFFFF"/>
                </a:solidFill>
                <a:latin typeface="Goudy Old Style"/>
              </a:rPr>
              <a:t>Different MO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3FE9FE8-AA61-004B-A627-1C2D870AC684}"/>
              </a:ext>
            </a:extLst>
          </p:cNvPr>
          <p:cNvSpPr txBox="1"/>
          <p:nvPr/>
        </p:nvSpPr>
        <p:spPr>
          <a:xfrm rot="16200000">
            <a:off x="2510951" y="4789484"/>
            <a:ext cx="81259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1350" dirty="0">
                <a:solidFill>
                  <a:srgbClr val="BC4800"/>
                </a:solidFill>
                <a:latin typeface="Goudy Old Style"/>
              </a:rPr>
              <a:t>JAKI Fai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40F170E-C1A9-AF40-9135-C577D35054B6}"/>
              </a:ext>
            </a:extLst>
          </p:cNvPr>
          <p:cNvSpPr txBox="1"/>
          <p:nvPr/>
        </p:nvSpPr>
        <p:spPr>
          <a:xfrm rot="16200000">
            <a:off x="2365144" y="3460913"/>
            <a:ext cx="1104213" cy="5309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1350" dirty="0" err="1">
                <a:solidFill>
                  <a:srgbClr val="BC4800"/>
                </a:solidFill>
                <a:latin typeface="Goudy Old Style"/>
              </a:rPr>
              <a:t>SubOpt</a:t>
            </a:r>
            <a:r>
              <a:rPr lang="en-US" sz="1350" dirty="0">
                <a:solidFill>
                  <a:srgbClr val="BC4800"/>
                </a:solidFill>
                <a:latin typeface="Goudy Old Style"/>
              </a:rPr>
              <a:t> JAKI</a:t>
            </a:r>
          </a:p>
          <a:p>
            <a:pPr defTabSz="685800">
              <a:defRPr/>
            </a:pPr>
            <a:r>
              <a:rPr lang="en-US" sz="1500" b="1" dirty="0">
                <a:solidFill>
                  <a:srgbClr val="00B050"/>
                </a:solidFill>
                <a:latin typeface="Goudy Old Style"/>
              </a:rPr>
              <a:t>ADD-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BB9CFD1-5580-7844-BAF5-1562F27D8BD4}"/>
              </a:ext>
            </a:extLst>
          </p:cNvPr>
          <p:cNvSpPr txBox="1"/>
          <p:nvPr/>
        </p:nvSpPr>
        <p:spPr>
          <a:xfrm rot="16200000">
            <a:off x="2219551" y="2180492"/>
            <a:ext cx="141577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sz="1350" b="1" dirty="0">
                <a:solidFill>
                  <a:srgbClr val="00B050"/>
                </a:solidFill>
                <a:latin typeface="Goudy Old Style"/>
              </a:rPr>
              <a:t>Combination RX</a:t>
            </a:r>
            <a:endParaRPr lang="en-US" sz="1500" b="1" dirty="0">
              <a:solidFill>
                <a:srgbClr val="00B050"/>
              </a:solidFill>
              <a:latin typeface="Goudy Old Style"/>
            </a:endParaRPr>
          </a:p>
        </p:txBody>
      </p:sp>
    </p:spTree>
    <p:extLst>
      <p:ext uri="{BB962C8B-B14F-4D97-AF65-F5344CB8AC3E}">
        <p14:creationId xmlns:p14="http://schemas.microsoft.com/office/powerpoint/2010/main" val="4231032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10" grpId="0" animBg="1"/>
      <p:bldP spid="11" grpId="0" animBg="1"/>
      <p:bldP spid="12" grpId="0"/>
      <p:bldP spid="13" grpId="0"/>
      <p:bldP spid="14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1D0F46BD-1E7B-4295-8764-B94148EFCF94}"/>
              </a:ext>
            </a:extLst>
          </p:cNvPr>
          <p:cNvSpPr txBox="1"/>
          <p:nvPr/>
        </p:nvSpPr>
        <p:spPr>
          <a:xfrm>
            <a:off x="2763456" y="4067874"/>
            <a:ext cx="6665093" cy="7200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defTabSz="514350">
              <a:lnSpc>
                <a:spcPct val="115000"/>
              </a:lnSpc>
            </a:pP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ohn Mascarenhas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Marina Kremyanskaya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Andrea Patriarca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900" b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laire Harrison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90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ithviraj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Bose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90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aajit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K Rampal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Francesca Palandri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Timothy Devos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Francesco Passamonti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Gabriela Hobbs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Moshe Talpaz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0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Alessandro Vannucchi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ean-Jacques Kiladjian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2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90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rdan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Verstovsek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3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Ron Hoffman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Mohamed E Salama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3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Dong Chen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4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Pietro Taverna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5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Alex Chang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5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90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Gozde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Colak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5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Sandra Klein,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5</a:t>
            </a:r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Vikas Gupta</a:t>
            </a:r>
            <a:r>
              <a:rPr lang="en-US" sz="900" baseline="3000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6</a:t>
            </a:r>
            <a:endParaRPr lang="en-US" sz="900">
              <a:solidFill>
                <a:srgbClr val="1F497D"/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475D10-1E07-46F3-9F9E-840C304739E7}"/>
              </a:ext>
            </a:extLst>
          </p:cNvPr>
          <p:cNvSpPr txBox="1"/>
          <p:nvPr/>
        </p:nvSpPr>
        <p:spPr>
          <a:xfrm>
            <a:off x="2766098" y="4635146"/>
            <a:ext cx="6665093" cy="68435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 defTabSz="514350">
              <a:lnSpc>
                <a:spcPct val="115000"/>
              </a:lnSpc>
            </a:pPr>
            <a:r>
              <a:rPr lang="en-US" sz="563" baseline="30000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isch Cancer Institute, Icahn School of Medicine at Mount Sinai, New York, NY, USA; </a:t>
            </a:r>
            <a:r>
              <a:rPr lang="en-US" sz="563" baseline="30000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ematology Unit, Department of Translational Medicine, University of Eastern Piedmont and AOU Maggiore </a:t>
            </a:r>
            <a:r>
              <a:rPr lang="en-US" sz="563" err="1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ella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563" err="1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arità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Novara, Italy; </a:t>
            </a:r>
            <a:r>
              <a:rPr lang="en-US" sz="563" baseline="30000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Guy's and St Thomas' NHS Foundation Trust, London, UK; </a:t>
            </a:r>
            <a:r>
              <a:rPr lang="en-US" sz="563" baseline="30000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D Anderson Cancer Center, Houston, TX, USA; </a:t>
            </a:r>
            <a:r>
              <a:rPr lang="en-US" sz="563" baseline="30000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emorial Sloan-Kettering Cancer Center, New York, NY, USA; </a:t>
            </a:r>
            <a:r>
              <a:rPr lang="en-US" sz="563" baseline="30000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RCCS </a:t>
            </a:r>
            <a:r>
              <a:rPr lang="en-US" sz="563" err="1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zienda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563" err="1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spedaliero-Universitaria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di Bologna, </a:t>
            </a:r>
            <a:r>
              <a:rPr lang="en-US" sz="563" err="1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stituto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di </a:t>
            </a:r>
            <a:r>
              <a:rPr lang="en-US" sz="563" err="1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matologia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“</a:t>
            </a:r>
            <a:r>
              <a:rPr lang="en-US" sz="563" err="1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eràgnoli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”, Bologna, Italy; </a:t>
            </a:r>
            <a:r>
              <a:rPr lang="en-US" sz="563" baseline="30000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7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niversity Hospitals Leuven and Laboratory of Molecular Immunology (</a:t>
            </a:r>
            <a:r>
              <a:rPr lang="en-US" sz="563" err="1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ega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Institute), KU Leuven, Leuven, Belgium; </a:t>
            </a:r>
            <a:r>
              <a:rPr lang="en-US" sz="563" baseline="30000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niversity of </a:t>
            </a:r>
            <a:r>
              <a:rPr lang="en-US" sz="563" err="1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subria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Varese, Italy; </a:t>
            </a:r>
            <a:r>
              <a:rPr lang="en-US" sz="563" baseline="30000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ivision of Hematology/Oncology, Massachusetts General Hospital, Harvard Medical School, Boston, MA, USA; </a:t>
            </a:r>
            <a:r>
              <a:rPr lang="en-GB" sz="563" baseline="30000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0</a:t>
            </a:r>
            <a:r>
              <a:rPr lang="en-GB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niversity of Michigan Comprehensive Cancer </a:t>
            </a:r>
            <a:r>
              <a:rPr lang="en-GB" sz="563" err="1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enter</a:t>
            </a:r>
            <a:r>
              <a:rPr lang="en-GB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Ann Arbor, MI, USA; </a:t>
            </a:r>
            <a:r>
              <a:rPr lang="it-IT" sz="563" baseline="30000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1</a:t>
            </a:r>
            <a:r>
              <a:rPr lang="it-IT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zienda Ospedaliero-Universitaria Careggi, University of Florence, Florence, Italy; </a:t>
            </a:r>
            <a:r>
              <a:rPr lang="en-US" sz="563" baseline="30000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2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ôpital Saint-Louis, Université de Paris, Paris, France; </a:t>
            </a:r>
            <a:r>
              <a:rPr lang="en-US" sz="563" baseline="30000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3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eukemia Department, University of Texas MD Anderson Cancer Center, Houston, TX, USA; </a:t>
            </a:r>
            <a:r>
              <a:rPr lang="en-GB" sz="563" baseline="30000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4</a:t>
            </a:r>
            <a:r>
              <a:rPr lang="en-GB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ayo Clinic, Rochester, MN, USA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; </a:t>
            </a:r>
            <a:r>
              <a:rPr lang="en-GB" sz="563" baseline="30000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5</a:t>
            </a:r>
            <a:r>
              <a:rPr lang="en-GB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onstellation Pharmaceuticals Inc. a </a:t>
            </a:r>
            <a:r>
              <a:rPr lang="en-GB" sz="563" err="1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orphoSys</a:t>
            </a:r>
            <a:r>
              <a:rPr lang="en-GB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Company, Boston, MA, USA</a:t>
            </a:r>
            <a:r>
              <a:rPr lang="en-US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; </a:t>
            </a:r>
            <a:r>
              <a:rPr lang="it-IT" sz="563" baseline="30000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6</a:t>
            </a:r>
            <a:r>
              <a:rPr lang="it-IT" sz="563">
                <a:solidFill>
                  <a:srgbClr val="1F497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incess Margaret Cancer Centre, University of Toronto, Toronto, Canada.</a:t>
            </a:r>
            <a:endParaRPr lang="en-US" sz="563">
              <a:solidFill>
                <a:srgbClr val="1F497D"/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0A96D9F6-3723-446A-8966-3875B9D798A4}"/>
              </a:ext>
            </a:extLst>
          </p:cNvPr>
          <p:cNvSpPr txBox="1">
            <a:spLocks/>
          </p:cNvSpPr>
          <p:nvPr/>
        </p:nvSpPr>
        <p:spPr bwMode="gray">
          <a:xfrm>
            <a:off x="2766098" y="2388362"/>
            <a:ext cx="6700361" cy="110799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ctr" defTabSz="914406" rtl="0" eaLnBrk="1" latinLnBrk="0" hangingPunct="1">
              <a:lnSpc>
                <a:spcPct val="100000"/>
              </a:lnSpc>
              <a:spcBef>
                <a:spcPts val="1200"/>
              </a:spcBef>
              <a:buFontTx/>
              <a:buNone/>
              <a:defRPr sz="1800" b="0" kern="1200" cap="none" spc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95955" indent="-195955" algn="l" defTabSz="914406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85000"/>
              <a:buFont typeface="Wingdings" panose="05000000000000000000" pitchFamily="2" charset="2"/>
              <a:buChar char=""/>
              <a:defRPr sz="14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1910" indent="-195955" algn="l" defTabSz="914406" rtl="0" eaLnBrk="1" latinLnBrk="0" hangingPunct="1">
              <a:lnSpc>
                <a:spcPct val="100000"/>
              </a:lnSpc>
              <a:spcBef>
                <a:spcPts val="544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7866" indent="-195955" algn="l" defTabSz="914406" rtl="0" eaLnBrk="1" latinLnBrk="0" hangingPunct="1">
              <a:lnSpc>
                <a:spcPct val="100000"/>
              </a:lnSpc>
              <a:spcBef>
                <a:spcPts val="544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83821" indent="-195955" algn="l" defTabSz="914406" rtl="0" eaLnBrk="1" latinLnBrk="0" hangingPunct="1">
              <a:lnSpc>
                <a:spcPct val="100000"/>
              </a:lnSpc>
              <a:spcBef>
                <a:spcPts val="544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tabLst>
                <a:tab pos="650961" algn="l"/>
              </a:tabLst>
              <a:defRPr sz="127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83821" indent="-195955" algn="l" defTabSz="914406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4">
              <a:spcBef>
                <a:spcPts val="0"/>
              </a:spcBef>
            </a:pPr>
            <a:r>
              <a:rPr lang="en-US" b="1">
                <a:solidFill>
                  <a:srgbClr val="4F81B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T Inhibitor Pelabresib (CPI-0610) Combined With Ruxolitinib in Patients With Myelofibrosis — JAK Inhibitor-Naïve or With </a:t>
            </a:r>
            <a:br>
              <a:rPr lang="en-US" b="1">
                <a:solidFill>
                  <a:srgbClr val="4F81BD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b="1">
                <a:solidFill>
                  <a:srgbClr val="4F81B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boptimal Response to Ruxolitinib  </a:t>
            </a:r>
            <a:br>
              <a:rPr lang="en-US" b="1">
                <a:solidFill>
                  <a:srgbClr val="4F81BD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solidFill>
                  <a:srgbClr val="4F81B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liminary Data From the MANIFEST Study</a:t>
            </a:r>
          </a:p>
        </p:txBody>
      </p:sp>
    </p:spTree>
    <p:extLst>
      <p:ext uri="{BB962C8B-B14F-4D97-AF65-F5344CB8AC3E}">
        <p14:creationId xmlns:p14="http://schemas.microsoft.com/office/powerpoint/2010/main" val="5333798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24EBC3C-D80C-084D-9D9D-44EB920F97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6706" y="1597884"/>
            <a:ext cx="6397982" cy="357321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8A964D0-5AC8-8D47-95D6-D1F86BFF8FA3}"/>
              </a:ext>
            </a:extLst>
          </p:cNvPr>
          <p:cNvSpPr txBox="1"/>
          <p:nvPr/>
        </p:nvSpPr>
        <p:spPr>
          <a:xfrm>
            <a:off x="5951035" y="5032597"/>
            <a:ext cx="2336345" cy="30008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pPr defTabSz="685800"/>
            <a:r>
              <a:rPr lang="en-US" sz="1350" dirty="0">
                <a:solidFill>
                  <a:srgbClr val="FFFFFF"/>
                </a:solidFill>
                <a:latin typeface="Goudy Old Style"/>
              </a:rPr>
              <a:t>Courtesy Constellation Pharm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67ECA4-BC5C-B642-8A08-9E32D5718F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1296" y="600456"/>
            <a:ext cx="10103232" cy="5657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5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0910B03-C2E8-47C8-8CBF-E75B972CB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>
                <a:cs typeface="Calibri" panose="020F0502020204030204" pitchFamily="34" charset="0"/>
              </a:rPr>
              <a:t>Arm 3: </a:t>
            </a:r>
            <a:r>
              <a:rPr lang="en-US" err="1">
                <a:cs typeface="Calibri" panose="020F0502020204030204" pitchFamily="34" charset="0"/>
              </a:rPr>
              <a:t>JAKi</a:t>
            </a:r>
            <a:r>
              <a:rPr lang="en-US">
                <a:cs typeface="Calibri" panose="020F0502020204030204" pitchFamily="34" charset="0"/>
              </a:rPr>
              <a:t>-naïve MF patients — Reduction of spleen volume and total symptom score in majority of the patient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571DB1-BE2E-CD49-8588-625DF274A782}"/>
              </a:ext>
            </a:extLst>
          </p:cNvPr>
          <p:cNvGrpSpPr/>
          <p:nvPr/>
        </p:nvGrpSpPr>
        <p:grpSpPr>
          <a:xfrm>
            <a:off x="623392" y="1926337"/>
            <a:ext cx="10754433" cy="3468678"/>
            <a:chOff x="3053575" y="2759322"/>
            <a:chExt cx="6136285" cy="197916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AD6B39E2-A000-6BCF-56B1-3FF85FA0673D}"/>
                </a:ext>
              </a:extLst>
            </p:cNvPr>
            <p:cNvGrpSpPr/>
            <p:nvPr/>
          </p:nvGrpSpPr>
          <p:grpSpPr>
            <a:xfrm>
              <a:off x="3053575" y="2995582"/>
              <a:ext cx="6136285" cy="1621946"/>
              <a:chOff x="637873" y="1632112"/>
              <a:chExt cx="11220556" cy="4248197"/>
            </a:xfrm>
          </p:grpSpPr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735BB16A-CB2D-4633-AE87-2AD7C00EC7C7}"/>
                  </a:ext>
                </a:extLst>
              </p:cNvPr>
              <p:cNvGrpSpPr/>
              <p:nvPr/>
            </p:nvGrpSpPr>
            <p:grpSpPr>
              <a:xfrm>
                <a:off x="637873" y="1972431"/>
                <a:ext cx="5603928" cy="3907878"/>
                <a:chOff x="10944961" y="14940952"/>
                <a:chExt cx="7460966" cy="3069647"/>
              </a:xfrm>
            </p:grpSpPr>
            <p:pic>
              <p:nvPicPr>
                <p:cNvPr id="10" name="Picture 9">
                  <a:extLst>
                    <a:ext uri="{FF2B5EF4-FFF2-40B4-BE49-F238E27FC236}">
                      <a16:creationId xmlns:a16="http://schemas.microsoft.com/office/drawing/2014/main" id="{35A4B0DF-4117-47FE-8576-093070B9E1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5940"/>
                <a:stretch/>
              </p:blipFill>
              <p:spPr>
                <a:xfrm>
                  <a:off x="11750268" y="14996284"/>
                  <a:ext cx="6401899" cy="2972160"/>
                </a:xfrm>
                <a:prstGeom prst="rect">
                  <a:avLst/>
                </a:prstGeom>
              </p:spPr>
            </p:pic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C5B5D886-8C67-4380-A186-6E4A93737303}"/>
                    </a:ext>
                  </a:extLst>
                </p:cNvPr>
                <p:cNvSpPr txBox="1"/>
                <p:nvPr/>
              </p:nvSpPr>
              <p:spPr bwMode="gray">
                <a:xfrm rot="16200000">
                  <a:off x="10112504" y="16464878"/>
                  <a:ext cx="1893394" cy="228479"/>
                </a:xfrm>
                <a:prstGeom prst="rect">
                  <a:avLst/>
                </a:prstGeom>
              </p:spPr>
              <p:txBody>
                <a:bodyPr wrap="none" rtlCol="0">
                  <a:noAutofit/>
                </a:bodyPr>
                <a:lstStyle/>
                <a:p>
                  <a:pPr algn="ctr" defTabSz="545520">
                    <a:lnSpc>
                      <a:spcPct val="90000"/>
                    </a:lnSpc>
                    <a:spcBef>
                      <a:spcPts val="358"/>
                    </a:spcBef>
                    <a:buClr>
                      <a:srgbClr val="F26535"/>
                    </a:buClr>
                    <a:buSzPct val="100000"/>
                    <a:defRPr/>
                  </a:pPr>
                  <a:r>
                    <a:rPr lang="en-US" sz="591">
                      <a:solidFill>
                        <a:srgbClr val="363636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% change from baseline</a:t>
                  </a:r>
                </a:p>
              </p:txBody>
            </p:sp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37946911-9054-45C0-8AD8-637EBBB85101}"/>
                    </a:ext>
                  </a:extLst>
                </p:cNvPr>
                <p:cNvSpPr txBox="1"/>
                <p:nvPr/>
              </p:nvSpPr>
              <p:spPr>
                <a:xfrm>
                  <a:off x="11252795" y="14940952"/>
                  <a:ext cx="375396" cy="18706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30</a:t>
                  </a:r>
                </a:p>
              </p:txBody>
            </p:sp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9280F2E7-A43A-4B94-BE65-3351B74770AD}"/>
                    </a:ext>
                  </a:extLst>
                </p:cNvPr>
                <p:cNvCxnSpPr/>
                <p:nvPr/>
              </p:nvCxnSpPr>
              <p:spPr>
                <a:xfrm>
                  <a:off x="11653936" y="15037247"/>
                  <a:ext cx="7845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AA437E14-A4EB-41C6-82F5-4B89D6DA51E7}"/>
                    </a:ext>
                  </a:extLst>
                </p:cNvPr>
                <p:cNvSpPr txBox="1"/>
                <p:nvPr/>
              </p:nvSpPr>
              <p:spPr>
                <a:xfrm>
                  <a:off x="11252795" y="15171233"/>
                  <a:ext cx="375396" cy="18706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20</a:t>
                  </a:r>
                </a:p>
              </p:txBody>
            </p: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1EAAB3D4-8E55-476F-A984-DBDD3F50E7D1}"/>
                    </a:ext>
                  </a:extLst>
                </p:cNvPr>
                <p:cNvCxnSpPr/>
                <p:nvPr/>
              </p:nvCxnSpPr>
              <p:spPr>
                <a:xfrm>
                  <a:off x="11648944" y="15267525"/>
                  <a:ext cx="7845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0C1CAB5E-ADE9-4381-8AD7-E30B3A838E5A}"/>
                    </a:ext>
                  </a:extLst>
                </p:cNvPr>
                <p:cNvSpPr txBox="1"/>
                <p:nvPr/>
              </p:nvSpPr>
              <p:spPr>
                <a:xfrm>
                  <a:off x="11252795" y="15387777"/>
                  <a:ext cx="375396" cy="18706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10</a:t>
                  </a:r>
                </a:p>
              </p:txBody>
            </p: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33DFDC6E-DD0C-40B7-B40C-7BF6B05B56A9}"/>
                    </a:ext>
                  </a:extLst>
                </p:cNvPr>
                <p:cNvCxnSpPr/>
                <p:nvPr/>
              </p:nvCxnSpPr>
              <p:spPr>
                <a:xfrm>
                  <a:off x="11653936" y="15484071"/>
                  <a:ext cx="7845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BB8B1CB2-81D7-451F-8DD1-81B807FE5663}"/>
                    </a:ext>
                  </a:extLst>
                </p:cNvPr>
                <p:cNvSpPr txBox="1"/>
                <p:nvPr/>
              </p:nvSpPr>
              <p:spPr>
                <a:xfrm>
                  <a:off x="11285084" y="15816617"/>
                  <a:ext cx="343105" cy="18706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10</a:t>
                  </a:r>
                </a:p>
              </p:txBody>
            </p: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D46FA896-EDB9-434E-B0CC-F7FC38246ACD}"/>
                    </a:ext>
                  </a:extLst>
                </p:cNvPr>
                <p:cNvCxnSpPr/>
                <p:nvPr/>
              </p:nvCxnSpPr>
              <p:spPr>
                <a:xfrm>
                  <a:off x="11653936" y="15912906"/>
                  <a:ext cx="7845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CCA790FF-4199-476E-9CDC-7660BF3947FD}"/>
                    </a:ext>
                  </a:extLst>
                </p:cNvPr>
                <p:cNvSpPr txBox="1"/>
                <p:nvPr/>
              </p:nvSpPr>
              <p:spPr>
                <a:xfrm>
                  <a:off x="11285084" y="16039604"/>
                  <a:ext cx="343105" cy="18706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20</a:t>
                  </a:r>
                </a:p>
              </p:txBody>
            </p: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833F65A0-0540-4882-B3E4-1515318B9E8A}"/>
                    </a:ext>
                  </a:extLst>
                </p:cNvPr>
                <p:cNvCxnSpPr/>
                <p:nvPr/>
              </p:nvCxnSpPr>
              <p:spPr>
                <a:xfrm>
                  <a:off x="11653936" y="16135897"/>
                  <a:ext cx="7845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59B2E342-6CD7-4C46-9BAC-24ED3C7D7297}"/>
                    </a:ext>
                  </a:extLst>
                </p:cNvPr>
                <p:cNvSpPr txBox="1"/>
                <p:nvPr/>
              </p:nvSpPr>
              <p:spPr>
                <a:xfrm>
                  <a:off x="11285084" y="16262596"/>
                  <a:ext cx="343105" cy="18706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30</a:t>
                  </a:r>
                </a:p>
              </p:txBody>
            </p: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8976B0D6-914B-481D-9296-DEDAFC8E08DE}"/>
                    </a:ext>
                  </a:extLst>
                </p:cNvPr>
                <p:cNvCxnSpPr/>
                <p:nvPr/>
              </p:nvCxnSpPr>
              <p:spPr>
                <a:xfrm>
                  <a:off x="11653936" y="16358888"/>
                  <a:ext cx="7845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DEB6C2D5-7FF7-4312-B88B-ABBE34FF87EE}"/>
                    </a:ext>
                  </a:extLst>
                </p:cNvPr>
                <p:cNvSpPr txBox="1"/>
                <p:nvPr/>
              </p:nvSpPr>
              <p:spPr>
                <a:xfrm>
                  <a:off x="11285084" y="16485588"/>
                  <a:ext cx="343105" cy="18706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40</a:t>
                  </a:r>
                </a:p>
              </p:txBody>
            </p: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763DE3CF-0201-42E7-98C1-7D76CE390D1F}"/>
                    </a:ext>
                  </a:extLst>
                </p:cNvPr>
                <p:cNvCxnSpPr/>
                <p:nvPr/>
              </p:nvCxnSpPr>
              <p:spPr>
                <a:xfrm>
                  <a:off x="11653936" y="16581880"/>
                  <a:ext cx="7845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457DEE95-7291-4C65-B1D1-8707AA29D68E}"/>
                    </a:ext>
                  </a:extLst>
                </p:cNvPr>
                <p:cNvSpPr txBox="1"/>
                <p:nvPr/>
              </p:nvSpPr>
              <p:spPr>
                <a:xfrm>
                  <a:off x="11285084" y="16708580"/>
                  <a:ext cx="343105" cy="18706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50</a:t>
                  </a:r>
                </a:p>
              </p:txBody>
            </p: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C76FC0BE-A914-4A8B-94C1-83DE6214C43D}"/>
                    </a:ext>
                  </a:extLst>
                </p:cNvPr>
                <p:cNvCxnSpPr/>
                <p:nvPr/>
              </p:nvCxnSpPr>
              <p:spPr>
                <a:xfrm>
                  <a:off x="11653936" y="16804871"/>
                  <a:ext cx="7845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BDBD71CB-856F-4F47-9FA5-EA0CAD19FA86}"/>
                    </a:ext>
                  </a:extLst>
                </p:cNvPr>
                <p:cNvSpPr txBox="1"/>
                <p:nvPr/>
              </p:nvSpPr>
              <p:spPr>
                <a:xfrm>
                  <a:off x="11285084" y="16931571"/>
                  <a:ext cx="343105" cy="18706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60</a:t>
                  </a:r>
                </a:p>
              </p:txBody>
            </p: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3077DDD5-A657-4DF9-B85D-AEB0213A55B4}"/>
                    </a:ext>
                  </a:extLst>
                </p:cNvPr>
                <p:cNvCxnSpPr/>
                <p:nvPr/>
              </p:nvCxnSpPr>
              <p:spPr>
                <a:xfrm>
                  <a:off x="11653936" y="17027862"/>
                  <a:ext cx="7845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8DB4A91F-8F5E-44B6-85A7-893A42D6D267}"/>
                    </a:ext>
                  </a:extLst>
                </p:cNvPr>
                <p:cNvSpPr txBox="1"/>
                <p:nvPr/>
              </p:nvSpPr>
              <p:spPr>
                <a:xfrm>
                  <a:off x="11285084" y="17154561"/>
                  <a:ext cx="343105" cy="18706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70</a:t>
                  </a:r>
                </a:p>
              </p:txBody>
            </p: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B88F8DA3-C8D6-49DC-BF3A-92F4AFE1FDC6}"/>
                    </a:ext>
                  </a:extLst>
                </p:cNvPr>
                <p:cNvCxnSpPr/>
                <p:nvPr/>
              </p:nvCxnSpPr>
              <p:spPr>
                <a:xfrm>
                  <a:off x="11653936" y="17250854"/>
                  <a:ext cx="7845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28B66C32-A4F2-48FC-A8B6-F49EA73740BE}"/>
                    </a:ext>
                  </a:extLst>
                </p:cNvPr>
                <p:cNvSpPr txBox="1"/>
                <p:nvPr/>
              </p:nvSpPr>
              <p:spPr>
                <a:xfrm>
                  <a:off x="11285084" y="17377553"/>
                  <a:ext cx="343105" cy="18706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80</a:t>
                  </a:r>
                </a:p>
              </p:txBody>
            </p: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B0D7AB10-6458-481F-AFFF-B9CDD824458A}"/>
                    </a:ext>
                  </a:extLst>
                </p:cNvPr>
                <p:cNvCxnSpPr/>
                <p:nvPr/>
              </p:nvCxnSpPr>
              <p:spPr>
                <a:xfrm>
                  <a:off x="11653936" y="17473845"/>
                  <a:ext cx="7845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1EBCBA71-0059-490D-A43B-5D5C193E1815}"/>
                    </a:ext>
                  </a:extLst>
                </p:cNvPr>
                <p:cNvSpPr txBox="1"/>
                <p:nvPr/>
              </p:nvSpPr>
              <p:spPr>
                <a:xfrm>
                  <a:off x="11285084" y="17600545"/>
                  <a:ext cx="343105" cy="18706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90</a:t>
                  </a:r>
                </a:p>
              </p:txBody>
            </p: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7B3E660D-7197-4C5F-A18C-9C255CBD3259}"/>
                    </a:ext>
                  </a:extLst>
                </p:cNvPr>
                <p:cNvCxnSpPr/>
                <p:nvPr/>
              </p:nvCxnSpPr>
              <p:spPr>
                <a:xfrm>
                  <a:off x="11653936" y="17696836"/>
                  <a:ext cx="7845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833D1BA8-BDE3-4886-A73B-2FF4C069EA11}"/>
                    </a:ext>
                  </a:extLst>
                </p:cNvPr>
                <p:cNvSpPr txBox="1"/>
                <p:nvPr/>
              </p:nvSpPr>
              <p:spPr>
                <a:xfrm>
                  <a:off x="11086004" y="17823537"/>
                  <a:ext cx="542187" cy="18706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100</a:t>
                  </a:r>
                </a:p>
              </p:txBody>
            </p: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6A642EFF-BD05-42B8-ADA3-FDFAF28CEC19}"/>
                    </a:ext>
                  </a:extLst>
                </p:cNvPr>
                <p:cNvCxnSpPr/>
                <p:nvPr/>
              </p:nvCxnSpPr>
              <p:spPr>
                <a:xfrm>
                  <a:off x="11653936" y="17919828"/>
                  <a:ext cx="7845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Straight Connector 37">
                  <a:extLst>
                    <a:ext uri="{FF2B5EF4-FFF2-40B4-BE49-F238E27FC236}">
                      <a16:creationId xmlns:a16="http://schemas.microsoft.com/office/drawing/2014/main" id="{920C93CB-95FD-4CAA-A8B7-EC9B0CFAF70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1701141" y="15700344"/>
                  <a:ext cx="6704786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Straight Connector 38">
                  <a:extLst>
                    <a:ext uri="{FF2B5EF4-FFF2-40B4-BE49-F238E27FC236}">
                      <a16:creationId xmlns:a16="http://schemas.microsoft.com/office/drawing/2014/main" id="{ACF74FCF-8A44-424A-986F-459CC0A43FF0}"/>
                    </a:ext>
                  </a:extLst>
                </p:cNvPr>
                <p:cNvCxnSpPr/>
                <p:nvPr/>
              </p:nvCxnSpPr>
              <p:spPr>
                <a:xfrm>
                  <a:off x="11739833" y="14952877"/>
                  <a:ext cx="0" cy="3015566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E299EE45-A266-41E9-84FF-9813B1FFFC27}"/>
                  </a:ext>
                </a:extLst>
              </p:cNvPr>
              <p:cNvGrpSpPr/>
              <p:nvPr/>
            </p:nvGrpSpPr>
            <p:grpSpPr>
              <a:xfrm>
                <a:off x="6675189" y="1632112"/>
                <a:ext cx="5183240" cy="4149139"/>
                <a:chOff x="6750283" y="1276211"/>
                <a:chExt cx="5183240" cy="4431516"/>
              </a:xfrm>
            </p:grpSpPr>
            <p:pic>
              <p:nvPicPr>
                <p:cNvPr id="111" name="Picture 110">
                  <a:extLst>
                    <a:ext uri="{FF2B5EF4-FFF2-40B4-BE49-F238E27FC236}">
                      <a16:creationId xmlns:a16="http://schemas.microsoft.com/office/drawing/2014/main" id="{B86355C9-8A4E-43CB-B628-90AA6D5110A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/>
                <a:srcRect l="7395" t="2336"/>
                <a:stretch/>
              </p:blipFill>
              <p:spPr>
                <a:xfrm>
                  <a:off x="7362430" y="2167332"/>
                  <a:ext cx="4466008" cy="3500463"/>
                </a:xfrm>
                <a:prstGeom prst="rect">
                  <a:avLst/>
                </a:prstGeom>
              </p:spPr>
            </p:pic>
            <p:pic>
              <p:nvPicPr>
                <p:cNvPr id="112" name="Picture 111">
                  <a:extLst>
                    <a:ext uri="{FF2B5EF4-FFF2-40B4-BE49-F238E27FC236}">
                      <a16:creationId xmlns:a16="http://schemas.microsoft.com/office/drawing/2014/main" id="{F595DC54-4FC3-4E7B-9C71-0003C446213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l="7158"/>
                <a:stretch/>
              </p:blipFill>
              <p:spPr>
                <a:xfrm>
                  <a:off x="7318398" y="1534937"/>
                  <a:ext cx="4420486" cy="553202"/>
                </a:xfrm>
                <a:prstGeom prst="rect">
                  <a:avLst/>
                </a:prstGeom>
              </p:spPr>
            </p:pic>
            <p:sp>
              <p:nvSpPr>
                <p:cNvPr id="113" name="TextBox 112">
                  <a:extLst>
                    <a:ext uri="{FF2B5EF4-FFF2-40B4-BE49-F238E27FC236}">
                      <a16:creationId xmlns:a16="http://schemas.microsoft.com/office/drawing/2014/main" id="{3C6A8C51-19FD-4394-88F0-8AB13DBEC8C0}"/>
                    </a:ext>
                  </a:extLst>
                </p:cNvPr>
                <p:cNvSpPr txBox="1"/>
                <p:nvPr/>
              </p:nvSpPr>
              <p:spPr bwMode="gray">
                <a:xfrm rot="16200000">
                  <a:off x="5319166" y="3372309"/>
                  <a:ext cx="3177291" cy="315057"/>
                </a:xfrm>
                <a:prstGeom prst="rect">
                  <a:avLst/>
                </a:prstGeom>
              </p:spPr>
              <p:txBody>
                <a:bodyPr wrap="none" rtlCol="0">
                  <a:noAutofit/>
                </a:bodyPr>
                <a:lstStyle/>
                <a:p>
                  <a:pPr algn="ctr" defTabSz="545520">
                    <a:lnSpc>
                      <a:spcPct val="90000"/>
                    </a:lnSpc>
                    <a:spcBef>
                      <a:spcPts val="358"/>
                    </a:spcBef>
                    <a:buClr>
                      <a:srgbClr val="F26535"/>
                    </a:buClr>
                    <a:buSzPct val="100000"/>
                    <a:defRPr/>
                  </a:pPr>
                  <a:r>
                    <a:rPr lang="en-US" sz="591">
                      <a:solidFill>
                        <a:srgbClr val="363636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% change from baseline</a:t>
                  </a:r>
                </a:p>
              </p:txBody>
            </p:sp>
            <p:sp>
              <p:nvSpPr>
                <p:cNvPr id="114" name="TextBox 113">
                  <a:extLst>
                    <a:ext uri="{FF2B5EF4-FFF2-40B4-BE49-F238E27FC236}">
                      <a16:creationId xmlns:a16="http://schemas.microsoft.com/office/drawing/2014/main" id="{A20CAFA9-FFE8-44D4-B48F-D1167A3F3ECF}"/>
                    </a:ext>
                  </a:extLst>
                </p:cNvPr>
                <p:cNvSpPr txBox="1"/>
                <p:nvPr/>
              </p:nvSpPr>
              <p:spPr>
                <a:xfrm>
                  <a:off x="6952505" y="1276211"/>
                  <a:ext cx="315057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220</a:t>
                  </a:r>
                </a:p>
              </p:txBody>
            </p:sp>
            <p:cxnSp>
              <p:nvCxnSpPr>
                <p:cNvPr id="115" name="Straight Connector 114">
                  <a:extLst>
                    <a:ext uri="{FF2B5EF4-FFF2-40B4-BE49-F238E27FC236}">
                      <a16:creationId xmlns:a16="http://schemas.microsoft.com/office/drawing/2014/main" id="{2897880A-DC9F-4F57-81C5-A4CD06C42AF3}"/>
                    </a:ext>
                  </a:extLst>
                </p:cNvPr>
                <p:cNvCxnSpPr/>
                <p:nvPr/>
              </p:nvCxnSpPr>
              <p:spPr>
                <a:xfrm>
                  <a:off x="7289172" y="1407349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6" name="TextBox 115">
                  <a:extLst>
                    <a:ext uri="{FF2B5EF4-FFF2-40B4-BE49-F238E27FC236}">
                      <a16:creationId xmlns:a16="http://schemas.microsoft.com/office/drawing/2014/main" id="{22578500-8DD8-4E70-902A-AD5F7A6118FC}"/>
                    </a:ext>
                  </a:extLst>
                </p:cNvPr>
                <p:cNvSpPr txBox="1"/>
                <p:nvPr/>
              </p:nvSpPr>
              <p:spPr>
                <a:xfrm>
                  <a:off x="6952505" y="1479524"/>
                  <a:ext cx="315057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200</a:t>
                  </a:r>
                </a:p>
              </p:txBody>
            </p:sp>
            <p:cxnSp>
              <p:nvCxnSpPr>
                <p:cNvPr id="117" name="Straight Connector 116">
                  <a:extLst>
                    <a:ext uri="{FF2B5EF4-FFF2-40B4-BE49-F238E27FC236}">
                      <a16:creationId xmlns:a16="http://schemas.microsoft.com/office/drawing/2014/main" id="{AB8154FB-6419-40EC-B368-6C852C4877ED}"/>
                    </a:ext>
                  </a:extLst>
                </p:cNvPr>
                <p:cNvCxnSpPr/>
                <p:nvPr/>
              </p:nvCxnSpPr>
              <p:spPr>
                <a:xfrm>
                  <a:off x="7289172" y="1610662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8" name="TextBox 117">
                  <a:extLst>
                    <a:ext uri="{FF2B5EF4-FFF2-40B4-BE49-F238E27FC236}">
                      <a16:creationId xmlns:a16="http://schemas.microsoft.com/office/drawing/2014/main" id="{9821DF55-9D42-4BA9-8A1E-F9D778EB7D61}"/>
                    </a:ext>
                  </a:extLst>
                </p:cNvPr>
                <p:cNvSpPr txBox="1"/>
                <p:nvPr/>
              </p:nvSpPr>
              <p:spPr>
                <a:xfrm>
                  <a:off x="6952505" y="1701320"/>
                  <a:ext cx="315057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180</a:t>
                  </a:r>
                </a:p>
              </p:txBody>
            </p:sp>
            <p:cxnSp>
              <p:nvCxnSpPr>
                <p:cNvPr id="119" name="Straight Connector 118">
                  <a:extLst>
                    <a:ext uri="{FF2B5EF4-FFF2-40B4-BE49-F238E27FC236}">
                      <a16:creationId xmlns:a16="http://schemas.microsoft.com/office/drawing/2014/main" id="{39113176-0DC2-467B-863D-45E69FC0792F}"/>
                    </a:ext>
                  </a:extLst>
                </p:cNvPr>
                <p:cNvCxnSpPr/>
                <p:nvPr/>
              </p:nvCxnSpPr>
              <p:spPr>
                <a:xfrm>
                  <a:off x="7289172" y="1832459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0" name="TextBox 119">
                  <a:extLst>
                    <a:ext uri="{FF2B5EF4-FFF2-40B4-BE49-F238E27FC236}">
                      <a16:creationId xmlns:a16="http://schemas.microsoft.com/office/drawing/2014/main" id="{493117DF-559E-4234-8502-9F3E51D3282A}"/>
                    </a:ext>
                  </a:extLst>
                </p:cNvPr>
                <p:cNvSpPr txBox="1"/>
                <p:nvPr/>
              </p:nvSpPr>
              <p:spPr>
                <a:xfrm>
                  <a:off x="6952505" y="1898471"/>
                  <a:ext cx="315057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160</a:t>
                  </a:r>
                </a:p>
              </p:txBody>
            </p:sp>
            <p:cxnSp>
              <p:nvCxnSpPr>
                <p:cNvPr id="121" name="Straight Connector 120">
                  <a:extLst>
                    <a:ext uri="{FF2B5EF4-FFF2-40B4-BE49-F238E27FC236}">
                      <a16:creationId xmlns:a16="http://schemas.microsoft.com/office/drawing/2014/main" id="{1241763E-59FA-412E-9267-411FB904505E}"/>
                    </a:ext>
                  </a:extLst>
                </p:cNvPr>
                <p:cNvCxnSpPr/>
                <p:nvPr/>
              </p:nvCxnSpPr>
              <p:spPr>
                <a:xfrm>
                  <a:off x="7289172" y="2029611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Straight Connector 121">
                  <a:extLst>
                    <a:ext uri="{FF2B5EF4-FFF2-40B4-BE49-F238E27FC236}">
                      <a16:creationId xmlns:a16="http://schemas.microsoft.com/office/drawing/2014/main" id="{9C175EAA-7682-422A-A399-EC47CF9ABBA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289172" y="2078584"/>
                  <a:ext cx="111810" cy="49289"/>
                </a:xfrm>
                <a:prstGeom prst="line">
                  <a:avLst/>
                </a:prstGeom>
                <a:ln w="1270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3" name="TextBox 122">
                  <a:extLst>
                    <a:ext uri="{FF2B5EF4-FFF2-40B4-BE49-F238E27FC236}">
                      <a16:creationId xmlns:a16="http://schemas.microsoft.com/office/drawing/2014/main" id="{CAC8B45D-4DE1-46A6-9AA3-6C520605D650}"/>
                    </a:ext>
                  </a:extLst>
                </p:cNvPr>
                <p:cNvSpPr txBox="1"/>
                <p:nvPr/>
              </p:nvSpPr>
              <p:spPr>
                <a:xfrm>
                  <a:off x="6952505" y="2181880"/>
                  <a:ext cx="315057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60</a:t>
                  </a:r>
                </a:p>
              </p:txBody>
            </p:sp>
            <p:cxnSp>
              <p:nvCxnSpPr>
                <p:cNvPr id="124" name="Straight Connector 123">
                  <a:extLst>
                    <a:ext uri="{FF2B5EF4-FFF2-40B4-BE49-F238E27FC236}">
                      <a16:creationId xmlns:a16="http://schemas.microsoft.com/office/drawing/2014/main" id="{2005365E-FAAE-4B2B-929D-ABBC9A48FD41}"/>
                    </a:ext>
                  </a:extLst>
                </p:cNvPr>
                <p:cNvCxnSpPr/>
                <p:nvPr/>
              </p:nvCxnSpPr>
              <p:spPr>
                <a:xfrm>
                  <a:off x="7289172" y="2313018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Straight Connector 124">
                  <a:extLst>
                    <a:ext uri="{FF2B5EF4-FFF2-40B4-BE49-F238E27FC236}">
                      <a16:creationId xmlns:a16="http://schemas.microsoft.com/office/drawing/2014/main" id="{CE6F1E61-FA13-428B-B40B-470FDCAB8D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289172" y="2140195"/>
                  <a:ext cx="111810" cy="49289"/>
                </a:xfrm>
                <a:prstGeom prst="line">
                  <a:avLst/>
                </a:prstGeom>
                <a:ln w="1270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6" name="TextBox 125">
                  <a:extLst>
                    <a:ext uri="{FF2B5EF4-FFF2-40B4-BE49-F238E27FC236}">
                      <a16:creationId xmlns:a16="http://schemas.microsoft.com/office/drawing/2014/main" id="{3A7B4E2D-580A-49C2-92EE-6F339330E185}"/>
                    </a:ext>
                  </a:extLst>
                </p:cNvPr>
                <p:cNvSpPr txBox="1"/>
                <p:nvPr/>
              </p:nvSpPr>
              <p:spPr>
                <a:xfrm>
                  <a:off x="6952505" y="2385191"/>
                  <a:ext cx="315057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50</a:t>
                  </a:r>
                </a:p>
              </p:txBody>
            </p:sp>
            <p:cxnSp>
              <p:nvCxnSpPr>
                <p:cNvPr id="127" name="Straight Connector 126">
                  <a:extLst>
                    <a:ext uri="{FF2B5EF4-FFF2-40B4-BE49-F238E27FC236}">
                      <a16:creationId xmlns:a16="http://schemas.microsoft.com/office/drawing/2014/main" id="{19DB7221-21AC-49A2-A83D-11377C3EF3C6}"/>
                    </a:ext>
                  </a:extLst>
                </p:cNvPr>
                <p:cNvCxnSpPr/>
                <p:nvPr/>
              </p:nvCxnSpPr>
              <p:spPr>
                <a:xfrm>
                  <a:off x="7289172" y="2516330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8" name="TextBox 127">
                  <a:extLst>
                    <a:ext uri="{FF2B5EF4-FFF2-40B4-BE49-F238E27FC236}">
                      <a16:creationId xmlns:a16="http://schemas.microsoft.com/office/drawing/2014/main" id="{5FC30B55-43C5-4CEF-B68F-6970CA16F981}"/>
                    </a:ext>
                  </a:extLst>
                </p:cNvPr>
                <p:cNvSpPr txBox="1"/>
                <p:nvPr/>
              </p:nvSpPr>
              <p:spPr>
                <a:xfrm>
                  <a:off x="6952505" y="2582341"/>
                  <a:ext cx="315057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40</a:t>
                  </a:r>
                </a:p>
              </p:txBody>
            </p:sp>
            <p:cxnSp>
              <p:nvCxnSpPr>
                <p:cNvPr id="129" name="Straight Connector 128">
                  <a:extLst>
                    <a:ext uri="{FF2B5EF4-FFF2-40B4-BE49-F238E27FC236}">
                      <a16:creationId xmlns:a16="http://schemas.microsoft.com/office/drawing/2014/main" id="{2E88DC68-10F4-454A-AE9B-EEC007782875}"/>
                    </a:ext>
                  </a:extLst>
                </p:cNvPr>
                <p:cNvCxnSpPr/>
                <p:nvPr/>
              </p:nvCxnSpPr>
              <p:spPr>
                <a:xfrm>
                  <a:off x="7289172" y="2713482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0" name="TextBox 129">
                  <a:extLst>
                    <a:ext uri="{FF2B5EF4-FFF2-40B4-BE49-F238E27FC236}">
                      <a16:creationId xmlns:a16="http://schemas.microsoft.com/office/drawing/2014/main" id="{C6BB1CA1-A32F-42EC-91E1-7DF02D72B518}"/>
                    </a:ext>
                  </a:extLst>
                </p:cNvPr>
                <p:cNvSpPr txBox="1"/>
                <p:nvPr/>
              </p:nvSpPr>
              <p:spPr>
                <a:xfrm>
                  <a:off x="6952505" y="2785654"/>
                  <a:ext cx="315057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30</a:t>
                  </a:r>
                </a:p>
              </p:txBody>
            </p:sp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7400221D-3F59-4E4E-BCCB-50E6B6669F17}"/>
                    </a:ext>
                  </a:extLst>
                </p:cNvPr>
                <p:cNvCxnSpPr/>
                <p:nvPr/>
              </p:nvCxnSpPr>
              <p:spPr>
                <a:xfrm>
                  <a:off x="7289172" y="2916796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2" name="TextBox 131">
                  <a:extLst>
                    <a:ext uri="{FF2B5EF4-FFF2-40B4-BE49-F238E27FC236}">
                      <a16:creationId xmlns:a16="http://schemas.microsoft.com/office/drawing/2014/main" id="{0CAF49FE-4FE2-47F6-892C-0C09B64B77BF}"/>
                    </a:ext>
                  </a:extLst>
                </p:cNvPr>
                <p:cNvSpPr txBox="1"/>
                <p:nvPr/>
              </p:nvSpPr>
              <p:spPr>
                <a:xfrm>
                  <a:off x="6952505" y="2995136"/>
                  <a:ext cx="315057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20</a:t>
                  </a:r>
                </a:p>
              </p:txBody>
            </p:sp>
            <p:cxnSp>
              <p:nvCxnSpPr>
                <p:cNvPr id="133" name="Straight Connector 132">
                  <a:extLst>
                    <a:ext uri="{FF2B5EF4-FFF2-40B4-BE49-F238E27FC236}">
                      <a16:creationId xmlns:a16="http://schemas.microsoft.com/office/drawing/2014/main" id="{6E4AC1B4-4FED-4DA3-9A7D-31137475A349}"/>
                    </a:ext>
                  </a:extLst>
                </p:cNvPr>
                <p:cNvCxnSpPr/>
                <p:nvPr/>
              </p:nvCxnSpPr>
              <p:spPr>
                <a:xfrm>
                  <a:off x="7289172" y="3126271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4" name="TextBox 133">
                  <a:extLst>
                    <a:ext uri="{FF2B5EF4-FFF2-40B4-BE49-F238E27FC236}">
                      <a16:creationId xmlns:a16="http://schemas.microsoft.com/office/drawing/2014/main" id="{E7CEF325-48D8-4CF8-BAD8-19199546EBD9}"/>
                    </a:ext>
                  </a:extLst>
                </p:cNvPr>
                <p:cNvSpPr txBox="1"/>
                <p:nvPr/>
              </p:nvSpPr>
              <p:spPr>
                <a:xfrm>
                  <a:off x="6952505" y="3192284"/>
                  <a:ext cx="315057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10</a:t>
                  </a:r>
                </a:p>
              </p:txBody>
            </p:sp>
            <p:cxnSp>
              <p:nvCxnSpPr>
                <p:cNvPr id="135" name="Straight Connector 134">
                  <a:extLst>
                    <a:ext uri="{FF2B5EF4-FFF2-40B4-BE49-F238E27FC236}">
                      <a16:creationId xmlns:a16="http://schemas.microsoft.com/office/drawing/2014/main" id="{EDFDD557-EAF7-46D7-A8F0-0F884672EB75}"/>
                    </a:ext>
                  </a:extLst>
                </p:cNvPr>
                <p:cNvCxnSpPr/>
                <p:nvPr/>
              </p:nvCxnSpPr>
              <p:spPr>
                <a:xfrm>
                  <a:off x="7289172" y="3323423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6" name="TextBox 135">
                  <a:extLst>
                    <a:ext uri="{FF2B5EF4-FFF2-40B4-BE49-F238E27FC236}">
                      <a16:creationId xmlns:a16="http://schemas.microsoft.com/office/drawing/2014/main" id="{8D372353-F2F1-42CD-8507-A8D4B7EF9D85}"/>
                    </a:ext>
                  </a:extLst>
                </p:cNvPr>
                <p:cNvSpPr txBox="1"/>
                <p:nvPr/>
              </p:nvSpPr>
              <p:spPr>
                <a:xfrm>
                  <a:off x="6979608" y="3611233"/>
                  <a:ext cx="287954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10</a:t>
                  </a:r>
                </a:p>
              </p:txBody>
            </p:sp>
            <p:cxnSp>
              <p:nvCxnSpPr>
                <p:cNvPr id="137" name="Straight Connector 136">
                  <a:extLst>
                    <a:ext uri="{FF2B5EF4-FFF2-40B4-BE49-F238E27FC236}">
                      <a16:creationId xmlns:a16="http://schemas.microsoft.com/office/drawing/2014/main" id="{9FDAFE50-C06D-4981-B273-68729CE64C4D}"/>
                    </a:ext>
                  </a:extLst>
                </p:cNvPr>
                <p:cNvCxnSpPr/>
                <p:nvPr/>
              </p:nvCxnSpPr>
              <p:spPr>
                <a:xfrm>
                  <a:off x="7289172" y="3742372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8" name="TextBox 137">
                  <a:extLst>
                    <a:ext uri="{FF2B5EF4-FFF2-40B4-BE49-F238E27FC236}">
                      <a16:creationId xmlns:a16="http://schemas.microsoft.com/office/drawing/2014/main" id="{6D76CC05-7AD6-48A1-8BFA-186E9DFD79F3}"/>
                    </a:ext>
                  </a:extLst>
                </p:cNvPr>
                <p:cNvSpPr txBox="1"/>
                <p:nvPr/>
              </p:nvSpPr>
              <p:spPr>
                <a:xfrm>
                  <a:off x="6979608" y="3814546"/>
                  <a:ext cx="287954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20</a:t>
                  </a:r>
                </a:p>
              </p:txBody>
            </p:sp>
            <p:cxnSp>
              <p:nvCxnSpPr>
                <p:cNvPr id="139" name="Straight Connector 138">
                  <a:extLst>
                    <a:ext uri="{FF2B5EF4-FFF2-40B4-BE49-F238E27FC236}">
                      <a16:creationId xmlns:a16="http://schemas.microsoft.com/office/drawing/2014/main" id="{8A888C57-742C-47AF-A313-0D8FCDF803D2}"/>
                    </a:ext>
                  </a:extLst>
                </p:cNvPr>
                <p:cNvCxnSpPr/>
                <p:nvPr/>
              </p:nvCxnSpPr>
              <p:spPr>
                <a:xfrm>
                  <a:off x="7289172" y="3945686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0" name="TextBox 139">
                  <a:extLst>
                    <a:ext uri="{FF2B5EF4-FFF2-40B4-BE49-F238E27FC236}">
                      <a16:creationId xmlns:a16="http://schemas.microsoft.com/office/drawing/2014/main" id="{C587E496-F15B-4C5B-ADB8-EB439E28D801}"/>
                    </a:ext>
                  </a:extLst>
                </p:cNvPr>
                <p:cNvSpPr txBox="1"/>
                <p:nvPr/>
              </p:nvSpPr>
              <p:spPr>
                <a:xfrm>
                  <a:off x="6979608" y="4017859"/>
                  <a:ext cx="287954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30</a:t>
                  </a:r>
                </a:p>
              </p:txBody>
            </p:sp>
            <p:cxnSp>
              <p:nvCxnSpPr>
                <p:cNvPr id="141" name="Straight Connector 140">
                  <a:extLst>
                    <a:ext uri="{FF2B5EF4-FFF2-40B4-BE49-F238E27FC236}">
                      <a16:creationId xmlns:a16="http://schemas.microsoft.com/office/drawing/2014/main" id="{365F01CA-4DA2-4F61-82CF-D5F2E7F93CC8}"/>
                    </a:ext>
                  </a:extLst>
                </p:cNvPr>
                <p:cNvCxnSpPr/>
                <p:nvPr/>
              </p:nvCxnSpPr>
              <p:spPr>
                <a:xfrm>
                  <a:off x="7289172" y="4149000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2" name="TextBox 141">
                  <a:extLst>
                    <a:ext uri="{FF2B5EF4-FFF2-40B4-BE49-F238E27FC236}">
                      <a16:creationId xmlns:a16="http://schemas.microsoft.com/office/drawing/2014/main" id="{92065620-0DD3-4AC1-B057-F306C9E249F7}"/>
                    </a:ext>
                  </a:extLst>
                </p:cNvPr>
                <p:cNvSpPr txBox="1"/>
                <p:nvPr/>
              </p:nvSpPr>
              <p:spPr>
                <a:xfrm>
                  <a:off x="6979608" y="4233498"/>
                  <a:ext cx="287954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40</a:t>
                  </a:r>
                </a:p>
              </p:txBody>
            </p:sp>
            <p:cxnSp>
              <p:nvCxnSpPr>
                <p:cNvPr id="143" name="Straight Connector 142">
                  <a:extLst>
                    <a:ext uri="{FF2B5EF4-FFF2-40B4-BE49-F238E27FC236}">
                      <a16:creationId xmlns:a16="http://schemas.microsoft.com/office/drawing/2014/main" id="{BBC73361-E427-43D5-90D2-586B23217730}"/>
                    </a:ext>
                  </a:extLst>
                </p:cNvPr>
                <p:cNvCxnSpPr/>
                <p:nvPr/>
              </p:nvCxnSpPr>
              <p:spPr>
                <a:xfrm>
                  <a:off x="7289172" y="4364635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4" name="TextBox 143">
                  <a:extLst>
                    <a:ext uri="{FF2B5EF4-FFF2-40B4-BE49-F238E27FC236}">
                      <a16:creationId xmlns:a16="http://schemas.microsoft.com/office/drawing/2014/main" id="{C3FAECDE-A33A-44F1-A091-A24557510988}"/>
                    </a:ext>
                  </a:extLst>
                </p:cNvPr>
                <p:cNvSpPr txBox="1"/>
                <p:nvPr/>
              </p:nvSpPr>
              <p:spPr>
                <a:xfrm>
                  <a:off x="6979608" y="4436808"/>
                  <a:ext cx="287954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50</a:t>
                  </a:r>
                </a:p>
              </p:txBody>
            </p:sp>
            <p:cxnSp>
              <p:nvCxnSpPr>
                <p:cNvPr id="145" name="Straight Connector 144">
                  <a:extLst>
                    <a:ext uri="{FF2B5EF4-FFF2-40B4-BE49-F238E27FC236}">
                      <a16:creationId xmlns:a16="http://schemas.microsoft.com/office/drawing/2014/main" id="{FB597008-63B1-49CA-A0CB-44073504219F}"/>
                    </a:ext>
                  </a:extLst>
                </p:cNvPr>
                <p:cNvCxnSpPr/>
                <p:nvPr/>
              </p:nvCxnSpPr>
              <p:spPr>
                <a:xfrm>
                  <a:off x="7289172" y="4567949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6" name="TextBox 145">
                  <a:extLst>
                    <a:ext uri="{FF2B5EF4-FFF2-40B4-BE49-F238E27FC236}">
                      <a16:creationId xmlns:a16="http://schemas.microsoft.com/office/drawing/2014/main" id="{30F3F9A3-80D5-4EFD-804F-9288E9A492BA}"/>
                    </a:ext>
                  </a:extLst>
                </p:cNvPr>
                <p:cNvSpPr txBox="1"/>
                <p:nvPr/>
              </p:nvSpPr>
              <p:spPr>
                <a:xfrm>
                  <a:off x="6979608" y="4640119"/>
                  <a:ext cx="287954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60</a:t>
                  </a:r>
                </a:p>
              </p:txBody>
            </p:sp>
            <p:cxnSp>
              <p:nvCxnSpPr>
                <p:cNvPr id="147" name="Straight Connector 146">
                  <a:extLst>
                    <a:ext uri="{FF2B5EF4-FFF2-40B4-BE49-F238E27FC236}">
                      <a16:creationId xmlns:a16="http://schemas.microsoft.com/office/drawing/2014/main" id="{C786AF40-7EE2-459F-98A3-19F8CAA8A9B0}"/>
                    </a:ext>
                  </a:extLst>
                </p:cNvPr>
                <p:cNvCxnSpPr/>
                <p:nvPr/>
              </p:nvCxnSpPr>
              <p:spPr>
                <a:xfrm>
                  <a:off x="7289172" y="4771262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8" name="TextBox 147">
                  <a:extLst>
                    <a:ext uri="{FF2B5EF4-FFF2-40B4-BE49-F238E27FC236}">
                      <a16:creationId xmlns:a16="http://schemas.microsoft.com/office/drawing/2014/main" id="{A7844D6E-C6FE-496A-A552-DFDB4E040F17}"/>
                    </a:ext>
                  </a:extLst>
                </p:cNvPr>
                <p:cNvSpPr txBox="1"/>
                <p:nvPr/>
              </p:nvSpPr>
              <p:spPr>
                <a:xfrm>
                  <a:off x="6979608" y="4843435"/>
                  <a:ext cx="287954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70</a:t>
                  </a:r>
                </a:p>
              </p:txBody>
            </p:sp>
            <p:cxnSp>
              <p:nvCxnSpPr>
                <p:cNvPr id="149" name="Straight Connector 148">
                  <a:extLst>
                    <a:ext uri="{FF2B5EF4-FFF2-40B4-BE49-F238E27FC236}">
                      <a16:creationId xmlns:a16="http://schemas.microsoft.com/office/drawing/2014/main" id="{D3541768-0F83-4CF3-80EA-38A1401D3E67}"/>
                    </a:ext>
                  </a:extLst>
                </p:cNvPr>
                <p:cNvCxnSpPr/>
                <p:nvPr/>
              </p:nvCxnSpPr>
              <p:spPr>
                <a:xfrm>
                  <a:off x="7289172" y="4974576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0" name="TextBox 149">
                  <a:extLst>
                    <a:ext uri="{FF2B5EF4-FFF2-40B4-BE49-F238E27FC236}">
                      <a16:creationId xmlns:a16="http://schemas.microsoft.com/office/drawing/2014/main" id="{9760B16B-88C1-4103-9E8C-CAB6CFC56BD8}"/>
                    </a:ext>
                  </a:extLst>
                </p:cNvPr>
                <p:cNvSpPr txBox="1"/>
                <p:nvPr/>
              </p:nvSpPr>
              <p:spPr>
                <a:xfrm>
                  <a:off x="6979608" y="5046748"/>
                  <a:ext cx="287954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80</a:t>
                  </a:r>
                </a:p>
              </p:txBody>
            </p:sp>
            <p:cxnSp>
              <p:nvCxnSpPr>
                <p:cNvPr id="151" name="Straight Connector 150">
                  <a:extLst>
                    <a:ext uri="{FF2B5EF4-FFF2-40B4-BE49-F238E27FC236}">
                      <a16:creationId xmlns:a16="http://schemas.microsoft.com/office/drawing/2014/main" id="{8C894613-E9E0-46D1-8C11-5F35E08EFC87}"/>
                    </a:ext>
                  </a:extLst>
                </p:cNvPr>
                <p:cNvCxnSpPr/>
                <p:nvPr/>
              </p:nvCxnSpPr>
              <p:spPr>
                <a:xfrm>
                  <a:off x="7289172" y="5177888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2" name="TextBox 151">
                  <a:extLst>
                    <a:ext uri="{FF2B5EF4-FFF2-40B4-BE49-F238E27FC236}">
                      <a16:creationId xmlns:a16="http://schemas.microsoft.com/office/drawing/2014/main" id="{606330EC-2DC4-4367-83A5-BE6F641ADBA4}"/>
                    </a:ext>
                  </a:extLst>
                </p:cNvPr>
                <p:cNvSpPr txBox="1"/>
                <p:nvPr/>
              </p:nvSpPr>
              <p:spPr>
                <a:xfrm>
                  <a:off x="6979608" y="5256221"/>
                  <a:ext cx="287954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90</a:t>
                  </a:r>
                </a:p>
              </p:txBody>
            </p:sp>
            <p:cxnSp>
              <p:nvCxnSpPr>
                <p:cNvPr id="153" name="Straight Connector 152">
                  <a:extLst>
                    <a:ext uri="{FF2B5EF4-FFF2-40B4-BE49-F238E27FC236}">
                      <a16:creationId xmlns:a16="http://schemas.microsoft.com/office/drawing/2014/main" id="{C0A74D60-8D32-4B06-AC62-5A45F1FEF4E4}"/>
                    </a:ext>
                  </a:extLst>
                </p:cNvPr>
                <p:cNvCxnSpPr/>
                <p:nvPr/>
              </p:nvCxnSpPr>
              <p:spPr>
                <a:xfrm>
                  <a:off x="7289172" y="5387363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4" name="TextBox 153">
                  <a:extLst>
                    <a:ext uri="{FF2B5EF4-FFF2-40B4-BE49-F238E27FC236}">
                      <a16:creationId xmlns:a16="http://schemas.microsoft.com/office/drawing/2014/main" id="{BEF3C8CC-A596-4CF3-9051-2F1F0F2E80F4}"/>
                    </a:ext>
                  </a:extLst>
                </p:cNvPr>
                <p:cNvSpPr txBox="1"/>
                <p:nvPr/>
              </p:nvSpPr>
              <p:spPr>
                <a:xfrm>
                  <a:off x="6816263" y="5453377"/>
                  <a:ext cx="451299" cy="2543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algn="r" defTabSz="514350">
                    <a:spcBef>
                      <a:spcPts val="358"/>
                    </a:spcBef>
                    <a:defRPr/>
                  </a:pPr>
                  <a:r>
                    <a:rPr lang="en-US" sz="591">
                      <a:solidFill>
                        <a:prstClr val="black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-100</a:t>
                  </a:r>
                </a:p>
              </p:txBody>
            </p:sp>
            <p:cxnSp>
              <p:nvCxnSpPr>
                <p:cNvPr id="155" name="Straight Connector 154">
                  <a:extLst>
                    <a:ext uri="{FF2B5EF4-FFF2-40B4-BE49-F238E27FC236}">
                      <a16:creationId xmlns:a16="http://schemas.microsoft.com/office/drawing/2014/main" id="{ABB825E5-531C-40C5-BE5F-57E9E8513FDC}"/>
                    </a:ext>
                  </a:extLst>
                </p:cNvPr>
                <p:cNvCxnSpPr/>
                <p:nvPr/>
              </p:nvCxnSpPr>
              <p:spPr>
                <a:xfrm>
                  <a:off x="7289172" y="5584517"/>
                  <a:ext cx="6584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6" name="Straight Connector 155">
                  <a:extLst>
                    <a:ext uri="{FF2B5EF4-FFF2-40B4-BE49-F238E27FC236}">
                      <a16:creationId xmlns:a16="http://schemas.microsoft.com/office/drawing/2014/main" id="{B6567F57-2DB7-4E83-AB87-0FF1CFC04354}"/>
                    </a:ext>
                  </a:extLst>
                </p:cNvPr>
                <p:cNvCxnSpPr/>
                <p:nvPr/>
              </p:nvCxnSpPr>
              <p:spPr>
                <a:xfrm>
                  <a:off x="7353194" y="1326940"/>
                  <a:ext cx="0" cy="78360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" name="Straight Connector 156">
                  <a:extLst>
                    <a:ext uri="{FF2B5EF4-FFF2-40B4-BE49-F238E27FC236}">
                      <a16:creationId xmlns:a16="http://schemas.microsoft.com/office/drawing/2014/main" id="{80047DA8-A478-4204-82D3-3AE3BDF899F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53194" y="2152517"/>
                  <a:ext cx="0" cy="3517096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8" name="Straight Connector 157">
                  <a:extLst>
                    <a:ext uri="{FF2B5EF4-FFF2-40B4-BE49-F238E27FC236}">
                      <a16:creationId xmlns:a16="http://schemas.microsoft.com/office/drawing/2014/main" id="{152C90F0-7BB5-4C0B-89E7-9400C6A2064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28789" y="3541668"/>
                  <a:ext cx="4604734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E0857701-6654-4FFA-9F3F-885D19036378}"/>
                </a:ext>
              </a:extLst>
            </p:cNvPr>
            <p:cNvGrpSpPr/>
            <p:nvPr/>
          </p:nvGrpSpPr>
          <p:grpSpPr>
            <a:xfrm>
              <a:off x="6916156" y="2907673"/>
              <a:ext cx="1841423" cy="367508"/>
              <a:chOff x="4375323" y="1581686"/>
              <a:chExt cx="3587781" cy="940659"/>
            </a:xfrm>
          </p:grpSpPr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06D958B7-4FB5-4542-B143-4B3F5BC8C752}"/>
                  </a:ext>
                </a:extLst>
              </p:cNvPr>
              <p:cNvSpPr txBox="1"/>
              <p:nvPr/>
            </p:nvSpPr>
            <p:spPr bwMode="gray">
              <a:xfrm>
                <a:off x="4423553" y="1668581"/>
                <a:ext cx="3539551" cy="773658"/>
              </a:xfrm>
              <a:prstGeom prst="rect">
                <a:avLst/>
              </a:prstGeom>
            </p:spPr>
            <p:txBody>
              <a:bodyPr wrap="square" rtlCol="0" anchor="ctr">
                <a:spAutoFit/>
              </a:bodyPr>
              <a:lstStyle/>
              <a:p>
                <a:pPr marL="72926" indent="-72926" defTabSz="545520">
                  <a:lnSpc>
                    <a:spcPct val="90000"/>
                  </a:lnSpc>
                  <a:spcBef>
                    <a:spcPts val="338"/>
                  </a:spcBef>
                  <a:buClr>
                    <a:srgbClr val="009EE3"/>
                  </a:buClr>
                  <a:buSzPct val="100000"/>
                  <a:buFont typeface="Arial" panose="020B0604020202020204" pitchFamily="34" charset="0"/>
                  <a:buChar char="•"/>
                  <a:defRPr/>
                </a:pPr>
                <a:r>
                  <a:rPr lang="en-US" sz="619">
                    <a:solidFill>
                      <a:srgbClr val="1F497D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SS50 at Wk 24: 56% (46/82</a:t>
                </a:r>
                <a:r>
                  <a:rPr lang="en-US" sz="619" baseline="30000">
                    <a:solidFill>
                      <a:srgbClr val="1F497D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†</a:t>
                </a:r>
                <a:r>
                  <a:rPr lang="en-US" sz="619">
                    <a:solidFill>
                      <a:srgbClr val="1F497D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), 95% CI 45–67  </a:t>
                </a:r>
              </a:p>
              <a:p>
                <a:pPr marL="72926" indent="-72926" defTabSz="545520">
                  <a:lnSpc>
                    <a:spcPct val="90000"/>
                  </a:lnSpc>
                  <a:spcBef>
                    <a:spcPts val="338"/>
                  </a:spcBef>
                  <a:buClr>
                    <a:srgbClr val="009EE3"/>
                  </a:buClr>
                  <a:buSzPct val="100000"/>
                  <a:buFont typeface="Arial" panose="020B0604020202020204" pitchFamily="34" charset="0"/>
                  <a:buChar char="•"/>
                  <a:defRPr/>
                </a:pPr>
                <a:r>
                  <a:rPr lang="en-US" sz="619">
                    <a:solidFill>
                      <a:srgbClr val="1F497D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edian TSS % change: –59%</a:t>
                </a:r>
              </a:p>
            </p:txBody>
          </p:sp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D69EB6EA-3E33-4211-8E60-A4322AB54581}"/>
                  </a:ext>
                </a:extLst>
              </p:cNvPr>
              <p:cNvSpPr/>
              <p:nvPr/>
            </p:nvSpPr>
            <p:spPr>
              <a:xfrm>
                <a:off x="4375323" y="1581686"/>
                <a:ext cx="3587780" cy="940659"/>
              </a:xfrm>
              <a:prstGeom prst="rect">
                <a:avLst/>
              </a:prstGeom>
              <a:noFill/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955" tIns="21478" rIns="42955" bIns="21478" rtlCol="0" anchor="ctr"/>
              <a:lstStyle/>
              <a:p>
                <a:pPr algn="ctr" defTabSz="272760">
                  <a:defRPr/>
                </a:pPr>
                <a:endParaRPr lang="en-US" sz="788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0F2EFEBB-A3B7-4E91-9643-B1D1479424CD}"/>
                </a:ext>
              </a:extLst>
            </p:cNvPr>
            <p:cNvSpPr txBox="1"/>
            <p:nvPr/>
          </p:nvSpPr>
          <p:spPr>
            <a:xfrm>
              <a:off x="3422699" y="4459180"/>
              <a:ext cx="2405813" cy="2793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68190" indent="-68190" defTabSz="545520">
                <a:lnSpc>
                  <a:spcPct val="90000"/>
                </a:lnSpc>
                <a:spcBef>
                  <a:spcPts val="119"/>
                </a:spcBef>
                <a:buClr>
                  <a:srgbClr val="009EE3"/>
                </a:buClr>
                <a:buSzPct val="100000"/>
                <a:buFont typeface="Arial" panose="020B0604020202020204" pitchFamily="34" charset="0"/>
                <a:buChar char="•"/>
                <a:defRPr/>
              </a:pPr>
              <a:r>
                <a:rPr lang="en-US" sz="675">
                  <a:solidFill>
                    <a:srgbClr val="1F497D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ocal vs central review concordance in a subset of 55 pts is 86%</a:t>
              </a: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F6197D08-68F2-4454-B627-6C3DF3B57179}"/>
                </a:ext>
              </a:extLst>
            </p:cNvPr>
            <p:cNvGrpSpPr/>
            <p:nvPr/>
          </p:nvGrpSpPr>
          <p:grpSpPr>
            <a:xfrm>
              <a:off x="3625631" y="2759322"/>
              <a:ext cx="1987089" cy="679080"/>
              <a:chOff x="1172488" y="1473715"/>
              <a:chExt cx="4712082" cy="1359044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BC1BFA13-4522-4307-A45E-A4B14BA3B685}"/>
                  </a:ext>
                </a:extLst>
              </p:cNvPr>
              <p:cNvSpPr txBox="1"/>
              <p:nvPr/>
            </p:nvSpPr>
            <p:spPr bwMode="gray">
              <a:xfrm>
                <a:off x="1203294" y="1515900"/>
                <a:ext cx="4681276" cy="1316859"/>
              </a:xfrm>
              <a:prstGeom prst="rect">
                <a:avLst/>
              </a:prstGeom>
            </p:spPr>
            <p:txBody>
              <a:bodyPr wrap="square" rtlCol="0">
                <a:spAutoFit/>
              </a:bodyPr>
              <a:lstStyle/>
              <a:p>
                <a:pPr marL="68190" indent="-68190" defTabSz="545520">
                  <a:lnSpc>
                    <a:spcPct val="90000"/>
                  </a:lnSpc>
                  <a:spcBef>
                    <a:spcPts val="119"/>
                  </a:spcBef>
                  <a:buClr>
                    <a:srgbClr val="009EE3"/>
                  </a:buClr>
                  <a:buSzPct val="100000"/>
                  <a:buFont typeface="Arial" panose="020B0604020202020204" pitchFamily="34" charset="0"/>
                  <a:buChar char="•"/>
                  <a:defRPr/>
                </a:pPr>
                <a:r>
                  <a:rPr lang="en-US" sz="619">
                    <a:solidFill>
                      <a:srgbClr val="1F497D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VR35 at Wk 24: 68% (57/84), 95% CI 57–78</a:t>
                </a:r>
              </a:p>
              <a:p>
                <a:pPr marL="68190" indent="-68190" defTabSz="545520">
                  <a:lnSpc>
                    <a:spcPct val="90000"/>
                  </a:lnSpc>
                  <a:spcBef>
                    <a:spcPts val="119"/>
                  </a:spcBef>
                  <a:buClr>
                    <a:srgbClr val="009EE3"/>
                  </a:buClr>
                  <a:buSzPct val="100000"/>
                  <a:buFont typeface="Arial" panose="020B0604020202020204" pitchFamily="34" charset="0"/>
                  <a:buChar char="•"/>
                  <a:defRPr/>
                </a:pPr>
                <a:r>
                  <a:rPr lang="en-US" sz="619">
                    <a:solidFill>
                      <a:srgbClr val="1F497D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VR35 at any time: 80% (67/84, range: 10–51 </a:t>
                </a:r>
                <a:r>
                  <a:rPr lang="en-US" sz="619" err="1">
                    <a:solidFill>
                      <a:srgbClr val="1F497D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wks</a:t>
                </a:r>
                <a:r>
                  <a:rPr lang="en-US" sz="619">
                    <a:solidFill>
                      <a:srgbClr val="1F497D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) </a:t>
                </a:r>
              </a:p>
              <a:p>
                <a:pPr marL="68190" indent="-68190" defTabSz="545520">
                  <a:lnSpc>
                    <a:spcPct val="90000"/>
                  </a:lnSpc>
                  <a:spcBef>
                    <a:spcPts val="119"/>
                  </a:spcBef>
                  <a:buClr>
                    <a:srgbClr val="009EE3"/>
                  </a:buClr>
                  <a:buSzPct val="100000"/>
                  <a:buFont typeface="Arial" panose="020B0604020202020204" pitchFamily="34" charset="0"/>
                  <a:buChar char="•"/>
                  <a:defRPr/>
                </a:pPr>
                <a:r>
                  <a:rPr lang="en-US" sz="619">
                    <a:solidFill>
                      <a:srgbClr val="1F497D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edian SVR: –50%</a:t>
                </a:r>
              </a:p>
              <a:p>
                <a:pPr marL="68190" indent="-68190" defTabSz="545520">
                  <a:lnSpc>
                    <a:spcPct val="90000"/>
                  </a:lnSpc>
                  <a:spcBef>
                    <a:spcPts val="119"/>
                  </a:spcBef>
                  <a:buClr>
                    <a:srgbClr val="009EE3"/>
                  </a:buClr>
                  <a:buSzPct val="100000"/>
                  <a:buFont typeface="Arial" panose="020B0604020202020204" pitchFamily="34" charset="0"/>
                  <a:buChar char="•"/>
                  <a:defRPr/>
                </a:pPr>
                <a:r>
                  <a:rPr lang="en-US" sz="619">
                    <a:solidFill>
                      <a:srgbClr val="1F497D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58 pts (69%) with SVR35 maintained response at the time of data cut-off </a:t>
                </a:r>
              </a:p>
              <a:p>
                <a:pPr marL="68190" indent="-68190" defTabSz="545520">
                  <a:lnSpc>
                    <a:spcPct val="90000"/>
                  </a:lnSpc>
                  <a:spcBef>
                    <a:spcPts val="119"/>
                  </a:spcBef>
                  <a:buClr>
                    <a:srgbClr val="009EE3"/>
                  </a:buClr>
                  <a:buSzPct val="100000"/>
                  <a:buFont typeface="Arial" panose="020B0604020202020204" pitchFamily="34" charset="0"/>
                  <a:buChar char="•"/>
                  <a:defRPr/>
                </a:pPr>
                <a:r>
                  <a:rPr lang="en-US" sz="619">
                    <a:solidFill>
                      <a:srgbClr val="1F497D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edian follow-up* for SVR35 response: 37 </a:t>
                </a:r>
                <a:r>
                  <a:rPr lang="en-US" sz="619" err="1">
                    <a:solidFill>
                      <a:srgbClr val="1F497D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wks</a:t>
                </a:r>
                <a:endParaRPr lang="en-US" sz="619">
                  <a:solidFill>
                    <a:srgbClr val="1F497D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FDD52781-35A9-4146-93C0-29012E271156}"/>
                  </a:ext>
                </a:extLst>
              </p:cNvPr>
              <p:cNvSpPr/>
              <p:nvPr/>
            </p:nvSpPr>
            <p:spPr>
              <a:xfrm>
                <a:off x="1172488" y="1473715"/>
                <a:ext cx="4712081" cy="1290646"/>
              </a:xfrm>
              <a:prstGeom prst="rect">
                <a:avLst/>
              </a:prstGeom>
              <a:noFill/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2955" tIns="21478" rIns="42955" bIns="21478" rtlCol="0" anchor="ctr"/>
              <a:lstStyle/>
              <a:p>
                <a:pPr algn="ctr" defTabSz="272760">
                  <a:defRPr/>
                </a:pPr>
                <a:endParaRPr lang="en-US" sz="675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sp>
        <p:nvSpPr>
          <p:cNvPr id="94" name="Text Placeholder 6">
            <a:extLst>
              <a:ext uri="{FF2B5EF4-FFF2-40B4-BE49-F238E27FC236}">
                <a16:creationId xmlns:a16="http://schemas.microsoft.com/office/drawing/2014/main" id="{CC7D77E2-23A5-A04B-B62A-2D39ED8451A6}"/>
              </a:ext>
            </a:extLst>
          </p:cNvPr>
          <p:cNvSpPr txBox="1">
            <a:spLocks/>
          </p:cNvSpPr>
          <p:nvPr/>
        </p:nvSpPr>
        <p:spPr bwMode="auto">
          <a:xfrm>
            <a:off x="1718318" y="5572763"/>
            <a:ext cx="6250073" cy="519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5718" rIns="51435" bIns="25718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Calibri" pitchFamily="34" charset="0"/>
              <a:buNone/>
              <a:tabLst/>
              <a:defRPr sz="1000" b="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5718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tabLst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523962" indent="-30479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45520">
              <a:lnSpc>
                <a:spcPct val="90000"/>
              </a:lnSpc>
              <a:buClr>
                <a:srgbClr val="F26535"/>
              </a:buClr>
              <a:buSzPct val="100000"/>
              <a:defRPr/>
            </a:pPr>
            <a:r>
              <a:rPr lang="en-US" sz="563">
                <a:solidFill>
                  <a:srgbClr val="1F497D"/>
                </a:solidFill>
                <a:cs typeface="Calibri" panose="020F0502020204030204" pitchFamily="34" charset="0"/>
              </a:rPr>
              <a:t>SVR per local radiology review; central radiology review is ongoing.</a:t>
            </a:r>
          </a:p>
          <a:p>
            <a:pPr defTabSz="545520">
              <a:lnSpc>
                <a:spcPct val="90000"/>
              </a:lnSpc>
              <a:buClr>
                <a:srgbClr val="F26535"/>
              </a:buClr>
              <a:buSzPct val="100000"/>
              <a:defRPr/>
            </a:pPr>
            <a:r>
              <a:rPr lang="en-US" sz="563">
                <a:solidFill>
                  <a:srgbClr val="1F497D"/>
                </a:solidFill>
                <a:cs typeface="Calibri" panose="020F0502020204030204" pitchFamily="34" charset="0"/>
              </a:rPr>
              <a:t>Patients are evaluable for SVR35 or TSS50 at </a:t>
            </a:r>
            <a:r>
              <a:rPr lang="en-US" sz="563" err="1">
                <a:solidFill>
                  <a:srgbClr val="1F497D"/>
                </a:solidFill>
                <a:cs typeface="Calibri" panose="020F0502020204030204" pitchFamily="34" charset="0"/>
              </a:rPr>
              <a:t>Wk</a:t>
            </a:r>
            <a:r>
              <a:rPr lang="en-US" sz="563">
                <a:solidFill>
                  <a:srgbClr val="1F497D"/>
                </a:solidFill>
                <a:cs typeface="Calibri" panose="020F0502020204030204" pitchFamily="34" charset="0"/>
              </a:rPr>
              <a:t> 24 if they have had </a:t>
            </a:r>
            <a:r>
              <a:rPr lang="en-US" sz="563" err="1">
                <a:solidFill>
                  <a:srgbClr val="1F497D"/>
                </a:solidFill>
                <a:cs typeface="Calibri" panose="020F0502020204030204" pitchFamily="34" charset="0"/>
              </a:rPr>
              <a:t>Wk</a:t>
            </a:r>
            <a:r>
              <a:rPr lang="en-US" sz="563">
                <a:solidFill>
                  <a:srgbClr val="1F497D"/>
                </a:solidFill>
                <a:cs typeface="Calibri" panose="020F0502020204030204" pitchFamily="34" charset="0"/>
              </a:rPr>
              <a:t> 24 assessment by the data cut-off date or discontinued without </a:t>
            </a:r>
            <a:r>
              <a:rPr lang="en-US" sz="563" err="1">
                <a:solidFill>
                  <a:srgbClr val="1F497D"/>
                </a:solidFill>
                <a:cs typeface="Calibri" panose="020F0502020204030204" pitchFamily="34" charset="0"/>
              </a:rPr>
              <a:t>Wk</a:t>
            </a:r>
            <a:r>
              <a:rPr lang="en-US" sz="563">
                <a:solidFill>
                  <a:srgbClr val="1F497D"/>
                </a:solidFill>
                <a:cs typeface="Calibri" panose="020F0502020204030204" pitchFamily="34" charset="0"/>
              </a:rPr>
              <a:t> 24 assessment at any time. </a:t>
            </a:r>
            <a:br>
              <a:rPr lang="en-US" sz="563">
                <a:solidFill>
                  <a:srgbClr val="1F497D"/>
                </a:solidFill>
                <a:cs typeface="Calibri" panose="020F0502020204030204" pitchFamily="34" charset="0"/>
              </a:rPr>
            </a:br>
            <a:r>
              <a:rPr lang="en-US" sz="563">
                <a:solidFill>
                  <a:srgbClr val="1F497D"/>
                </a:solidFill>
                <a:cs typeface="Calibri" panose="020F0502020204030204" pitchFamily="34" charset="0"/>
              </a:rPr>
              <a:t>*Reverse Kaplan–Meier estimate of median duration of follow-up for SVR35 response. </a:t>
            </a:r>
          </a:p>
          <a:p>
            <a:pPr defTabSz="545520">
              <a:lnSpc>
                <a:spcPct val="90000"/>
              </a:lnSpc>
              <a:buClr>
                <a:srgbClr val="F26535"/>
              </a:buClr>
              <a:buSzPct val="100000"/>
              <a:defRPr/>
            </a:pPr>
            <a:r>
              <a:rPr lang="en-US" sz="563" baseline="30000">
                <a:solidFill>
                  <a:srgbClr val="1F497D"/>
                </a:solidFill>
                <a:cs typeface="Calibri" panose="020F0502020204030204" pitchFamily="34" charset="0"/>
              </a:rPr>
              <a:t>†</a:t>
            </a:r>
            <a:r>
              <a:rPr lang="en-US" sz="563">
                <a:solidFill>
                  <a:srgbClr val="1F497D"/>
                </a:solidFill>
                <a:cs typeface="Calibri" panose="020F0502020204030204" pitchFamily="34" charset="0"/>
              </a:rPr>
              <a:t>Two ongoing patients were nonevaluable for TSS50 at </a:t>
            </a:r>
            <a:r>
              <a:rPr lang="en-US" sz="563" err="1">
                <a:solidFill>
                  <a:srgbClr val="1F497D"/>
                </a:solidFill>
                <a:cs typeface="Calibri" panose="020F0502020204030204" pitchFamily="34" charset="0"/>
              </a:rPr>
              <a:t>Wk</a:t>
            </a:r>
            <a:r>
              <a:rPr lang="en-US" sz="563">
                <a:solidFill>
                  <a:srgbClr val="1F497D"/>
                </a:solidFill>
                <a:cs typeface="Calibri" panose="020F0502020204030204" pitchFamily="34" charset="0"/>
              </a:rPr>
              <a:t> 24; n=1 due to missing baseline, n=1 due to baseline TSS=0.</a:t>
            </a:r>
          </a:p>
          <a:p>
            <a:pPr defTabSz="545520">
              <a:lnSpc>
                <a:spcPct val="90000"/>
              </a:lnSpc>
              <a:buClr>
                <a:srgbClr val="F26535"/>
              </a:buClr>
              <a:buSzPct val="100000"/>
              <a:defRPr/>
            </a:pPr>
            <a:r>
              <a:rPr lang="en-US" sz="563">
                <a:solidFill>
                  <a:srgbClr val="1F497D"/>
                </a:solidFill>
                <a:cs typeface="Calibri" panose="020F0502020204030204" pitchFamily="34" charset="0"/>
              </a:rPr>
              <a:t>CI, confidence interval; </a:t>
            </a:r>
            <a:r>
              <a:rPr lang="en-US" sz="563" err="1">
                <a:solidFill>
                  <a:srgbClr val="1F497D"/>
                </a:solidFill>
                <a:cs typeface="Calibri" panose="020F0502020204030204" pitchFamily="34" charset="0"/>
              </a:rPr>
              <a:t>JAKi</a:t>
            </a:r>
            <a:r>
              <a:rPr lang="en-US" sz="563">
                <a:solidFill>
                  <a:srgbClr val="1F497D"/>
                </a:solidFill>
                <a:cs typeface="Calibri" panose="020F0502020204030204" pitchFamily="34" charset="0"/>
              </a:rPr>
              <a:t>, Janus kinase inhibitor; MF, myelofibrosis; pts, patients; SVR, spleen volume reduction; SVR35, ≥35% reduction in spleen volume from baseline; TSS, total symptom score; TSS50, ≥50% reduction in total symptom score from baseline; </a:t>
            </a:r>
            <a:r>
              <a:rPr lang="en-US" sz="563" err="1">
                <a:solidFill>
                  <a:srgbClr val="1F497D"/>
                </a:solidFill>
                <a:cs typeface="Calibri" panose="020F0502020204030204" pitchFamily="34" charset="0"/>
              </a:rPr>
              <a:t>wk</a:t>
            </a:r>
            <a:r>
              <a:rPr lang="en-US" sz="563">
                <a:solidFill>
                  <a:srgbClr val="1F497D"/>
                </a:solidFill>
                <a:cs typeface="Calibri" panose="020F0502020204030204" pitchFamily="34" charset="0"/>
              </a:rPr>
              <a:t>, week. </a:t>
            </a:r>
          </a:p>
        </p:txBody>
      </p:sp>
    </p:spTree>
    <p:extLst>
      <p:ext uri="{BB962C8B-B14F-4D97-AF65-F5344CB8AC3E}">
        <p14:creationId xmlns:p14="http://schemas.microsoft.com/office/powerpoint/2010/main" val="19721181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15A5308-6352-49B8-824A-E02EC905F803}"/>
              </a:ext>
            </a:extLst>
          </p:cNvPr>
          <p:cNvSpPr txBox="1"/>
          <p:nvPr/>
        </p:nvSpPr>
        <p:spPr>
          <a:xfrm>
            <a:off x="2735113" y="5674319"/>
            <a:ext cx="3655814" cy="19620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2571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675" i="1" dirty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pean Hematology Association Congress, June 11, 2022, Vienna, Austria 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17CE18A8-9EFE-4BE1-A434-267D1B23796F}"/>
              </a:ext>
            </a:extLst>
          </p:cNvPr>
          <p:cNvSpPr txBox="1">
            <a:spLocks/>
          </p:cNvSpPr>
          <p:nvPr/>
        </p:nvSpPr>
        <p:spPr bwMode="auto">
          <a:xfrm>
            <a:off x="2944404" y="1539760"/>
            <a:ext cx="6310901" cy="2150243"/>
          </a:xfrm>
          <a:prstGeom prst="rect">
            <a:avLst/>
          </a:prstGeom>
          <a:noFill/>
          <a:ln>
            <a:noFill/>
          </a:ln>
        </p:spPr>
        <p:txBody>
          <a:bodyPr vert="horz" wrap="square" lIns="51435" tIns="25718" rIns="51435" bIns="25718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08153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defTabSz="514350"/>
            <a:r>
              <a:rPr lang="en-US" sz="2025" dirty="0">
                <a:solidFill>
                  <a:prstClr val="white"/>
                </a:solidFill>
              </a:rPr>
              <a:t>Title of Presentation, Title Case</a:t>
            </a:r>
          </a:p>
        </p:txBody>
      </p:sp>
      <p:sp>
        <p:nvSpPr>
          <p:cNvPr id="13314" name="Subtitle 2">
            <a:extLst>
              <a:ext uri="{FF2B5EF4-FFF2-40B4-BE49-F238E27FC236}">
                <a16:creationId xmlns:a16="http://schemas.microsoft.com/office/drawing/2014/main" id="{80A3A6C0-0988-4743-9B9F-3890D81FDA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21460" y="4318878"/>
            <a:ext cx="5949702" cy="497881"/>
          </a:xfrm>
          <a:solidFill>
            <a:schemeClr val="bg1"/>
          </a:solidFill>
        </p:spPr>
        <p:txBody>
          <a:bodyPr anchor="ctr">
            <a:noAutofit/>
          </a:bodyPr>
          <a:lstStyle/>
          <a:p>
            <a:pPr algn="ctr"/>
            <a:r>
              <a:rPr lang="en-US" altLang="en-US" dirty="0">
                <a:solidFill>
                  <a:srgbClr val="071D49"/>
                </a:solidFill>
              </a:rPr>
              <a:t>Francesco Passamonti</a:t>
            </a:r>
            <a:r>
              <a:rPr lang="en-US" altLang="en-US" baseline="30000" dirty="0">
                <a:solidFill>
                  <a:srgbClr val="071D49"/>
                </a:solidFill>
              </a:rPr>
              <a:t>1</a:t>
            </a:r>
            <a:r>
              <a:rPr lang="en-US" altLang="en-US" dirty="0">
                <a:solidFill>
                  <a:srgbClr val="071D49"/>
                </a:solidFill>
              </a:rPr>
              <a:t>, James Foran</a:t>
            </a:r>
            <a:r>
              <a:rPr lang="en-US" altLang="en-US" baseline="30000" dirty="0"/>
              <a:t>2</a:t>
            </a:r>
            <a:r>
              <a:rPr lang="en-US" altLang="en-US" dirty="0">
                <a:solidFill>
                  <a:srgbClr val="071D49"/>
                </a:solidFill>
              </a:rPr>
              <a:t>, Anand Tandra</a:t>
            </a:r>
            <a:r>
              <a:rPr lang="en-US" altLang="en-US" baseline="30000" dirty="0"/>
              <a:t>3</a:t>
            </a:r>
            <a:r>
              <a:rPr lang="en-US" altLang="en-US" dirty="0">
                <a:solidFill>
                  <a:srgbClr val="071D49"/>
                </a:solidFill>
              </a:rPr>
              <a:t>, Valerio De Stefano</a:t>
            </a:r>
            <a:r>
              <a:rPr lang="en-US" altLang="en-US" baseline="30000" dirty="0"/>
              <a:t>4</a:t>
            </a:r>
            <a:r>
              <a:rPr lang="en-US" altLang="en-US" dirty="0">
                <a:solidFill>
                  <a:srgbClr val="071D49"/>
                </a:solidFill>
              </a:rPr>
              <a:t>,</a:t>
            </a:r>
            <a:r>
              <a:rPr lang="en-US" altLang="en-US" baseline="30000" dirty="0">
                <a:solidFill>
                  <a:srgbClr val="071D49"/>
                </a:solidFill>
              </a:rPr>
              <a:t>5</a:t>
            </a:r>
            <a:r>
              <a:rPr lang="en-US" altLang="en-US" dirty="0">
                <a:solidFill>
                  <a:srgbClr val="071D49"/>
                </a:solidFill>
              </a:rPr>
              <a:t>, Maria Laura Fox</a:t>
            </a:r>
            <a:r>
              <a:rPr lang="en-US" altLang="en-US" baseline="30000" dirty="0"/>
              <a:t>6</a:t>
            </a:r>
            <a:r>
              <a:rPr lang="en-US" altLang="en-US" dirty="0">
                <a:solidFill>
                  <a:srgbClr val="071D49"/>
                </a:solidFill>
              </a:rPr>
              <a:t>, Ahmad Mattour</a:t>
            </a:r>
            <a:r>
              <a:rPr lang="en-US" altLang="en-US" baseline="30000" dirty="0"/>
              <a:t>7</a:t>
            </a:r>
            <a:r>
              <a:rPr lang="en-US" altLang="en-US" dirty="0">
                <a:solidFill>
                  <a:srgbClr val="071D49"/>
                </a:solidFill>
              </a:rPr>
              <a:t>, Mary Frances McMullin</a:t>
            </a:r>
            <a:r>
              <a:rPr lang="en-US" altLang="en-US" baseline="30000" dirty="0"/>
              <a:t>8</a:t>
            </a:r>
            <a:r>
              <a:rPr lang="en-US" altLang="en-US" dirty="0">
                <a:solidFill>
                  <a:srgbClr val="071D49"/>
                </a:solidFill>
              </a:rPr>
              <a:t>, Andrew C. Perkins</a:t>
            </a:r>
            <a:r>
              <a:rPr lang="en-US" altLang="en-US" baseline="30000" dirty="0"/>
              <a:t>9</a:t>
            </a:r>
            <a:r>
              <a:rPr lang="en-US" altLang="en-US" dirty="0">
                <a:solidFill>
                  <a:srgbClr val="071D49"/>
                </a:solidFill>
              </a:rPr>
              <a:t>, Gabriela Rodriguez-Macías</a:t>
            </a:r>
            <a:r>
              <a:rPr lang="en-US" altLang="en-US" baseline="30000" dirty="0"/>
              <a:t>10</a:t>
            </a:r>
            <a:r>
              <a:rPr lang="en-US" altLang="en-US" dirty="0">
                <a:solidFill>
                  <a:srgbClr val="071D49"/>
                </a:solidFill>
              </a:rPr>
              <a:t>, Hassan Sibai</a:t>
            </a:r>
            <a:r>
              <a:rPr lang="en-US" altLang="en-US" baseline="30000" dirty="0"/>
              <a:t>11</a:t>
            </a:r>
            <a:r>
              <a:rPr lang="en-US" altLang="en-US" dirty="0">
                <a:solidFill>
                  <a:srgbClr val="071D49"/>
                </a:solidFill>
              </a:rPr>
              <a:t>, Qin Qin</a:t>
            </a:r>
            <a:r>
              <a:rPr lang="en-US" altLang="en-US" baseline="30000" dirty="0"/>
              <a:t>12</a:t>
            </a:r>
            <a:r>
              <a:rPr lang="en-US" altLang="en-US" dirty="0">
                <a:solidFill>
                  <a:srgbClr val="071D49"/>
                </a:solidFill>
              </a:rPr>
              <a:t>, Avijeet Chopra</a:t>
            </a:r>
            <a:r>
              <a:rPr lang="en-US" altLang="en-US" baseline="30000" dirty="0">
                <a:solidFill>
                  <a:srgbClr val="071D49"/>
                </a:solidFill>
              </a:rPr>
              <a:t>12</a:t>
            </a:r>
            <a:r>
              <a:rPr lang="en-US" altLang="en-US" dirty="0">
                <a:solidFill>
                  <a:srgbClr val="071D49"/>
                </a:solidFill>
              </a:rPr>
              <a:t>, Jalaja Potluri</a:t>
            </a:r>
            <a:r>
              <a:rPr lang="en-US" altLang="en-US" baseline="30000" dirty="0"/>
              <a:t>12</a:t>
            </a:r>
            <a:r>
              <a:rPr lang="en-US" altLang="en-US" dirty="0">
                <a:solidFill>
                  <a:srgbClr val="071D49"/>
                </a:solidFill>
              </a:rPr>
              <a:t>, Jonathan How</a:t>
            </a:r>
            <a:r>
              <a:rPr lang="en-US" altLang="en-US" baseline="30000" dirty="0"/>
              <a:t>13</a:t>
            </a:r>
            <a:r>
              <a:rPr lang="en-US" altLang="en-US" dirty="0">
                <a:solidFill>
                  <a:srgbClr val="071D49"/>
                </a:solidFill>
              </a:rPr>
              <a:t> </a:t>
            </a: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2ADF4D89-926A-4C3C-960C-6E5468C2B0B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wrap="square" lIns="102870" tIns="34290" rIns="102870" bIns="3429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sz="2400" dirty="0"/>
              <a:t>Navitoclax Plus Ruxolitinib in JAK Inhibitor-Naïve Patients With Myelofibrosis: </a:t>
            </a:r>
            <a:br>
              <a:rPr lang="en-US" sz="2400" dirty="0"/>
            </a:br>
            <a:r>
              <a:rPr lang="en-US" sz="2400" dirty="0"/>
              <a:t>Preliminary Safety and Efficacy in a Multicenter, Open-label Phase 2 Study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CCD9DB9-EE09-4DB4-A935-D5033A2AB3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81350" y="4816757"/>
            <a:ext cx="5829300" cy="844715"/>
          </a:xfrm>
        </p:spPr>
        <p:txBody>
          <a:bodyPr>
            <a:normAutofit/>
          </a:bodyPr>
          <a:lstStyle/>
          <a:p>
            <a:r>
              <a:rPr lang="en-US" altLang="en-US" sz="675" baseline="30000" dirty="0"/>
              <a:t>1</a:t>
            </a:r>
            <a:r>
              <a:rPr lang="en-US" altLang="en-US" sz="675" dirty="0"/>
              <a:t>Department of Medicine and Surgery, University of Insubria, Varese, Italy; </a:t>
            </a:r>
            <a:r>
              <a:rPr lang="en-US" altLang="en-US" sz="675" baseline="30000" dirty="0"/>
              <a:t>2</a:t>
            </a:r>
            <a:r>
              <a:rPr lang="en-US" altLang="en-US" sz="675" dirty="0"/>
              <a:t>Mayo Clinic, Jacksonville, FL, USA; </a:t>
            </a:r>
            <a:r>
              <a:rPr lang="en-US" altLang="en-US" sz="675" baseline="30000" dirty="0"/>
              <a:t>3</a:t>
            </a:r>
            <a:r>
              <a:rPr lang="en-US" altLang="en-US" sz="675" dirty="0"/>
              <a:t>Indiana Blood and Marrow Transplant, Indianapolis, IN, USA; </a:t>
            </a:r>
            <a:r>
              <a:rPr lang="en-US" altLang="en-US" sz="675" baseline="30000" dirty="0"/>
              <a:t>4</a:t>
            </a:r>
            <a:r>
              <a:rPr lang="en-US" altLang="en-US" sz="675" dirty="0"/>
              <a:t>Section of Hematology, Department of Radiological and Hematological Sciences, Catholic University, Rome, Italy; </a:t>
            </a:r>
            <a:r>
              <a:rPr lang="en-US" altLang="en-US" sz="675" baseline="30000" dirty="0"/>
              <a:t>5</a:t>
            </a:r>
            <a:r>
              <a:rPr lang="en-US" altLang="en-US" sz="675" dirty="0"/>
              <a:t>Fondazione Policlinico Universitario Agostino Gemelli IRCCS, Rome, Italy; </a:t>
            </a:r>
            <a:r>
              <a:rPr lang="en-US" altLang="en-US" sz="675" baseline="30000" dirty="0"/>
              <a:t>6</a:t>
            </a:r>
            <a:r>
              <a:rPr lang="en-US" altLang="en-US" sz="675" dirty="0"/>
              <a:t>Department of Hematology, Hospital Universitari Vall d’Hebron, Experimental Hematology, Vall d’Hebron Institute of Oncology (VHIO), Vall d’Hebron Hospital Campus, Barcelona, Spain; </a:t>
            </a:r>
            <a:r>
              <a:rPr lang="en-US" altLang="en-US" sz="675" baseline="30000" dirty="0"/>
              <a:t>7</a:t>
            </a:r>
            <a:r>
              <a:rPr lang="en-US" altLang="en-US" sz="675" dirty="0"/>
              <a:t>Henry Ford Hospital, Detroit, MI, USA; </a:t>
            </a:r>
            <a:r>
              <a:rPr lang="en-US" altLang="en-US" sz="675" baseline="30000" dirty="0"/>
              <a:t>8</a:t>
            </a:r>
            <a:r>
              <a:rPr lang="en-US" altLang="en-US" sz="675" dirty="0"/>
              <a:t>Centre for Medical Education, Queenʼs University Belfast, Belfast, UK; </a:t>
            </a:r>
            <a:r>
              <a:rPr lang="en-US" altLang="en-US" sz="675" baseline="30000" dirty="0"/>
              <a:t>9</a:t>
            </a:r>
            <a:r>
              <a:rPr lang="en-US" altLang="en-US" sz="675" dirty="0"/>
              <a:t>Australian Centre for Blood Diseases, Monash University and The Alfred Hospital, Melbourne, Australia; </a:t>
            </a:r>
            <a:r>
              <a:rPr lang="en-US" altLang="en-US" sz="675" baseline="30000" dirty="0"/>
              <a:t>10</a:t>
            </a:r>
            <a:r>
              <a:rPr lang="en-US" altLang="en-US" sz="675" dirty="0"/>
              <a:t>Department of Hematology, Hospital General Universitario Gregorio Marañón, Madrid, Spain; </a:t>
            </a:r>
            <a:r>
              <a:rPr lang="en-US" altLang="en-US" sz="675" baseline="30000" dirty="0"/>
              <a:t>11</a:t>
            </a:r>
            <a:r>
              <a:rPr lang="en-US" altLang="en-US" sz="675" dirty="0"/>
              <a:t>Medical Oncology and Hematology, Princess Margaret Cancer Centre, University of Toronto, Toronto, Canada; </a:t>
            </a:r>
            <a:r>
              <a:rPr lang="en-US" altLang="en-US" sz="675" baseline="30000" dirty="0"/>
              <a:t>12</a:t>
            </a:r>
            <a:r>
              <a:rPr lang="en-US" altLang="en-US" sz="675" dirty="0"/>
              <a:t>AbbVie Inc., North Chicago, IL, USA; </a:t>
            </a:r>
            <a:r>
              <a:rPr lang="en-US" altLang="en-US" sz="675" baseline="30000" dirty="0"/>
              <a:t>13</a:t>
            </a:r>
            <a:r>
              <a:rPr lang="en-US" altLang="en-US" sz="675" dirty="0"/>
              <a:t>Division of Hematology, McGill University Health Center; Montreal, Canada</a:t>
            </a:r>
          </a:p>
        </p:txBody>
      </p:sp>
    </p:spTree>
    <p:extLst>
      <p:ext uri="{BB962C8B-B14F-4D97-AF65-F5344CB8AC3E}">
        <p14:creationId xmlns:p14="http://schemas.microsoft.com/office/powerpoint/2010/main" val="14290933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Content Placeholder 2">
            <a:extLst>
              <a:ext uri="{FF2B5EF4-FFF2-40B4-BE49-F238E27FC236}">
                <a16:creationId xmlns:a16="http://schemas.microsoft.com/office/drawing/2014/main" id="{105150BB-1970-4AB8-9C7C-16CEF5F969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0160" y="1742682"/>
            <a:ext cx="4981749" cy="3756422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</a:pPr>
            <a:r>
              <a:rPr lang="en-US" altLang="en-US" sz="1200" dirty="0"/>
              <a:t>Myelofibrosis (MF) is a rare myeloproliferative neoplasm associated with bone marrow fibrosis, cytopenia, and symptom burden that impairs quality of life 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</a:pPr>
            <a:r>
              <a:rPr lang="en-US" altLang="en-US" sz="1200" dirty="0">
                <a:solidFill>
                  <a:srgbClr val="071D49"/>
                </a:solidFill>
              </a:rPr>
              <a:t>Ruxolitinib, a Janus kinase (JAK) 1/2 inhibitor, is the current standard of care for patients with MF that improves disease symptoms in approximately 40% of patients with limited impact on disease biology, and </a:t>
            </a:r>
            <a:r>
              <a:rPr lang="en-US" sz="1200" dirty="0">
                <a:solidFill>
                  <a:srgbClr val="071D49"/>
                </a:solidFill>
              </a:rPr>
              <a:t>responses are typically limited in duration (3-5 years)</a:t>
            </a:r>
            <a:r>
              <a:rPr lang="en-US" sz="1200" baseline="30000" dirty="0">
                <a:solidFill>
                  <a:srgbClr val="071D49"/>
                </a:solidFill>
              </a:rPr>
              <a:t>1</a:t>
            </a:r>
            <a:endParaRPr lang="en-US" altLang="en-US" sz="1200" baseline="30000" dirty="0">
              <a:solidFill>
                <a:srgbClr val="071D49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</a:pPr>
            <a:r>
              <a:rPr lang="en-US" altLang="en-US" sz="1200" dirty="0">
                <a:solidFill>
                  <a:srgbClr val="071D49"/>
                </a:solidFill>
              </a:rPr>
              <a:t>Navitoclax is an oral small-molecule BH3 mimetic that binds with high affinity to pro-survival proteins (BCL-2, BCL-X</a:t>
            </a:r>
            <a:r>
              <a:rPr lang="en-US" altLang="en-US" sz="1200" baseline="-25000" dirty="0">
                <a:solidFill>
                  <a:srgbClr val="071D49"/>
                </a:solidFill>
              </a:rPr>
              <a:t>L</a:t>
            </a:r>
            <a:r>
              <a:rPr lang="en-US" altLang="en-US" sz="1200" dirty="0">
                <a:solidFill>
                  <a:srgbClr val="071D49"/>
                </a:solidFill>
              </a:rPr>
              <a:t>, and BCL-W) promoting release of pro-apoptotic factors such as BIM, which promotes apoptosis of malignant MPN cells</a:t>
            </a:r>
            <a:r>
              <a:rPr lang="en-US" altLang="en-US" sz="1200" baseline="30000" dirty="0">
                <a:solidFill>
                  <a:srgbClr val="071D49"/>
                </a:solidFill>
              </a:rPr>
              <a:t>2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</a:pPr>
            <a:r>
              <a:rPr lang="en-US" altLang="en-US" sz="1200" dirty="0">
                <a:solidFill>
                  <a:srgbClr val="071D49"/>
                </a:solidFill>
              </a:rPr>
              <a:t>The synergistic effect of ruxolitinib and navitoclax can promote apoptosis of malignant cells by suppressing the expression of MCL-1, BCL-2, and BCL-X</a:t>
            </a:r>
            <a:r>
              <a:rPr lang="en-US" altLang="en-US" sz="1200" baseline="-25000" dirty="0">
                <a:solidFill>
                  <a:srgbClr val="071D49"/>
                </a:solidFill>
              </a:rPr>
              <a:t>L</a:t>
            </a:r>
            <a:r>
              <a:rPr lang="en-US" altLang="en-US" sz="1200" baseline="30000" dirty="0">
                <a:solidFill>
                  <a:srgbClr val="071D49"/>
                </a:solidFill>
              </a:rPr>
              <a:t>3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</a:pPr>
            <a:endParaRPr lang="en-US" altLang="en-US" sz="1200" baseline="30000" dirty="0"/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1EF2C18E-9AA4-47C0-A542-0E55DC44FD5F}"/>
              </a:ext>
            </a:extLst>
          </p:cNvPr>
          <p:cNvSpPr txBox="1">
            <a:spLocks/>
          </p:cNvSpPr>
          <p:nvPr/>
        </p:nvSpPr>
        <p:spPr>
          <a:xfrm>
            <a:off x="1623060" y="837688"/>
            <a:ext cx="10000212" cy="521208"/>
          </a:xfrm>
          <a:prstGeom prst="rect">
            <a:avLst/>
          </a:prstGeom>
          <a:solidFill>
            <a:srgbClr val="071D49"/>
          </a:solidFill>
        </p:spPr>
        <p:txBody>
          <a:bodyPr vert="horz" lIns="0" tIns="0" rIns="0" bIns="0" rtlCol="0" anchor="ctr">
            <a:normAutofit lnSpcReduction="10000"/>
          </a:bodyPr>
          <a:lstStyle>
            <a:lvl1pPr marL="228600" indent="-228600" algn="l" defTabSz="6858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12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0525" lvl="1" indent="0" defTabSz="514350" fontAlgn="base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50" dirty="0">
                <a:solidFill>
                  <a:prstClr val="white"/>
                </a:solidFill>
                <a:latin typeface="Arial"/>
              </a:rPr>
              <a:t>Navitoclax is an oral BCL-X</a:t>
            </a:r>
            <a:r>
              <a:rPr lang="en-US" sz="1650" baseline="-25000" dirty="0">
                <a:solidFill>
                  <a:prstClr val="white"/>
                </a:solidFill>
                <a:latin typeface="Arial"/>
              </a:rPr>
              <a:t>L  </a:t>
            </a:r>
            <a:r>
              <a:rPr lang="en-US" sz="1650" dirty="0">
                <a:solidFill>
                  <a:prstClr val="white"/>
                </a:solidFill>
                <a:latin typeface="Arial"/>
              </a:rPr>
              <a:t>inhibitor with synergistic effect when combined with JAK inhibitors to enhance malignant cell death in myelofibrosis</a:t>
            </a:r>
            <a:endParaRPr lang="en-US" sz="1650" baseline="300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51B1430C-BDD6-4DC0-862D-99892C1AB84D}"/>
              </a:ext>
            </a:extLst>
          </p:cNvPr>
          <p:cNvSpPr/>
          <p:nvPr/>
        </p:nvSpPr>
        <p:spPr>
          <a:xfrm>
            <a:off x="1280160" y="821105"/>
            <a:ext cx="548640" cy="548640"/>
          </a:xfrm>
          <a:prstGeom prst="ellipse">
            <a:avLst/>
          </a:prstGeom>
          <a:solidFill>
            <a:schemeClr val="bg1"/>
          </a:solidFill>
          <a:ln w="12700">
            <a:solidFill>
              <a:srgbClr val="071D49"/>
            </a:solidFill>
          </a:ln>
          <a:effectLst>
            <a:outerShdw sx="114000" sy="114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804E4C0B-FC1E-4FA6-9D26-C4B65A13AAB9}"/>
              </a:ext>
            </a:extLst>
          </p:cNvPr>
          <p:cNvCxnSpPr>
            <a:cxnSpLocks/>
          </p:cNvCxnSpPr>
          <p:nvPr/>
        </p:nvCxnSpPr>
        <p:spPr>
          <a:xfrm>
            <a:off x="1280160" y="5620910"/>
            <a:ext cx="10343112" cy="0"/>
          </a:xfrm>
          <a:prstGeom prst="line">
            <a:avLst/>
          </a:prstGeom>
          <a:ln>
            <a:solidFill>
              <a:srgbClr val="071D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B372B3F4-6E13-4FB3-948F-2E3654F5845D}"/>
              </a:ext>
            </a:extLst>
          </p:cNvPr>
          <p:cNvSpPr txBox="1"/>
          <p:nvPr/>
        </p:nvSpPr>
        <p:spPr>
          <a:xfrm>
            <a:off x="1365163" y="6158955"/>
            <a:ext cx="8557955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baseline="30000" dirty="0">
                <a:solidFill>
                  <a:srgbClr val="071D49"/>
                </a:solidFill>
                <a:latin typeface="Arial" panose="020B0604020202020204" pitchFamily="34" charset="0"/>
                <a:ea typeface="Malgun Gothic"/>
                <a:cs typeface="Arial" panose="020B0604020202020204" pitchFamily="34" charset="0"/>
              </a:rPr>
              <a:t>1 </a:t>
            </a:r>
            <a:r>
              <a:rPr lang="en-US" sz="750" dirty="0">
                <a:solidFill>
                  <a:srgbClr val="071D49"/>
                </a:solidFill>
                <a:latin typeface="Arial" panose="020B0604020202020204" pitchFamily="34" charset="0"/>
                <a:ea typeface="Malgun Gothic"/>
                <a:cs typeface="Arial" panose="020B0604020202020204" pitchFamily="34" charset="0"/>
              </a:rPr>
              <a:t>Tse et al., </a:t>
            </a:r>
            <a:r>
              <a:rPr lang="en-US" sz="750" i="1" dirty="0">
                <a:solidFill>
                  <a:srgbClr val="071D49"/>
                </a:solidFill>
                <a:latin typeface="Arial" panose="020B0604020202020204" pitchFamily="34" charset="0"/>
                <a:ea typeface="Malgun Gothic"/>
                <a:cs typeface="Arial" panose="020B0604020202020204" pitchFamily="34" charset="0"/>
              </a:rPr>
              <a:t>Cancer Res</a:t>
            </a:r>
            <a:r>
              <a:rPr lang="en-US" sz="750" dirty="0">
                <a:solidFill>
                  <a:srgbClr val="071D49"/>
                </a:solidFill>
                <a:latin typeface="Arial" panose="020B0604020202020204" pitchFamily="34" charset="0"/>
                <a:ea typeface="Malgun Gothic"/>
                <a:cs typeface="Arial" panose="020B0604020202020204" pitchFamily="34" charset="0"/>
              </a:rPr>
              <a:t>, 2008; </a:t>
            </a:r>
            <a:r>
              <a:rPr lang="en-US" sz="750" baseline="30000" dirty="0">
                <a:solidFill>
                  <a:srgbClr val="071D49"/>
                </a:solidFill>
                <a:latin typeface="Arial" panose="020B0604020202020204" pitchFamily="34" charset="0"/>
                <a:ea typeface="Malgun Gothic"/>
                <a:cs typeface="Arial" panose="020B0604020202020204" pitchFamily="34" charset="0"/>
              </a:rPr>
              <a:t>2</a:t>
            </a:r>
            <a:r>
              <a:rPr lang="en-US" sz="750" dirty="0">
                <a:solidFill>
                  <a:srgbClr val="071D49"/>
                </a:solidFill>
                <a:latin typeface="Arial" panose="020B0604020202020204" pitchFamily="34" charset="0"/>
                <a:ea typeface="Malgun Gothic"/>
                <a:cs typeface="Arial" panose="020B0604020202020204" pitchFamily="34" charset="0"/>
              </a:rPr>
              <a:t>Chen at al., </a:t>
            </a:r>
            <a:r>
              <a:rPr lang="en-US" sz="750" i="1" dirty="0">
                <a:solidFill>
                  <a:srgbClr val="071D49"/>
                </a:solidFill>
                <a:latin typeface="Arial" panose="020B0604020202020204" pitchFamily="34" charset="0"/>
                <a:ea typeface="Malgun Gothic"/>
                <a:cs typeface="Arial" panose="020B0604020202020204" pitchFamily="34" charset="0"/>
              </a:rPr>
              <a:t>Mol. Cancer Ther, </a:t>
            </a:r>
            <a:r>
              <a:rPr lang="en-US" sz="750" dirty="0">
                <a:solidFill>
                  <a:srgbClr val="071D49"/>
                </a:solidFill>
                <a:latin typeface="Arial" panose="020B0604020202020204" pitchFamily="34" charset="0"/>
                <a:ea typeface="Malgun Gothic"/>
                <a:cs typeface="Arial" panose="020B0604020202020204" pitchFamily="34" charset="0"/>
              </a:rPr>
              <a:t>2011; </a:t>
            </a:r>
            <a:r>
              <a:rPr lang="en-US" sz="750" baseline="30000" dirty="0">
                <a:solidFill>
                  <a:srgbClr val="071D49"/>
                </a:solidFill>
                <a:latin typeface="Arial" panose="020B0604020202020204" pitchFamily="34" charset="0"/>
                <a:ea typeface="Malgun Gothic"/>
                <a:cs typeface="Arial" panose="020B0604020202020204" pitchFamily="34" charset="0"/>
              </a:rPr>
              <a:t>3</a:t>
            </a:r>
            <a:r>
              <a:rPr lang="en-US" sz="750" dirty="0">
                <a:solidFill>
                  <a:srgbClr val="071D49"/>
                </a:solidFill>
                <a:latin typeface="Arial" panose="020B0604020202020204" pitchFamily="34" charset="0"/>
                <a:ea typeface="Malgun Gothic"/>
                <a:cs typeface="Arial" panose="020B0604020202020204" pitchFamily="34" charset="0"/>
              </a:rPr>
              <a:t>Waibel et al., </a:t>
            </a:r>
            <a:r>
              <a:rPr lang="en-US" sz="750" i="1" dirty="0">
                <a:solidFill>
                  <a:srgbClr val="071D49"/>
                </a:solidFill>
                <a:latin typeface="Arial" panose="020B0604020202020204" pitchFamily="34" charset="0"/>
                <a:ea typeface="Malgun Gothic"/>
                <a:cs typeface="Arial" panose="020B0604020202020204" pitchFamily="34" charset="0"/>
              </a:rPr>
              <a:t>Cell Rep</a:t>
            </a:r>
            <a:r>
              <a:rPr lang="en-US" sz="750" dirty="0">
                <a:solidFill>
                  <a:srgbClr val="071D49"/>
                </a:solidFill>
                <a:latin typeface="Arial" panose="020B0604020202020204" pitchFamily="34" charset="0"/>
                <a:ea typeface="Malgun Gothic"/>
                <a:cs typeface="Arial" panose="020B0604020202020204" pitchFamily="34" charset="0"/>
              </a:rPr>
              <a:t>; 2013</a:t>
            </a:r>
          </a:p>
          <a:p>
            <a:pPr defTabSz="3429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71D49"/>
                </a:solidFill>
                <a:latin typeface="Arial" panose="020B0604020202020204" pitchFamily="34" charset="0"/>
                <a:ea typeface="Malgun Gothic"/>
                <a:cs typeface="Arial" panose="020B0604020202020204" pitchFamily="34" charset="0"/>
              </a:rPr>
              <a:t>MPN, myeloproliferative neoplas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FC6872E-3E6C-45ED-8F7A-3763C495A73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1909" y="1731833"/>
            <a:ext cx="5361363" cy="283274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 descr="A picture containing clock&#10;&#10;Description automatically generated">
            <a:extLst>
              <a:ext uri="{FF2B5EF4-FFF2-40B4-BE49-F238E27FC236}">
                <a16:creationId xmlns:a16="http://schemas.microsoft.com/office/drawing/2014/main" id="{9139249E-8DF3-4E8B-970D-596A55B9A1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5163" y="906108"/>
            <a:ext cx="378634" cy="378634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69624A7-0298-C645-BBD6-07F8D3EF550D}"/>
              </a:ext>
            </a:extLst>
          </p:cNvPr>
          <p:cNvGrpSpPr/>
          <p:nvPr/>
        </p:nvGrpSpPr>
        <p:grpSpPr>
          <a:xfrm>
            <a:off x="607125" y="454152"/>
            <a:ext cx="10977750" cy="5949696"/>
            <a:chOff x="2851644" y="1669564"/>
            <a:chExt cx="6673356" cy="3616810"/>
          </a:xfrm>
        </p:grpSpPr>
        <p:sp>
          <p:nvSpPr>
            <p:cNvPr id="43" name="Content Placeholder 2">
              <a:extLst>
                <a:ext uri="{FF2B5EF4-FFF2-40B4-BE49-F238E27FC236}">
                  <a16:creationId xmlns:a16="http://schemas.microsoft.com/office/drawing/2014/main" id="{1EF2C18E-9AA4-47C0-A542-0E55DC44FD5F}"/>
                </a:ext>
              </a:extLst>
            </p:cNvPr>
            <p:cNvSpPr txBox="1">
              <a:spLocks/>
            </p:cNvSpPr>
            <p:nvPr/>
          </p:nvSpPr>
          <p:spPr>
            <a:xfrm>
              <a:off x="3147532" y="1682001"/>
              <a:ext cx="6377468" cy="390906"/>
            </a:xfrm>
            <a:prstGeom prst="rect">
              <a:avLst/>
            </a:prstGeom>
            <a:solidFill>
              <a:srgbClr val="071D49"/>
            </a:solidFill>
          </p:spPr>
          <p:txBody>
            <a:bodyPr vert="horz" lIns="0" tIns="0" rIns="0" bIns="0" rtlCol="0" anchor="ctr">
              <a:normAutofit/>
            </a:bodyPr>
            <a:lstStyle>
              <a:lvl1pPr marL="228600" indent="-228600" algn="l" defTabSz="685800" rtl="0" eaLnBrk="1" latinLnBrk="0" hangingPunct="1">
                <a:lnSpc>
                  <a:spcPct val="112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112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112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112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112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92894" lvl="1" indent="0" defTabSz="385763" fontAlgn="base">
                <a:spcBef>
                  <a:spcPts val="225"/>
                </a:spcBef>
                <a:spcAft>
                  <a:spcPts val="225"/>
                </a:spcAft>
                <a:buNone/>
              </a:pPr>
              <a:r>
                <a:rPr lang="en-US" sz="1500" dirty="0">
                  <a:solidFill>
                    <a:prstClr val="white"/>
                  </a:solidFill>
                  <a:latin typeface="Arial"/>
                </a:rPr>
                <a:t>     Patients treated with navitoclax and ruxolitinib achieved spleen volume reductions</a:t>
              </a:r>
              <a:endParaRPr lang="en-US" sz="1500" strike="sngStrike" dirty="0">
                <a:solidFill>
                  <a:prstClr val="white"/>
                </a:solidFill>
                <a:highlight>
                  <a:srgbClr val="FFFF00"/>
                </a:highlight>
                <a:latin typeface="Arial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1B1430C-BDD6-4DC0-862D-99892C1AB84D}"/>
                </a:ext>
              </a:extLst>
            </p:cNvPr>
            <p:cNvSpPr/>
            <p:nvPr/>
          </p:nvSpPr>
          <p:spPr>
            <a:xfrm>
              <a:off x="2890358" y="1669564"/>
              <a:ext cx="411480" cy="41148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071D49"/>
              </a:solidFill>
            </a:ln>
            <a:effectLst>
              <a:outerShdw sx="114000" sy="114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13" dirty="0">
                <a:solidFill>
                  <a:prstClr val="white"/>
                </a:solidFill>
                <a:latin typeface="Arial"/>
              </a:endParaRP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804E4C0B-FC1E-4FA6-9D26-C4B65A13AAB9}"/>
                </a:ext>
              </a:extLst>
            </p:cNvPr>
            <p:cNvCxnSpPr>
              <a:cxnSpLocks/>
            </p:cNvCxnSpPr>
            <p:nvPr/>
          </p:nvCxnSpPr>
          <p:spPr>
            <a:xfrm>
              <a:off x="2890360" y="5001035"/>
              <a:ext cx="6418466" cy="0"/>
            </a:xfrm>
            <a:prstGeom prst="line">
              <a:avLst/>
            </a:prstGeom>
            <a:ln>
              <a:solidFill>
                <a:srgbClr val="071D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B47E9E54-8335-4102-8BB0-7B50838A4C04}"/>
                </a:ext>
              </a:extLst>
            </p:cNvPr>
            <p:cNvSpPr txBox="1"/>
            <p:nvPr/>
          </p:nvSpPr>
          <p:spPr>
            <a:xfrm>
              <a:off x="3285320" y="4421228"/>
              <a:ext cx="6023506" cy="57167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94655" lvl="1" indent="-94655" defTabSz="257175" fontAlgn="base">
                <a:spcAft>
                  <a:spcPts val="338"/>
                </a:spcAft>
                <a:buClr>
                  <a:srgbClr val="071D49"/>
                </a:buClr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rgbClr val="081538"/>
                  </a:solidFill>
                  <a:latin typeface="Arial"/>
                  <a:cs typeface="Arial" panose="020B0604020202020204" pitchFamily="34" charset="0"/>
                </a:rPr>
                <a:t>All patients experienced reduction in spleen volumes; 20/32 (63%) achieved spleen volume reduction of at least 35% (SVR</a:t>
              </a:r>
              <a:r>
                <a:rPr lang="en-US" sz="900" baseline="-25000" dirty="0">
                  <a:solidFill>
                    <a:srgbClr val="081538"/>
                  </a:solidFill>
                  <a:latin typeface="Arial"/>
                  <a:cs typeface="Arial" panose="020B0604020202020204" pitchFamily="34" charset="0"/>
                </a:rPr>
                <a:t>35</a:t>
              </a:r>
              <a:r>
                <a:rPr lang="en-US" sz="900" dirty="0">
                  <a:solidFill>
                    <a:srgbClr val="081538"/>
                  </a:solidFill>
                  <a:latin typeface="Arial"/>
                  <a:cs typeface="Arial" panose="020B0604020202020204" pitchFamily="34" charset="0"/>
                </a:rPr>
                <a:t> ) at week 24</a:t>
              </a:r>
            </a:p>
            <a:p>
              <a:pPr marL="94655" lvl="1" indent="-94655" defTabSz="257175" fontAlgn="base">
                <a:spcAft>
                  <a:spcPts val="338"/>
                </a:spcAft>
                <a:buClr>
                  <a:srgbClr val="071D49"/>
                </a:buClr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rgbClr val="081538"/>
                  </a:solidFill>
                  <a:latin typeface="Arial"/>
                  <a:cs typeface="Arial" panose="020B0604020202020204" pitchFamily="34" charset="0"/>
                </a:rPr>
                <a:t>SVR</a:t>
              </a:r>
              <a:r>
                <a:rPr lang="en-US" sz="900" baseline="-25000" dirty="0">
                  <a:solidFill>
                    <a:srgbClr val="081538"/>
                  </a:solidFill>
                  <a:latin typeface="Arial"/>
                  <a:cs typeface="Arial" panose="020B0604020202020204" pitchFamily="34" charset="0"/>
                </a:rPr>
                <a:t>35</a:t>
              </a:r>
              <a:r>
                <a:rPr lang="en-US" sz="900" dirty="0">
                  <a:solidFill>
                    <a:srgbClr val="081538"/>
                  </a:solidFill>
                  <a:latin typeface="Arial"/>
                  <a:cs typeface="Arial" panose="020B0604020202020204" pitchFamily="34" charset="0"/>
                </a:rPr>
                <a:t> obtained anytime during the post-baseline period was observed in 25/32 (78%) patients</a:t>
              </a:r>
            </a:p>
            <a:p>
              <a:pPr marL="94655" lvl="1" indent="-94655" defTabSz="257175" fontAlgn="base">
                <a:spcAft>
                  <a:spcPts val="338"/>
                </a:spcAft>
                <a:buClr>
                  <a:srgbClr val="071D49"/>
                </a:buClr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rgbClr val="081538"/>
                  </a:solidFill>
                  <a:latin typeface="Arial"/>
                  <a:cs typeface="Arial" panose="020B0604020202020204" pitchFamily="34" charset="0"/>
                </a:rPr>
                <a:t>Median time to first SVR</a:t>
              </a:r>
              <a:r>
                <a:rPr lang="en-US" sz="900" baseline="-25000" dirty="0">
                  <a:solidFill>
                    <a:srgbClr val="081538"/>
                  </a:solidFill>
                  <a:latin typeface="Arial"/>
                  <a:cs typeface="Arial" panose="020B0604020202020204" pitchFamily="34" charset="0"/>
                </a:rPr>
                <a:t>35</a:t>
              </a:r>
              <a:r>
                <a:rPr lang="en-US" sz="900" dirty="0">
                  <a:solidFill>
                    <a:srgbClr val="081538"/>
                  </a:solidFill>
                  <a:latin typeface="Arial"/>
                  <a:cs typeface="Arial" panose="020B0604020202020204" pitchFamily="34" charset="0"/>
                </a:rPr>
                <a:t> was 12.3 weeks (range, 11.1 to 47.3)</a:t>
              </a:r>
            </a:p>
            <a:p>
              <a:pPr marL="94655" lvl="1" indent="-94655" defTabSz="257175" fontAlgn="base">
                <a:spcAft>
                  <a:spcPts val="338"/>
                </a:spcAft>
                <a:buClr>
                  <a:srgbClr val="071D49"/>
                </a:buClr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rgbClr val="081538"/>
                  </a:solidFill>
                  <a:latin typeface="Arial"/>
                  <a:cs typeface="Arial" panose="020B0604020202020204" pitchFamily="34" charset="0"/>
                </a:rPr>
                <a:t>Estimated rate of maintaining SVR</a:t>
              </a:r>
              <a:r>
                <a:rPr lang="en-US" sz="900" baseline="-25000" dirty="0">
                  <a:solidFill>
                    <a:srgbClr val="081538"/>
                  </a:solidFill>
                  <a:latin typeface="Arial"/>
                  <a:cs typeface="Arial" panose="020B0604020202020204" pitchFamily="34" charset="0"/>
                </a:rPr>
                <a:t>35</a:t>
              </a:r>
              <a:r>
                <a:rPr lang="en-US" sz="900" dirty="0">
                  <a:solidFill>
                    <a:srgbClr val="081538"/>
                  </a:solidFill>
                  <a:latin typeface="Arial"/>
                  <a:cs typeface="Arial" panose="020B0604020202020204" pitchFamily="34" charset="0"/>
                </a:rPr>
                <a:t> at 12 months was 92.9% (95% CI, 59.1 to 99.0)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62B7D501-3CF6-48A3-8563-5D92AFE51E3B}"/>
                </a:ext>
              </a:extLst>
            </p:cNvPr>
            <p:cNvSpPr txBox="1"/>
            <p:nvPr/>
          </p:nvSpPr>
          <p:spPr>
            <a:xfrm>
              <a:off x="2851644" y="5020788"/>
              <a:ext cx="6319396" cy="2655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25717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563" dirty="0">
                  <a:solidFill>
                    <a:srgbClr val="081538"/>
                  </a:solidFill>
                  <a:latin typeface="Arial"/>
                </a:rPr>
                <a:t>Spleen volume was measured by MRI/CT</a:t>
              </a:r>
            </a:p>
            <a:p>
              <a:pPr defTabSz="25717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563" dirty="0">
                  <a:solidFill>
                    <a:srgbClr val="081538"/>
                  </a:solidFill>
                  <a:latin typeface="Arial"/>
                </a:rPr>
                <a:t>Three patients discontinued the study prior to week 24, and 2 patients received new anti MF therapy before week 24</a:t>
              </a: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FDD1B49-58FB-46FC-A9CB-35DDCEDFBA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55497" y="1734665"/>
              <a:ext cx="281202" cy="281202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EB691DB-914A-64B5-DDF5-0B0696C628C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47531" y="2113059"/>
              <a:ext cx="6023506" cy="20691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032332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E5C8BD5-4B29-E24A-B2B4-5BA240B8B546}"/>
              </a:ext>
            </a:extLst>
          </p:cNvPr>
          <p:cNvGrpSpPr/>
          <p:nvPr/>
        </p:nvGrpSpPr>
        <p:grpSpPr>
          <a:xfrm>
            <a:off x="660932" y="548640"/>
            <a:ext cx="11531070" cy="6047232"/>
            <a:chOff x="2886769" y="1669564"/>
            <a:chExt cx="6638232" cy="3481284"/>
          </a:xfrm>
        </p:grpSpPr>
        <p:sp>
          <p:nvSpPr>
            <p:cNvPr id="43" name="Content Placeholder 2">
              <a:extLst>
                <a:ext uri="{FF2B5EF4-FFF2-40B4-BE49-F238E27FC236}">
                  <a16:creationId xmlns:a16="http://schemas.microsoft.com/office/drawing/2014/main" id="{1EF2C18E-9AA4-47C0-A542-0E55DC44FD5F}"/>
                </a:ext>
              </a:extLst>
            </p:cNvPr>
            <p:cNvSpPr txBox="1">
              <a:spLocks/>
            </p:cNvSpPr>
            <p:nvPr/>
          </p:nvSpPr>
          <p:spPr>
            <a:xfrm>
              <a:off x="3095855" y="1682001"/>
              <a:ext cx="6429146" cy="390906"/>
            </a:xfrm>
            <a:prstGeom prst="rect">
              <a:avLst/>
            </a:prstGeom>
            <a:solidFill>
              <a:srgbClr val="071D49"/>
            </a:solidFill>
          </p:spPr>
          <p:txBody>
            <a:bodyPr vert="horz" lIns="0" tIns="0" rIns="0" bIns="0" rtlCol="0" anchor="ctr">
              <a:normAutofit/>
            </a:bodyPr>
            <a:lstStyle>
              <a:lvl1pPr marL="228600" indent="-228600" algn="l" defTabSz="685800" rtl="0" eaLnBrk="1" latinLnBrk="0" hangingPunct="1">
                <a:lnSpc>
                  <a:spcPct val="112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112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112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112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112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92894" lvl="1" indent="0" defTabSz="385763" fontAlgn="base">
                <a:spcBef>
                  <a:spcPts val="225"/>
                </a:spcBef>
                <a:spcAft>
                  <a:spcPts val="225"/>
                </a:spcAft>
                <a:buNone/>
              </a:pPr>
              <a:r>
                <a:rPr lang="en-US" sz="1500" dirty="0">
                  <a:solidFill>
                    <a:prstClr val="white"/>
                  </a:solidFill>
                  <a:latin typeface="Arial"/>
                </a:rPr>
                <a:t>      Patients treated with navitoclax and ruxolitinib reported reduction in disease symptom burden</a:t>
              </a:r>
              <a:endParaRPr lang="en-US" sz="1500" baseline="-25000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51B1430C-BDD6-4DC0-862D-99892C1AB84D}"/>
                </a:ext>
              </a:extLst>
            </p:cNvPr>
            <p:cNvSpPr/>
            <p:nvPr/>
          </p:nvSpPr>
          <p:spPr>
            <a:xfrm>
              <a:off x="2890358" y="1669564"/>
              <a:ext cx="411480" cy="41148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071D49"/>
              </a:solidFill>
            </a:ln>
            <a:effectLst>
              <a:outerShdw sx="114000" sy="114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13" dirty="0">
                <a:solidFill>
                  <a:prstClr val="white"/>
                </a:solidFill>
                <a:latin typeface="Arial"/>
              </a:endParaRP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804E4C0B-FC1E-4FA6-9D26-C4B65A13AAB9}"/>
                </a:ext>
              </a:extLst>
            </p:cNvPr>
            <p:cNvCxnSpPr>
              <a:cxnSpLocks/>
            </p:cNvCxnSpPr>
            <p:nvPr/>
          </p:nvCxnSpPr>
          <p:spPr>
            <a:xfrm>
              <a:off x="2890360" y="4933630"/>
              <a:ext cx="6418466" cy="0"/>
            </a:xfrm>
            <a:prstGeom prst="line">
              <a:avLst/>
            </a:prstGeom>
            <a:ln>
              <a:solidFill>
                <a:srgbClr val="071D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B372B3F4-6E13-4FB3-948F-2E3654F5845D}"/>
                </a:ext>
              </a:extLst>
            </p:cNvPr>
            <p:cNvSpPr txBox="1"/>
            <p:nvPr/>
          </p:nvSpPr>
          <p:spPr>
            <a:xfrm>
              <a:off x="2886769" y="4977595"/>
              <a:ext cx="6418466" cy="1732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25717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563" dirty="0">
                  <a:solidFill>
                    <a:srgbClr val="071D49"/>
                  </a:solidFill>
                  <a:latin typeface="Arial" panose="020B0604020202020204" pitchFamily="34" charset="0"/>
                  <a:ea typeface="Malgun Gothic"/>
                  <a:cs typeface="Arial" panose="020B0604020202020204" pitchFamily="34" charset="0"/>
                </a:rPr>
                <a:t>Total symptom score (TSS) was measured by Myelofibrosis Symptom Assessment Form v.4.0.; </a:t>
              </a:r>
              <a:r>
                <a:rPr lang="en-US" sz="563" dirty="0">
                  <a:solidFill>
                    <a:srgbClr val="071D49"/>
                  </a:solidFill>
                  <a:latin typeface="Arial"/>
                  <a:ea typeface="Calibri" panose="020F0502020204030204" pitchFamily="34" charset="0"/>
                </a:rPr>
                <a:t>5 patients had baseline TSS ≤ 0 or had missing values for baseline TSS;</a:t>
              </a:r>
              <a:r>
                <a:rPr lang="en-US" sz="563" dirty="0">
                  <a:solidFill>
                    <a:srgbClr val="071D49"/>
                  </a:solidFill>
                  <a:latin typeface="Arial" panose="020B0604020202020204" pitchFamily="34" charset="0"/>
                  <a:ea typeface="Malgun Gothic"/>
                  <a:cs typeface="Arial" panose="020B0604020202020204" pitchFamily="34" charset="0"/>
                </a:rPr>
                <a:t> </a:t>
              </a:r>
              <a:r>
                <a:rPr lang="en-US" sz="563" dirty="0">
                  <a:solidFill>
                    <a:srgbClr val="071D49"/>
                  </a:solidFill>
                  <a:latin typeface="Arial"/>
                  <a:ea typeface="Malgun Gothic"/>
                  <a:cs typeface="Arial" panose="020B0604020202020204" pitchFamily="34" charset="0"/>
                </a:rPr>
                <a:t>5 patients had </a:t>
              </a:r>
              <a:r>
                <a:rPr lang="en-US" sz="563" dirty="0">
                  <a:solidFill>
                    <a:srgbClr val="071D49"/>
                  </a:solidFill>
                  <a:latin typeface="Arial"/>
                  <a:ea typeface="Calibri" panose="020F0502020204030204" pitchFamily="34" charset="0"/>
                </a:rPr>
                <a:t>missing post-baseline TSS at week 24 and were considered as non-responders</a:t>
              </a:r>
              <a:endParaRPr lang="en-US" sz="563" dirty="0">
                <a:solidFill>
                  <a:srgbClr val="071D49"/>
                </a:solidFill>
                <a:latin typeface="Arial" panose="020B0604020202020204" pitchFamily="34" charset="0"/>
                <a:ea typeface="Malgun Gothic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96A1B4B-5E81-4CF3-B052-3CEC25D5EDF8}"/>
                </a:ext>
              </a:extLst>
            </p:cNvPr>
            <p:cNvSpPr txBox="1"/>
            <p:nvPr/>
          </p:nvSpPr>
          <p:spPr>
            <a:xfrm>
              <a:off x="3199196" y="4366641"/>
              <a:ext cx="6154549" cy="54630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60735" indent="-160735" defTabSz="257175" eaLnBrk="0" fontAlgn="base" hangingPunct="0">
                <a:spcBef>
                  <a:spcPct val="0"/>
                </a:spcBef>
                <a:spcAft>
                  <a:spcPts val="338"/>
                </a:spcAft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rgbClr val="081538"/>
                  </a:solidFill>
                  <a:latin typeface="Arial"/>
                </a:rPr>
                <a:t>Total symptom score reduction of at least 50% (TSS</a:t>
              </a:r>
              <a:r>
                <a:rPr lang="en-US" sz="900" baseline="-25000" dirty="0">
                  <a:solidFill>
                    <a:srgbClr val="081538"/>
                  </a:solidFill>
                  <a:latin typeface="Arial"/>
                </a:rPr>
                <a:t>50</a:t>
              </a:r>
              <a:r>
                <a:rPr lang="en-US" sz="900" dirty="0">
                  <a:solidFill>
                    <a:srgbClr val="081538"/>
                  </a:solidFill>
                  <a:latin typeface="Arial"/>
                </a:rPr>
                <a:t>)</a:t>
              </a:r>
              <a:r>
                <a:rPr lang="en-US" sz="900" baseline="-25000" dirty="0">
                  <a:solidFill>
                    <a:srgbClr val="081538"/>
                  </a:solidFill>
                  <a:latin typeface="Arial"/>
                </a:rPr>
                <a:t>  </a:t>
              </a:r>
              <a:r>
                <a:rPr lang="en-US" sz="900" dirty="0">
                  <a:solidFill>
                    <a:srgbClr val="081538"/>
                  </a:solidFill>
                  <a:latin typeface="Arial"/>
                  <a:cs typeface="Arial" panose="020B0604020202020204" pitchFamily="34" charset="0"/>
                </a:rPr>
                <a:t>at anytime during the post-baseline period was observed in 18/27 (67%) patients</a:t>
              </a:r>
            </a:p>
            <a:p>
              <a:pPr marL="160735" indent="-160735" defTabSz="257175" eaLnBrk="0" fontAlgn="base" hangingPunct="0">
                <a:spcBef>
                  <a:spcPct val="0"/>
                </a:spcBef>
                <a:spcAft>
                  <a:spcPts val="338"/>
                </a:spcAft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rgbClr val="081538"/>
                  </a:solidFill>
                  <a:latin typeface="Arial"/>
                  <a:cs typeface="Arial" panose="020B0604020202020204" pitchFamily="34" charset="0"/>
                </a:rPr>
                <a:t>Median time to first TSS</a:t>
              </a:r>
              <a:r>
                <a:rPr lang="en-US" sz="900" baseline="-25000" dirty="0">
                  <a:solidFill>
                    <a:srgbClr val="081538"/>
                  </a:solidFill>
                  <a:latin typeface="Arial"/>
                  <a:cs typeface="Arial" panose="020B0604020202020204" pitchFamily="34" charset="0"/>
                </a:rPr>
                <a:t>50</a:t>
              </a:r>
              <a:r>
                <a:rPr lang="en-US" sz="900" dirty="0">
                  <a:solidFill>
                    <a:srgbClr val="081538"/>
                  </a:solidFill>
                  <a:latin typeface="Arial"/>
                  <a:cs typeface="Arial" panose="020B0604020202020204" pitchFamily="34" charset="0"/>
                </a:rPr>
                <a:t> from baseline was 3.2 weeks (95% CI, 0.3 to 16.3)</a:t>
              </a:r>
              <a:endParaRPr lang="en-US" sz="900" dirty="0">
                <a:solidFill>
                  <a:srgbClr val="081538"/>
                </a:solidFill>
                <a:latin typeface="Arial"/>
              </a:endParaRPr>
            </a:p>
          </p:txBody>
        </p: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A4BEC1CA-9643-45BC-95CC-BD94DE8426F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955497" y="1743568"/>
              <a:ext cx="281202" cy="281202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E1F4878-FD05-44B5-BD10-FB710F8C1B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69074" y="2116872"/>
              <a:ext cx="4155794" cy="22189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2200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9A0D2F2E-A284-4BB9-821C-C898FD253A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092037" y="5352016"/>
            <a:ext cx="7504403" cy="453167"/>
          </a:xfrm>
        </p:spPr>
        <p:txBody>
          <a:bodyPr/>
          <a:lstStyle/>
          <a:p>
            <a:pPr defTabSz="685783"/>
            <a:r>
              <a:rPr lang="en-GB" sz="900" dirty="0">
                <a:solidFill>
                  <a:srgbClr val="5C686B"/>
                </a:solidFill>
                <a:latin typeface="Arial"/>
              </a:rPr>
              <a:t>Presented at the </a:t>
            </a:r>
            <a:r>
              <a:rPr lang="en-US" sz="900" dirty="0">
                <a:solidFill>
                  <a:srgbClr val="5C686B"/>
                </a:solidFill>
                <a:latin typeface="Arial"/>
              </a:rPr>
              <a:t>84th Annual Meeting of the Japanese Society of Hematology </a:t>
            </a:r>
            <a:r>
              <a:rPr lang="en-GB" sz="900" dirty="0">
                <a:solidFill>
                  <a:srgbClr val="5C686B"/>
                </a:solidFill>
                <a:latin typeface="Arial"/>
              </a:rPr>
              <a:t>• Fukuoka, Japan • October 14-16, 2022 (</a:t>
            </a:r>
            <a:r>
              <a:rPr lang="en-US" sz="900" dirty="0">
                <a:solidFill>
                  <a:srgbClr val="5C686B"/>
                </a:solidFill>
                <a:latin typeface="Arial"/>
              </a:rPr>
              <a:t>Presentation: OS2-9B-3</a:t>
            </a:r>
            <a:r>
              <a:rPr lang="en-GB" sz="900" dirty="0">
                <a:solidFill>
                  <a:srgbClr val="5C686B"/>
                </a:solidFill>
                <a:latin typeface="Arial"/>
              </a:rPr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dd-on Parsaclisib in Patients With Myelofibrosis and Suboptimal Response to Ruxolitinib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AC73254B-D734-C265-4B56-129F14C6036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19CA5C-9DF4-44B1-A344-EFA1A6F361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92037" y="3616952"/>
            <a:ext cx="8159031" cy="1980740"/>
          </a:xfrm>
        </p:spPr>
        <p:txBody>
          <a:bodyPr>
            <a:noAutofit/>
          </a:bodyPr>
          <a:lstStyle/>
          <a:p>
            <a:pPr defTabSz="685800">
              <a:spcBef>
                <a:spcPts val="225"/>
              </a:spcBef>
            </a:pPr>
            <a:r>
              <a:rPr lang="en-US" dirty="0" err="1">
                <a:solidFill>
                  <a:srgbClr val="5C686B"/>
                </a:solidFill>
              </a:rPr>
              <a:t>Abdulraheem</a:t>
            </a:r>
            <a:r>
              <a:rPr lang="en-US" dirty="0">
                <a:solidFill>
                  <a:srgbClr val="5C686B"/>
                </a:solidFill>
              </a:rPr>
              <a:t> Yacoub,</a:t>
            </a:r>
            <a:r>
              <a:rPr lang="en-US" baseline="30000" dirty="0">
                <a:solidFill>
                  <a:srgbClr val="5C686B"/>
                </a:solidFill>
              </a:rPr>
              <a:t>1</a:t>
            </a:r>
            <a:r>
              <a:rPr lang="en-US" dirty="0">
                <a:solidFill>
                  <a:srgbClr val="5C686B"/>
                </a:solidFill>
              </a:rPr>
              <a:t> Uma Borate,</a:t>
            </a:r>
            <a:r>
              <a:rPr lang="en-US" baseline="30000" dirty="0">
                <a:solidFill>
                  <a:srgbClr val="5C686B"/>
                </a:solidFill>
              </a:rPr>
              <a:t>2</a:t>
            </a:r>
            <a:r>
              <a:rPr lang="en-US" dirty="0">
                <a:solidFill>
                  <a:srgbClr val="5C686B"/>
                </a:solidFill>
              </a:rPr>
              <a:t> </a:t>
            </a:r>
            <a:r>
              <a:rPr lang="en-US" dirty="0" err="1">
                <a:solidFill>
                  <a:srgbClr val="5C686B"/>
                </a:solidFill>
              </a:rPr>
              <a:t>Raajit</a:t>
            </a:r>
            <a:r>
              <a:rPr lang="en-US" dirty="0">
                <a:solidFill>
                  <a:srgbClr val="5C686B"/>
                </a:solidFill>
              </a:rPr>
              <a:t> Rampal,</a:t>
            </a:r>
            <a:r>
              <a:rPr lang="en-US" baseline="30000" dirty="0">
                <a:solidFill>
                  <a:srgbClr val="5C686B"/>
                </a:solidFill>
              </a:rPr>
              <a:t>3</a:t>
            </a:r>
            <a:r>
              <a:rPr lang="en-US" dirty="0">
                <a:solidFill>
                  <a:srgbClr val="5C686B"/>
                </a:solidFill>
              </a:rPr>
              <a:t> </a:t>
            </a:r>
            <a:r>
              <a:rPr lang="en-US" dirty="0" err="1">
                <a:solidFill>
                  <a:srgbClr val="5C686B"/>
                </a:solidFill>
              </a:rPr>
              <a:t>Haris</a:t>
            </a:r>
            <a:r>
              <a:rPr lang="en-US" dirty="0">
                <a:solidFill>
                  <a:srgbClr val="5C686B"/>
                </a:solidFill>
              </a:rPr>
              <a:t> Ali,</a:t>
            </a:r>
            <a:r>
              <a:rPr lang="en-US" baseline="30000" dirty="0">
                <a:solidFill>
                  <a:srgbClr val="5C686B"/>
                </a:solidFill>
              </a:rPr>
              <a:t>4</a:t>
            </a:r>
            <a:r>
              <a:rPr lang="en-US" dirty="0">
                <a:solidFill>
                  <a:srgbClr val="5C686B"/>
                </a:solidFill>
              </a:rPr>
              <a:t> Eunice Wang,</a:t>
            </a:r>
            <a:r>
              <a:rPr lang="en-US" baseline="30000" dirty="0">
                <a:solidFill>
                  <a:srgbClr val="5C686B"/>
                </a:solidFill>
              </a:rPr>
              <a:t>5</a:t>
            </a:r>
            <a:r>
              <a:rPr lang="en-US" dirty="0">
                <a:solidFill>
                  <a:srgbClr val="5C686B"/>
                </a:solidFill>
              </a:rPr>
              <a:t> Aaron Gerds,</a:t>
            </a:r>
            <a:r>
              <a:rPr lang="en-US" baseline="30000" dirty="0">
                <a:solidFill>
                  <a:srgbClr val="5C686B"/>
                </a:solidFill>
              </a:rPr>
              <a:t>6</a:t>
            </a:r>
            <a:r>
              <a:rPr lang="en-US" dirty="0">
                <a:solidFill>
                  <a:srgbClr val="5C686B"/>
                </a:solidFill>
              </a:rPr>
              <a:t> Gabriela Hobbs,</a:t>
            </a:r>
            <a:r>
              <a:rPr lang="en-US" baseline="30000" dirty="0">
                <a:solidFill>
                  <a:srgbClr val="5C686B"/>
                </a:solidFill>
              </a:rPr>
              <a:t>7</a:t>
            </a:r>
            <a:r>
              <a:rPr lang="en-US" dirty="0">
                <a:solidFill>
                  <a:srgbClr val="5C686B"/>
                </a:solidFill>
              </a:rPr>
              <a:t> </a:t>
            </a:r>
            <a:br>
              <a:rPr lang="en-US" dirty="0">
                <a:solidFill>
                  <a:srgbClr val="5C686B"/>
                </a:solidFill>
              </a:rPr>
            </a:br>
            <a:r>
              <a:rPr lang="en-US" dirty="0">
                <a:solidFill>
                  <a:srgbClr val="5C686B"/>
                </a:solidFill>
              </a:rPr>
              <a:t>Marina Kremyanskaya,</a:t>
            </a:r>
            <a:r>
              <a:rPr lang="en-US" baseline="30000" dirty="0">
                <a:solidFill>
                  <a:srgbClr val="5C686B"/>
                </a:solidFill>
              </a:rPr>
              <a:t>8</a:t>
            </a:r>
            <a:r>
              <a:rPr lang="en-US" dirty="0">
                <a:solidFill>
                  <a:srgbClr val="5C686B"/>
                </a:solidFill>
              </a:rPr>
              <a:t> Elliott Winton,</a:t>
            </a:r>
            <a:r>
              <a:rPr lang="en-US" baseline="30000" dirty="0">
                <a:solidFill>
                  <a:srgbClr val="5C686B"/>
                </a:solidFill>
              </a:rPr>
              <a:t>9</a:t>
            </a:r>
            <a:r>
              <a:rPr lang="en-US" dirty="0">
                <a:solidFill>
                  <a:srgbClr val="5C686B"/>
                </a:solidFill>
              </a:rPr>
              <a:t> Casey O’Connell,</a:t>
            </a:r>
            <a:r>
              <a:rPr lang="en-US" baseline="30000" dirty="0">
                <a:solidFill>
                  <a:srgbClr val="5C686B"/>
                </a:solidFill>
              </a:rPr>
              <a:t>10</a:t>
            </a:r>
            <a:r>
              <a:rPr lang="en-US" dirty="0">
                <a:solidFill>
                  <a:srgbClr val="5C686B"/>
                </a:solidFill>
              </a:rPr>
              <a:t> Swati Goel,</a:t>
            </a:r>
            <a:r>
              <a:rPr lang="en-US" baseline="30000" dirty="0">
                <a:solidFill>
                  <a:srgbClr val="5C686B"/>
                </a:solidFill>
              </a:rPr>
              <a:t>11</a:t>
            </a:r>
            <a:r>
              <a:rPr lang="en-US" dirty="0">
                <a:solidFill>
                  <a:srgbClr val="5C686B"/>
                </a:solidFill>
              </a:rPr>
              <a:t> Stephen Oh,</a:t>
            </a:r>
            <a:r>
              <a:rPr lang="en-US" baseline="30000" dirty="0">
                <a:solidFill>
                  <a:srgbClr val="5C686B"/>
                </a:solidFill>
              </a:rPr>
              <a:t>12</a:t>
            </a:r>
            <a:r>
              <a:rPr lang="en-US" dirty="0">
                <a:solidFill>
                  <a:srgbClr val="5C686B"/>
                </a:solidFill>
              </a:rPr>
              <a:t> Gary Schiller,</a:t>
            </a:r>
            <a:r>
              <a:rPr lang="en-US" baseline="30000" dirty="0">
                <a:solidFill>
                  <a:srgbClr val="5C686B"/>
                </a:solidFill>
              </a:rPr>
              <a:t>13</a:t>
            </a:r>
            <a:r>
              <a:rPr lang="en-US" dirty="0">
                <a:solidFill>
                  <a:srgbClr val="5C686B"/>
                </a:solidFill>
              </a:rPr>
              <a:t> Albert Assad,</a:t>
            </a:r>
            <a:r>
              <a:rPr lang="en-US" baseline="30000" dirty="0">
                <a:solidFill>
                  <a:srgbClr val="5C686B"/>
                </a:solidFill>
              </a:rPr>
              <a:t>14</a:t>
            </a:r>
            <a:r>
              <a:rPr lang="en-US" dirty="0">
                <a:solidFill>
                  <a:srgbClr val="5C686B"/>
                </a:solidFill>
              </a:rPr>
              <a:t> Sue Erickson-Viitanen,</a:t>
            </a:r>
            <a:r>
              <a:rPr lang="en-US" baseline="30000" dirty="0">
                <a:solidFill>
                  <a:srgbClr val="5C686B"/>
                </a:solidFill>
              </a:rPr>
              <a:t>14</a:t>
            </a:r>
            <a:r>
              <a:rPr lang="en-US" dirty="0">
                <a:solidFill>
                  <a:srgbClr val="5C686B"/>
                </a:solidFill>
              </a:rPr>
              <a:t> Feng Zhou,</a:t>
            </a:r>
            <a:r>
              <a:rPr lang="en-US" baseline="30000" dirty="0">
                <a:solidFill>
                  <a:srgbClr val="5C686B"/>
                </a:solidFill>
              </a:rPr>
              <a:t>14</a:t>
            </a:r>
            <a:r>
              <a:rPr lang="en-US" dirty="0">
                <a:solidFill>
                  <a:srgbClr val="5C686B"/>
                </a:solidFill>
              </a:rPr>
              <a:t> Naval Daver</a:t>
            </a:r>
            <a:r>
              <a:rPr lang="en-US" baseline="30000" dirty="0">
                <a:solidFill>
                  <a:srgbClr val="5C686B"/>
                </a:solidFill>
              </a:rPr>
              <a:t>15</a:t>
            </a:r>
          </a:p>
          <a:p>
            <a:endParaRPr lang="en-US" dirty="0">
              <a:solidFill>
                <a:srgbClr val="5C686B"/>
              </a:solidFill>
            </a:endParaRPr>
          </a:p>
          <a:p>
            <a:r>
              <a:rPr lang="en-US" sz="900" baseline="30000" dirty="0">
                <a:solidFill>
                  <a:srgbClr val="5C686B"/>
                </a:solidFill>
              </a:rPr>
              <a:t>1</a:t>
            </a:r>
            <a:r>
              <a:rPr lang="en-US" sz="900" dirty="0">
                <a:solidFill>
                  <a:srgbClr val="5C686B"/>
                </a:solidFill>
              </a:rPr>
              <a:t>University of Kansas Cancer Center, Westwood, KS, USA; </a:t>
            </a:r>
            <a:r>
              <a:rPr lang="en-US" sz="900" baseline="30000" dirty="0">
                <a:solidFill>
                  <a:srgbClr val="5C686B"/>
                </a:solidFill>
              </a:rPr>
              <a:t>2</a:t>
            </a:r>
            <a:r>
              <a:rPr lang="en-US" sz="900" dirty="0">
                <a:solidFill>
                  <a:srgbClr val="5C686B"/>
                </a:solidFill>
              </a:rPr>
              <a:t>Oregon Health &amp; Science University, Portland, OR, USA; </a:t>
            </a:r>
            <a:r>
              <a:rPr lang="en-US" sz="900" baseline="30000" dirty="0">
                <a:solidFill>
                  <a:srgbClr val="5C686B"/>
                </a:solidFill>
              </a:rPr>
              <a:t>3</a:t>
            </a:r>
            <a:r>
              <a:rPr lang="en-US" sz="900" dirty="0">
                <a:solidFill>
                  <a:srgbClr val="5C686B"/>
                </a:solidFill>
              </a:rPr>
              <a:t>Memorial Sloan Kettering Cancer Center, New York, NY, USA; </a:t>
            </a:r>
            <a:r>
              <a:rPr lang="en-US" sz="900" baseline="30000" dirty="0">
                <a:solidFill>
                  <a:srgbClr val="5C686B"/>
                </a:solidFill>
              </a:rPr>
              <a:t>4</a:t>
            </a:r>
            <a:r>
              <a:rPr lang="en-US" sz="900" dirty="0">
                <a:solidFill>
                  <a:srgbClr val="5C686B"/>
                </a:solidFill>
              </a:rPr>
              <a:t>City of Hope National Medical Center, Duarte, CA, USA; </a:t>
            </a:r>
            <a:r>
              <a:rPr lang="en-US" sz="900" baseline="30000" dirty="0">
                <a:solidFill>
                  <a:srgbClr val="5C686B"/>
                </a:solidFill>
              </a:rPr>
              <a:t>5</a:t>
            </a:r>
            <a:r>
              <a:rPr lang="en-US" sz="900" dirty="0">
                <a:solidFill>
                  <a:srgbClr val="5C686B"/>
                </a:solidFill>
              </a:rPr>
              <a:t>Roswell Park Comprehensive Cancer Center, Buffalo, NY, USA; </a:t>
            </a:r>
            <a:r>
              <a:rPr lang="en-US" sz="900" baseline="30000" dirty="0">
                <a:solidFill>
                  <a:srgbClr val="5C686B"/>
                </a:solidFill>
              </a:rPr>
              <a:t>6</a:t>
            </a:r>
            <a:r>
              <a:rPr lang="en-US" sz="900" dirty="0">
                <a:solidFill>
                  <a:srgbClr val="5C686B"/>
                </a:solidFill>
              </a:rPr>
              <a:t>Cleveland Clinic, Cleveland, OH, USA; </a:t>
            </a:r>
            <a:r>
              <a:rPr lang="en-US" sz="900" baseline="30000" dirty="0">
                <a:solidFill>
                  <a:srgbClr val="5C686B"/>
                </a:solidFill>
              </a:rPr>
              <a:t>7</a:t>
            </a:r>
            <a:r>
              <a:rPr lang="en-US" sz="900" dirty="0">
                <a:solidFill>
                  <a:srgbClr val="5C686B"/>
                </a:solidFill>
              </a:rPr>
              <a:t>Massachusetts General Hospital, Boston, MA, USA; </a:t>
            </a:r>
            <a:r>
              <a:rPr lang="en-US" sz="900" baseline="30000" dirty="0">
                <a:solidFill>
                  <a:srgbClr val="5C686B"/>
                </a:solidFill>
              </a:rPr>
              <a:t>8</a:t>
            </a:r>
            <a:r>
              <a:rPr lang="en-US" sz="900" dirty="0">
                <a:solidFill>
                  <a:srgbClr val="5C686B"/>
                </a:solidFill>
              </a:rPr>
              <a:t>Icahn School of Medicine at Mount Sinai, New York, NY, USA; </a:t>
            </a:r>
            <a:r>
              <a:rPr lang="en-US" sz="900" baseline="30000" dirty="0">
                <a:solidFill>
                  <a:srgbClr val="5C686B"/>
                </a:solidFill>
              </a:rPr>
              <a:t>9</a:t>
            </a:r>
            <a:r>
              <a:rPr lang="en-US" sz="900" dirty="0">
                <a:solidFill>
                  <a:srgbClr val="5C686B"/>
                </a:solidFill>
              </a:rPr>
              <a:t>Emory University, Atlanta, GA, USA; </a:t>
            </a:r>
            <a:r>
              <a:rPr lang="en-US" sz="900" baseline="30000" dirty="0">
                <a:solidFill>
                  <a:srgbClr val="5C686B"/>
                </a:solidFill>
              </a:rPr>
              <a:t>10</a:t>
            </a:r>
            <a:r>
              <a:rPr lang="en-US" sz="900" dirty="0">
                <a:solidFill>
                  <a:srgbClr val="5C686B"/>
                </a:solidFill>
              </a:rPr>
              <a:t>University of Southern California, Los Angeles, CA, USA; </a:t>
            </a:r>
            <a:r>
              <a:rPr lang="en-US" sz="900" baseline="30000" dirty="0">
                <a:solidFill>
                  <a:srgbClr val="5C686B"/>
                </a:solidFill>
              </a:rPr>
              <a:t>11</a:t>
            </a:r>
            <a:r>
              <a:rPr lang="en-US" sz="900" dirty="0">
                <a:solidFill>
                  <a:srgbClr val="5C686B"/>
                </a:solidFill>
              </a:rPr>
              <a:t>Montefiore Medical Center, Bronx, NY, USA; </a:t>
            </a:r>
            <a:r>
              <a:rPr lang="en-US" sz="900" baseline="30000" dirty="0">
                <a:solidFill>
                  <a:srgbClr val="5C686B"/>
                </a:solidFill>
              </a:rPr>
              <a:t>12</a:t>
            </a:r>
            <a:r>
              <a:rPr lang="en-US" sz="900" dirty="0">
                <a:solidFill>
                  <a:srgbClr val="5C686B"/>
                </a:solidFill>
              </a:rPr>
              <a:t>Washington University School of Medicine, St. Louis, MO, USA; </a:t>
            </a:r>
            <a:r>
              <a:rPr lang="en-US" sz="900" baseline="30000" dirty="0">
                <a:solidFill>
                  <a:srgbClr val="5C686B"/>
                </a:solidFill>
              </a:rPr>
              <a:t>13</a:t>
            </a:r>
            <a:r>
              <a:rPr lang="en-US" sz="900" dirty="0">
                <a:solidFill>
                  <a:srgbClr val="5C686B"/>
                </a:solidFill>
              </a:rPr>
              <a:t>David Geffen School of Medicine, University of California Los Angeles, Los Angeles, CA, USA; </a:t>
            </a:r>
            <a:r>
              <a:rPr lang="en-US" sz="900" baseline="30000" dirty="0">
                <a:solidFill>
                  <a:srgbClr val="5C686B"/>
                </a:solidFill>
              </a:rPr>
              <a:t>14</a:t>
            </a:r>
            <a:r>
              <a:rPr lang="en-US" sz="900" dirty="0">
                <a:solidFill>
                  <a:srgbClr val="5C686B"/>
                </a:solidFill>
              </a:rPr>
              <a:t>Incyte Corporation, Wilmington, DE, USA; </a:t>
            </a:r>
            <a:r>
              <a:rPr lang="en-US" sz="900" baseline="30000" dirty="0">
                <a:solidFill>
                  <a:srgbClr val="5C686B"/>
                </a:solidFill>
              </a:rPr>
              <a:t>15</a:t>
            </a:r>
            <a:r>
              <a:rPr lang="en-US" sz="900" dirty="0">
                <a:solidFill>
                  <a:srgbClr val="5C686B"/>
                </a:solidFill>
              </a:rPr>
              <a:t>University of Texas MD Anderson Cancer Center, Houston, TX, USA</a:t>
            </a:r>
            <a:endParaRPr lang="en-GB" sz="900" dirty="0">
              <a:solidFill>
                <a:srgbClr val="5C68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35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JAK1/2 and PI3K Pathways in Myelofibrosis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C6482A4-623B-430A-9BE0-90F1AE0C49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4944" y="1856186"/>
            <a:ext cx="5095370" cy="3490913"/>
          </a:xfrm>
        </p:spPr>
        <p:txBody>
          <a:bodyPr/>
          <a:lstStyle/>
          <a:p>
            <a:pPr>
              <a:spcBef>
                <a:spcPts val="225"/>
              </a:spcBef>
            </a:pPr>
            <a:r>
              <a:rPr lang="en-US" dirty="0"/>
              <a:t>Ruxolitinib, a JAK1/2 inhibitor, improves symptoms and prolongs survival in patients with intermediate- or high-risk MF</a:t>
            </a:r>
            <a:r>
              <a:rPr lang="en-US" baseline="30000" dirty="0"/>
              <a:t>1-3</a:t>
            </a:r>
          </a:p>
          <a:p>
            <a:pPr lvl="1">
              <a:spcBef>
                <a:spcPts val="225"/>
              </a:spcBef>
            </a:pPr>
            <a:r>
              <a:rPr lang="en-US" sz="1600" dirty="0"/>
              <a:t>Some patients may experience suboptimal or declining responses despite continued JAK inhibition</a:t>
            </a:r>
          </a:p>
          <a:p>
            <a:pPr lvl="1">
              <a:spcBef>
                <a:spcPts val="225"/>
              </a:spcBef>
            </a:pPr>
            <a:r>
              <a:rPr lang="en-US" sz="1600" dirty="0"/>
              <a:t>Additionally, patients with low platelets are more difficult to treat with JAK inhibitors, which are associated with thrombocytopenia</a:t>
            </a:r>
          </a:p>
          <a:p>
            <a:pPr>
              <a:spcBef>
                <a:spcPts val="225"/>
              </a:spcBef>
            </a:pPr>
            <a:r>
              <a:rPr lang="en-US" dirty="0"/>
              <a:t>Parsaclisib is a potent, highly selective, next-generation PI3Kδ inhibitor that exhibits favorable pharmacokinetics for once-daily dosing</a:t>
            </a:r>
            <a:r>
              <a:rPr lang="en-US" baseline="30000" dirty="0"/>
              <a:t>4</a:t>
            </a:r>
          </a:p>
          <a:p>
            <a:pPr>
              <a:spcBef>
                <a:spcPts val="225"/>
              </a:spcBef>
            </a:pPr>
            <a:r>
              <a:rPr lang="en-US" dirty="0"/>
              <a:t>Combined inhibition of signaling via the JAK1/2 and PI3K pathways may improve outcomes in patients with MF</a:t>
            </a:r>
          </a:p>
        </p:txBody>
      </p:sp>
      <p:pic>
        <p:nvPicPr>
          <p:cNvPr id="8" name="Content Placeholder 7" descr="Map&#10;&#10;Description automatically generated">
            <a:extLst>
              <a:ext uri="{FF2B5EF4-FFF2-40B4-BE49-F238E27FC236}">
                <a16:creationId xmlns:a16="http://schemas.microsoft.com/office/drawing/2014/main" id="{B05D992D-62AE-0A5B-5A03-EE9DBC0C781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5897450" y="1856184"/>
            <a:ext cx="5502070" cy="3878959"/>
          </a:xfrm>
          <a:ln w="317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</p:pic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85783"/>
            <a:r>
              <a:rPr lang="en-US" sz="600" dirty="0">
                <a:latin typeface="Arial"/>
              </a:rPr>
              <a:t>JAK, Janus kinase; MF, myelofibrosis; PI3K, phosphatidylinositol 3-kinase.</a:t>
            </a:r>
          </a:p>
          <a:p>
            <a:pPr defTabSz="685783"/>
            <a:r>
              <a:rPr lang="en-US" sz="600" b="1" dirty="0">
                <a:latin typeface="Arial"/>
              </a:rPr>
              <a:t>1. </a:t>
            </a:r>
            <a:r>
              <a:rPr lang="en-US" sz="600" dirty="0">
                <a:latin typeface="Arial"/>
              </a:rPr>
              <a:t>Verstovsek S, et al. </a:t>
            </a:r>
            <a:r>
              <a:rPr lang="en-US" sz="600" i="1" dirty="0">
                <a:latin typeface="Arial"/>
              </a:rPr>
              <a:t>N </a:t>
            </a:r>
            <a:r>
              <a:rPr lang="en-US" sz="600" i="1" dirty="0" err="1">
                <a:latin typeface="Arial"/>
              </a:rPr>
              <a:t>Engl</a:t>
            </a:r>
            <a:r>
              <a:rPr lang="en-US" sz="600" i="1" dirty="0">
                <a:latin typeface="Arial"/>
              </a:rPr>
              <a:t> J Med</a:t>
            </a:r>
            <a:r>
              <a:rPr lang="en-US" sz="600" dirty="0">
                <a:latin typeface="Arial"/>
              </a:rPr>
              <a:t>. 2012;366:799-807.  </a:t>
            </a:r>
            <a:r>
              <a:rPr lang="en-US" sz="600" b="1" dirty="0">
                <a:latin typeface="Arial"/>
              </a:rPr>
              <a:t>2. </a:t>
            </a:r>
            <a:r>
              <a:rPr lang="en-US" sz="600" dirty="0">
                <a:latin typeface="Arial"/>
              </a:rPr>
              <a:t>Harrison C, et al. </a:t>
            </a:r>
            <a:r>
              <a:rPr lang="en-US" sz="600" i="1" dirty="0">
                <a:latin typeface="Arial"/>
              </a:rPr>
              <a:t>N </a:t>
            </a:r>
            <a:r>
              <a:rPr lang="en-US" sz="600" i="1" dirty="0" err="1">
                <a:latin typeface="Arial"/>
              </a:rPr>
              <a:t>Engl</a:t>
            </a:r>
            <a:r>
              <a:rPr lang="en-US" sz="600" i="1" dirty="0">
                <a:latin typeface="Arial"/>
              </a:rPr>
              <a:t> J Med</a:t>
            </a:r>
            <a:r>
              <a:rPr lang="en-US" sz="600" dirty="0">
                <a:latin typeface="Arial"/>
              </a:rPr>
              <a:t>. 2012;366:787-798.  </a:t>
            </a:r>
            <a:r>
              <a:rPr lang="en-US" sz="600" b="1" dirty="0">
                <a:latin typeface="Arial"/>
              </a:rPr>
              <a:t>3. </a:t>
            </a:r>
            <a:r>
              <a:rPr lang="en-US" sz="600" dirty="0">
                <a:latin typeface="Arial"/>
              </a:rPr>
              <a:t>Cervantes F, et al. </a:t>
            </a:r>
            <a:r>
              <a:rPr lang="en-US" sz="600" i="1" dirty="0">
                <a:latin typeface="Arial"/>
              </a:rPr>
              <a:t>Blood</a:t>
            </a:r>
            <a:r>
              <a:rPr lang="en-US" sz="600" dirty="0">
                <a:latin typeface="Arial"/>
              </a:rPr>
              <a:t>. 2013;122:4047-4053</a:t>
            </a:r>
            <a:r>
              <a:rPr lang="en-US" sz="600" b="1" dirty="0">
                <a:latin typeface="Arial"/>
              </a:rPr>
              <a:t>.  4.</a:t>
            </a:r>
            <a:r>
              <a:rPr lang="en-US" sz="600" dirty="0">
                <a:latin typeface="Arial"/>
              </a:rPr>
              <a:t> Shin N, et al. </a:t>
            </a:r>
            <a:r>
              <a:rPr lang="en-US" sz="600" i="1" dirty="0">
                <a:latin typeface="Arial"/>
              </a:rPr>
              <a:t>J </a:t>
            </a:r>
            <a:r>
              <a:rPr lang="en-US" sz="600" i="1" dirty="0" err="1">
                <a:latin typeface="Arial"/>
              </a:rPr>
              <a:t>Pharmacol</a:t>
            </a:r>
            <a:r>
              <a:rPr lang="en-US" sz="600" i="1" dirty="0">
                <a:latin typeface="Arial"/>
              </a:rPr>
              <a:t> Exp </a:t>
            </a:r>
            <a:r>
              <a:rPr lang="en-US" sz="600" i="1" dirty="0" err="1">
                <a:latin typeface="Arial"/>
              </a:rPr>
              <a:t>Ther</a:t>
            </a:r>
            <a:r>
              <a:rPr lang="en-US" sz="600" dirty="0">
                <a:latin typeface="Arial"/>
              </a:rPr>
              <a:t>. 2020;374:211-222. </a:t>
            </a:r>
            <a:endParaRPr lang="en-GB" sz="6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9975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CEB9E4-E329-A140-B8D6-841FD67BA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Ruxolitinib</a:t>
            </a:r>
            <a:r>
              <a:rPr lang="en-US" dirty="0"/>
              <a:t> FDA Approved (MF)</a:t>
            </a:r>
          </a:p>
          <a:p>
            <a:r>
              <a:rPr lang="en-US" dirty="0"/>
              <a:t>November 16, 2011 </a:t>
            </a:r>
          </a:p>
        </p:txBody>
      </p:sp>
    </p:spTree>
    <p:extLst>
      <p:ext uri="{BB962C8B-B14F-4D97-AF65-F5344CB8AC3E}">
        <p14:creationId xmlns:p14="http://schemas.microsoft.com/office/powerpoint/2010/main" val="1358605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Phase 2 Study of the JAK 1/2 Inhibitor, Ruxolitinib, and Add-on PI3Kδ Inhibitor, Parsaclisib (NCT02718300)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85783"/>
            <a:r>
              <a:rPr lang="en-GB" sz="600" dirty="0">
                <a:latin typeface="Arial"/>
              </a:rPr>
              <a:t>*Options for QD dosing were made available to patients once daily dosing regimens were added to the protocol.</a:t>
            </a:r>
            <a:endParaRPr lang="en-AU" sz="600" dirty="0">
              <a:latin typeface="Arial"/>
            </a:endParaRPr>
          </a:p>
          <a:p>
            <a:pPr defTabSz="685783"/>
            <a:r>
              <a:rPr lang="en-AU" sz="600" dirty="0">
                <a:latin typeface="Arial"/>
              </a:rPr>
              <a:t>QD, once daily; QW, once weekly.</a:t>
            </a:r>
          </a:p>
        </p:txBody>
      </p:sp>
      <p:sp>
        <p:nvSpPr>
          <p:cNvPr id="42" name="Content Placeholder 7">
            <a:extLst>
              <a:ext uri="{FF2B5EF4-FFF2-40B4-BE49-F238E27FC236}">
                <a16:creationId xmlns:a16="http://schemas.microsoft.com/office/drawing/2014/main" id="{EFD66514-4A50-4099-A7B9-38AE781E39BC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690608" y="5423380"/>
            <a:ext cx="8241602" cy="587862"/>
          </a:xfrm>
        </p:spPr>
        <p:txBody>
          <a:bodyPr/>
          <a:lstStyle/>
          <a:p>
            <a:r>
              <a:rPr lang="en-GB" sz="1350" dirty="0"/>
              <a:t>As of the data cutoff for the interim analysis (August 27, 2020), median (range) duration of treatment was 30.4 (0.6-147.6) week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2F7FB05-84C5-F24C-5D4C-3EF8130DAE4E}"/>
              </a:ext>
            </a:extLst>
          </p:cNvPr>
          <p:cNvGrpSpPr/>
          <p:nvPr/>
        </p:nvGrpSpPr>
        <p:grpSpPr>
          <a:xfrm>
            <a:off x="1021406" y="1410421"/>
            <a:ext cx="10035907" cy="3539531"/>
            <a:chOff x="678381" y="1344356"/>
            <a:chExt cx="8825983" cy="3681027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DE19D9A3-D1FF-4153-8605-DD80800B4E34}"/>
                </a:ext>
              </a:extLst>
            </p:cNvPr>
            <p:cNvSpPr txBox="1"/>
            <p:nvPr/>
          </p:nvSpPr>
          <p:spPr>
            <a:xfrm>
              <a:off x="731896" y="2449446"/>
              <a:ext cx="1445093" cy="731520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txBody>
            <a:bodyPr lIns="6858" tIns="16124" rIns="6858" bIns="16124" rtlCol="0" anchor="ctr"/>
            <a:lstStyle>
              <a:defPPr>
                <a:defRPr lang="en-US"/>
              </a:defPPr>
              <a:lvl1pPr marR="0" lvl="0" indent="0" algn="ctr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1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defRPr>
              </a:lvl1pPr>
              <a:lvl2pPr marL="342900" defTabSz="685800">
                <a:defRPr sz="1400"/>
              </a:lvl2pPr>
              <a:lvl3pPr marL="685800" defTabSz="685800">
                <a:defRPr sz="1400"/>
              </a:lvl3pPr>
              <a:lvl4pPr marL="1028700" defTabSz="685800">
                <a:defRPr sz="1400"/>
              </a:lvl4pPr>
              <a:lvl5pPr marL="1371600" defTabSz="685800">
                <a:defRPr sz="1400"/>
              </a:lvl5pPr>
              <a:lvl6pPr marL="1714500" defTabSz="685800">
                <a:defRPr sz="1400"/>
              </a:lvl6pPr>
              <a:lvl7pPr marL="2057400" defTabSz="685800">
                <a:defRPr sz="1400"/>
              </a:lvl7pPr>
              <a:lvl8pPr marL="2400300" defTabSz="685800">
                <a:defRPr sz="1400"/>
              </a:lvl8pPr>
              <a:lvl9pPr marL="2743200" defTabSz="685800">
                <a:defRPr sz="1400"/>
              </a:lvl9pPr>
            </a:lstStyle>
            <a:p>
              <a:pPr defTabSz="514350"/>
              <a:r>
                <a:rPr lang="en-US" sz="900" dirty="0">
                  <a:latin typeface="Arial"/>
                </a:rPr>
                <a:t>Part 1</a:t>
              </a:r>
            </a:p>
            <a:p>
              <a:pPr defTabSz="514350"/>
              <a:r>
                <a:rPr lang="en-US" sz="900" dirty="0">
                  <a:latin typeface="Arial"/>
                </a:rPr>
                <a:t>Safety run-in</a:t>
              </a:r>
            </a:p>
            <a:p>
              <a:pPr defTabSz="514350"/>
              <a:r>
                <a:rPr lang="en-US" sz="900" dirty="0">
                  <a:latin typeface="Arial"/>
                </a:rPr>
                <a:t>n=10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190C9347-DA06-4D76-8632-84BC3CAF3ED0}"/>
                </a:ext>
              </a:extLst>
            </p:cNvPr>
            <p:cNvSpPr txBox="1"/>
            <p:nvPr/>
          </p:nvSpPr>
          <p:spPr>
            <a:xfrm>
              <a:off x="7420905" y="4034169"/>
              <a:ext cx="2081056" cy="572072"/>
            </a:xfrm>
            <a:prstGeom prst="roundRect">
              <a:avLst/>
            </a:prstGeom>
            <a:solidFill>
              <a:schemeClr val="accent2"/>
            </a:solidFill>
            <a:ln w="19050">
              <a:solidFill>
                <a:schemeClr val="accent2">
                  <a:lumMod val="75000"/>
                </a:schemeClr>
              </a:solidFill>
            </a:ln>
          </p:spPr>
          <p:txBody>
            <a:bodyPr wrap="square" lIns="82296" tIns="27432" rIns="82296" bIns="27432" rtlCol="0">
              <a:spAutoFit/>
            </a:bodyPr>
            <a:lstStyle>
              <a:defPPr>
                <a:defRPr lang="nl-NL"/>
              </a:defPPr>
              <a:lvl1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50" b="1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Times New Roman" panose="02020603050405020304" pitchFamily="18" charset="0"/>
                </a:defRPr>
              </a:lvl1pPr>
            </a:lstStyle>
            <a:p>
              <a:pPr defTabSz="385763">
                <a:lnSpc>
                  <a:spcPct val="90000"/>
                </a:lnSpc>
                <a:defRPr/>
              </a:pP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Ruxolitinib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+</a:t>
              </a:r>
              <a:b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parsaclisib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5 mg QD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76EC95F-19F5-433C-AC4A-877454C8A366}"/>
                </a:ext>
              </a:extLst>
            </p:cNvPr>
            <p:cNvSpPr txBox="1"/>
            <p:nvPr/>
          </p:nvSpPr>
          <p:spPr>
            <a:xfrm>
              <a:off x="7406494" y="1813206"/>
              <a:ext cx="2097868" cy="572072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txBody>
            <a:bodyPr wrap="none" lIns="82296" tIns="27432" rIns="82296" bIns="27432" rtlCol="0">
              <a:spAutoFit/>
            </a:bodyPr>
            <a:lstStyle/>
            <a:p>
              <a:pPr algn="ctr" defTabSz="3385046">
                <a:lnSpc>
                  <a:spcPct val="90000"/>
                </a:lnSpc>
                <a:defRPr/>
              </a:pPr>
              <a:r>
                <a:rPr lang="en-US" sz="120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xolitinib</a:t>
              </a:r>
              <a:r>
                <a:rPr lang="en-US" sz="120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+</a:t>
              </a:r>
              <a:br>
                <a:rPr lang="en-US" sz="120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rsaclisib</a:t>
              </a:r>
              <a:r>
                <a:rPr lang="en-US" sz="120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10 mg QW*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6372FFE-ABE9-4DBD-B04C-EC48E960C553}"/>
                </a:ext>
              </a:extLst>
            </p:cNvPr>
            <p:cNvSpPr txBox="1"/>
            <p:nvPr/>
          </p:nvSpPr>
          <p:spPr>
            <a:xfrm>
              <a:off x="7406495" y="2651490"/>
              <a:ext cx="2097869" cy="572072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txBody>
            <a:bodyPr wrap="none" lIns="82296" tIns="27432" rIns="82296" bIns="27432" rtlCol="0">
              <a:spAutoFit/>
            </a:bodyPr>
            <a:lstStyle/>
            <a:p>
              <a:pPr algn="ctr" defTabSz="3385046">
                <a:lnSpc>
                  <a:spcPct val="90000"/>
                </a:lnSpc>
                <a:defRPr/>
              </a:pPr>
              <a:r>
                <a:rPr lang="en-US" sz="120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xolitinib</a:t>
              </a:r>
              <a:r>
                <a:rPr lang="en-US" sz="120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+</a:t>
              </a:r>
              <a:br>
                <a:rPr lang="en-US" sz="120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rsaclisib</a:t>
              </a:r>
              <a:r>
                <a:rPr lang="en-US" sz="120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0 mg QW*</a:t>
              </a:r>
            </a:p>
          </p:txBody>
        </p:sp>
        <p:cxnSp>
          <p:nvCxnSpPr>
            <p:cNvPr id="49" name="Elbow Connector 23">
              <a:extLst>
                <a:ext uri="{FF2B5EF4-FFF2-40B4-BE49-F238E27FC236}">
                  <a16:creationId xmlns:a16="http://schemas.microsoft.com/office/drawing/2014/main" id="{B9688D39-5CEF-4700-B33E-89C1889F140D}"/>
                </a:ext>
              </a:extLst>
            </p:cNvPr>
            <p:cNvCxnSpPr>
              <a:cxnSpLocks/>
              <a:stCxn id="43" idx="3"/>
              <a:endCxn id="44" idx="1"/>
            </p:cNvCxnSpPr>
            <p:nvPr/>
          </p:nvCxnSpPr>
          <p:spPr>
            <a:xfrm>
              <a:off x="6835959" y="3901066"/>
              <a:ext cx="584946" cy="419140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rgbClr val="A6A6A6"/>
              </a:solidFill>
              <a:prstDash val="solid"/>
              <a:miter lim="800000"/>
              <a:headEnd w="lg" len="lg"/>
              <a:tailEnd type="triangle" w="lg" len="lg"/>
            </a:ln>
            <a:effectLst/>
          </p:spPr>
        </p:cxnSp>
        <p:cxnSp>
          <p:nvCxnSpPr>
            <p:cNvPr id="50" name="Elbow Connector 25">
              <a:extLst>
                <a:ext uri="{FF2B5EF4-FFF2-40B4-BE49-F238E27FC236}">
                  <a16:creationId xmlns:a16="http://schemas.microsoft.com/office/drawing/2014/main" id="{D7FED778-7D7E-4CF7-B5B3-B6893C235C3E}"/>
                </a:ext>
              </a:extLst>
            </p:cNvPr>
            <p:cNvCxnSpPr>
              <a:cxnSpLocks/>
              <a:stCxn id="55" idx="3"/>
              <a:endCxn id="44" idx="1"/>
            </p:cNvCxnSpPr>
            <p:nvPr/>
          </p:nvCxnSpPr>
          <p:spPr>
            <a:xfrm flipV="1">
              <a:off x="6848307" y="4320206"/>
              <a:ext cx="572598" cy="419141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rgbClr val="A6A6A6"/>
              </a:solidFill>
              <a:prstDash val="solid"/>
              <a:miter lim="800000"/>
              <a:headEnd w="lg" len="lg"/>
              <a:tailEnd type="triangle" w="lg" len="lg"/>
            </a:ln>
            <a:effectLst/>
          </p:spPr>
        </p:cxn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A8C397AE-A3D1-4733-B05D-0602C608AE18}"/>
                </a:ext>
              </a:extLst>
            </p:cNvPr>
            <p:cNvCxnSpPr>
              <a:cxnSpLocks/>
            </p:cNvCxnSpPr>
            <p:nvPr/>
          </p:nvCxnSpPr>
          <p:spPr>
            <a:xfrm>
              <a:off x="6849459" y="2099242"/>
              <a:ext cx="555654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  <a:miter lim="800000"/>
              <a:headEnd w="lg" len="lg"/>
              <a:tailEnd type="triangle" w="lg" len="lg"/>
            </a:ln>
            <a:effectLst/>
          </p:spPr>
        </p:cxn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74BE3005-7033-40F9-B79C-1E32EF6E47F2}"/>
                </a:ext>
              </a:extLst>
            </p:cNvPr>
            <p:cNvCxnSpPr>
              <a:cxnSpLocks/>
            </p:cNvCxnSpPr>
            <p:nvPr/>
          </p:nvCxnSpPr>
          <p:spPr>
            <a:xfrm>
              <a:off x="6849459" y="2937526"/>
              <a:ext cx="555654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  <a:miter lim="800000"/>
              <a:headEnd w="lg" len="lg"/>
              <a:tailEnd type="triangle" w="lg" len="lg"/>
            </a:ln>
            <a:effectLst/>
          </p:spPr>
        </p:cxn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B1ACE3F-C607-4EF8-96A6-49674E1C0781}"/>
                </a:ext>
              </a:extLst>
            </p:cNvPr>
            <p:cNvSpPr txBox="1"/>
            <p:nvPr/>
          </p:nvSpPr>
          <p:spPr>
            <a:xfrm>
              <a:off x="5042919" y="1349108"/>
              <a:ext cx="1621608" cy="36933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3385046"/>
              <a:r>
                <a:rPr lang="en-US" sz="12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-week treatment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F89BAD5-9676-42DF-A1D3-05631CFAD106}"/>
                </a:ext>
              </a:extLst>
            </p:cNvPr>
            <p:cNvSpPr txBox="1"/>
            <p:nvPr/>
          </p:nvSpPr>
          <p:spPr>
            <a:xfrm>
              <a:off x="7514745" y="1344356"/>
              <a:ext cx="1881368" cy="36933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3385046"/>
              <a:r>
                <a:rPr lang="en-US" sz="12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eatment thereafter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2EE11471-3540-4598-AC52-60F5DEB10FC6}"/>
                </a:ext>
              </a:extLst>
            </p:cNvPr>
            <p:cNvSpPr txBox="1"/>
            <p:nvPr/>
          </p:nvSpPr>
          <p:spPr>
            <a:xfrm>
              <a:off x="4859139" y="4453311"/>
              <a:ext cx="1989168" cy="572072"/>
            </a:xfrm>
            <a:prstGeom prst="roundRect">
              <a:avLst/>
            </a:prstGeom>
            <a:solidFill>
              <a:schemeClr val="accent2"/>
            </a:solidFill>
            <a:ln w="19050">
              <a:solidFill>
                <a:schemeClr val="accent2">
                  <a:lumMod val="75000"/>
                </a:schemeClr>
              </a:solidFill>
            </a:ln>
          </p:spPr>
          <p:txBody>
            <a:bodyPr wrap="none" lIns="82296" tIns="27432" rIns="82296" bIns="27432" rtlCol="0">
              <a:spAutoFit/>
            </a:bodyPr>
            <a:lstStyle>
              <a:defPPr>
                <a:defRPr lang="nl-NL"/>
              </a:defPPr>
              <a:lvl1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50" b="1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Times New Roman" panose="02020603050405020304" pitchFamily="18" charset="0"/>
                </a:defRPr>
              </a:lvl1pPr>
            </a:lstStyle>
            <a:p>
              <a:pPr defTabSz="385763">
                <a:lnSpc>
                  <a:spcPct val="90000"/>
                </a:lnSpc>
                <a:defRPr/>
              </a:pP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Ruxolitinib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+</a:t>
              </a:r>
              <a:b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parsaclisib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20 mg QD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0D3601E1-DF13-4891-9F66-9E1A1A068ACF}"/>
                </a:ext>
              </a:extLst>
            </p:cNvPr>
            <p:cNvSpPr txBox="1"/>
            <p:nvPr/>
          </p:nvSpPr>
          <p:spPr>
            <a:xfrm>
              <a:off x="731896" y="3688962"/>
              <a:ext cx="1445093" cy="731520"/>
            </a:xfrm>
            <a:prstGeom prst="roundRect">
              <a:avLst>
                <a:gd name="adj" fmla="val 13295"/>
              </a:avLst>
            </a:prstGeom>
            <a:solidFill>
              <a:schemeClr val="bg1">
                <a:lumMod val="85000"/>
              </a:scheme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</a:ln>
            <a:effectLst/>
          </p:spPr>
          <p:txBody>
            <a:bodyPr lIns="6858" tIns="16124" rIns="6858" bIns="16124" rtlCol="0" anchor="ctr"/>
            <a:lstStyle>
              <a:defPPr>
                <a:defRPr lang="en-US"/>
              </a:defPPr>
              <a:lvl1pPr marR="0" lvl="0" indent="0" algn="ctr"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1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defRPr>
              </a:lvl1pPr>
              <a:lvl2pPr marL="342900" defTabSz="685800">
                <a:defRPr sz="1400"/>
              </a:lvl2pPr>
              <a:lvl3pPr marL="685800" defTabSz="685800">
                <a:defRPr sz="1400"/>
              </a:lvl3pPr>
              <a:lvl4pPr marL="1028700" defTabSz="685800">
                <a:defRPr sz="1400"/>
              </a:lvl4pPr>
              <a:lvl5pPr marL="1371600" defTabSz="685800">
                <a:defRPr sz="1400"/>
              </a:lvl5pPr>
              <a:lvl6pPr marL="1714500" defTabSz="685800">
                <a:defRPr sz="1400"/>
              </a:lvl6pPr>
              <a:lvl7pPr marL="2057400" defTabSz="685800">
                <a:defRPr sz="1400"/>
              </a:lvl7pPr>
              <a:lvl8pPr marL="2400300" defTabSz="685800">
                <a:defRPr sz="1400"/>
              </a:lvl8pPr>
              <a:lvl9pPr marL="2743200" defTabSz="685800">
                <a:defRPr sz="1400"/>
              </a:lvl9pPr>
            </a:lstStyle>
            <a:p>
              <a:pPr defTabSz="514350"/>
              <a:r>
                <a:rPr lang="en-US" sz="900" dirty="0">
                  <a:latin typeface="Arial"/>
                </a:rPr>
                <a:t>Parts 2-4</a:t>
              </a:r>
            </a:p>
            <a:p>
              <a:pPr defTabSz="514350"/>
              <a:r>
                <a:rPr lang="en-US" sz="900" dirty="0">
                  <a:latin typeface="Arial"/>
                </a:rPr>
                <a:t>Randomized portion</a:t>
              </a:r>
            </a:p>
            <a:p>
              <a:pPr defTabSz="514350"/>
              <a:r>
                <a:rPr lang="en-US" sz="900" dirty="0">
                  <a:latin typeface="Arial"/>
                </a:rPr>
                <a:t>n=57</a:t>
              </a:r>
            </a:p>
          </p:txBody>
        </p: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9DFE4589-16DA-4A02-A67F-085DCCFA929D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2136152" y="2913470"/>
              <a:ext cx="1074680" cy="253862"/>
            </a:xfrm>
            <a:prstGeom prst="bentConnector2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  <a:miter lim="800000"/>
              <a:headEnd w="lg" len="lg"/>
              <a:tailEnd type="triangle" w="lg" len="lg"/>
            </a:ln>
            <a:effectLst/>
          </p:spPr>
        </p:cxn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E6A25DA9-7A08-4C35-B37B-396AA75A0601}"/>
                </a:ext>
              </a:extLst>
            </p:cNvPr>
            <p:cNvSpPr txBox="1"/>
            <p:nvPr/>
          </p:nvSpPr>
          <p:spPr>
            <a:xfrm>
              <a:off x="678381" y="1500392"/>
              <a:ext cx="1555235" cy="83715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3385046"/>
              <a:r>
                <a:rPr lang="en-US" sz="12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tients enrolled</a:t>
              </a:r>
            </a:p>
            <a:p>
              <a:pPr algn="ctr" defTabSz="3385046">
                <a:lnSpc>
                  <a:spcPct val="90000"/>
                </a:lnSpc>
              </a:pPr>
              <a:r>
                <a:rPr lang="en-US" sz="12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=67</a:t>
              </a:r>
            </a:p>
          </p:txBody>
        </p:sp>
        <p:cxnSp>
          <p:nvCxnSpPr>
            <p:cNvPr id="59" name="Connector: Elbow 58">
              <a:extLst>
                <a:ext uri="{FF2B5EF4-FFF2-40B4-BE49-F238E27FC236}">
                  <a16:creationId xmlns:a16="http://schemas.microsoft.com/office/drawing/2014/main" id="{A58BFB13-4EE1-4BB0-AD2D-B1A9E78D654C}"/>
                </a:ext>
              </a:extLst>
            </p:cNvPr>
            <p:cNvCxnSpPr>
              <a:cxnSpLocks/>
              <a:stCxn id="71" idx="3"/>
              <a:endCxn id="45" idx="1"/>
            </p:cNvCxnSpPr>
            <p:nvPr/>
          </p:nvCxnSpPr>
          <p:spPr>
            <a:xfrm flipV="1">
              <a:off x="4206604" y="2099241"/>
              <a:ext cx="652535" cy="403819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rgbClr val="A6A6A6"/>
              </a:solidFill>
              <a:prstDash val="solid"/>
              <a:miter lim="800000"/>
              <a:headEnd w="lg" len="lg"/>
              <a:tailEnd type="triangle" w="lg" len="lg"/>
            </a:ln>
            <a:effectLst/>
          </p:spPr>
        </p:cxnSp>
        <p:cxnSp>
          <p:nvCxnSpPr>
            <p:cNvPr id="60" name="Connector: Elbow 59">
              <a:extLst>
                <a:ext uri="{FF2B5EF4-FFF2-40B4-BE49-F238E27FC236}">
                  <a16:creationId xmlns:a16="http://schemas.microsoft.com/office/drawing/2014/main" id="{E8111346-A51A-45A7-BE92-502A5AB40363}"/>
                </a:ext>
              </a:extLst>
            </p:cNvPr>
            <p:cNvCxnSpPr>
              <a:cxnSpLocks/>
              <a:stCxn id="71" idx="3"/>
              <a:endCxn id="46" idx="1"/>
            </p:cNvCxnSpPr>
            <p:nvPr/>
          </p:nvCxnSpPr>
          <p:spPr>
            <a:xfrm>
              <a:off x="4206604" y="2503060"/>
              <a:ext cx="652535" cy="434465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rgbClr val="A6A6A6"/>
              </a:solidFill>
              <a:prstDash val="solid"/>
              <a:miter lim="800000"/>
              <a:headEnd w="lg" len="lg"/>
              <a:tailEnd type="triangle" w="lg" len="lg"/>
            </a:ln>
            <a:effectLst/>
          </p:spPr>
        </p:cxnSp>
        <p:cxnSp>
          <p:nvCxnSpPr>
            <p:cNvPr id="61" name="Connector: Elbow 60">
              <a:extLst>
                <a:ext uri="{FF2B5EF4-FFF2-40B4-BE49-F238E27FC236}">
                  <a16:creationId xmlns:a16="http://schemas.microsoft.com/office/drawing/2014/main" id="{B911EC2C-14D0-408C-855D-3E6350863BEF}"/>
                </a:ext>
              </a:extLst>
            </p:cNvPr>
            <p:cNvCxnSpPr>
              <a:cxnSpLocks/>
              <a:stCxn id="72" idx="3"/>
              <a:endCxn id="43" idx="1"/>
            </p:cNvCxnSpPr>
            <p:nvPr/>
          </p:nvCxnSpPr>
          <p:spPr>
            <a:xfrm flipV="1">
              <a:off x="4210550" y="3901066"/>
              <a:ext cx="660937" cy="403817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rgbClr val="A6A6A6"/>
              </a:solidFill>
              <a:prstDash val="solid"/>
              <a:miter lim="800000"/>
              <a:headEnd w="lg" len="lg"/>
              <a:tailEnd type="triangle" w="lg" len="lg"/>
            </a:ln>
            <a:effectLst/>
          </p:spPr>
        </p:cxnSp>
        <p:cxnSp>
          <p:nvCxnSpPr>
            <p:cNvPr id="62" name="Connector: Elbow 61">
              <a:extLst>
                <a:ext uri="{FF2B5EF4-FFF2-40B4-BE49-F238E27FC236}">
                  <a16:creationId xmlns:a16="http://schemas.microsoft.com/office/drawing/2014/main" id="{8FD9104D-580D-4935-9235-9F93A6C0FC2D}"/>
                </a:ext>
              </a:extLst>
            </p:cNvPr>
            <p:cNvCxnSpPr>
              <a:cxnSpLocks/>
              <a:stCxn id="72" idx="3"/>
              <a:endCxn id="55" idx="1"/>
            </p:cNvCxnSpPr>
            <p:nvPr/>
          </p:nvCxnSpPr>
          <p:spPr>
            <a:xfrm>
              <a:off x="4210550" y="4304883"/>
              <a:ext cx="648589" cy="434464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rgbClr val="A6A6A6"/>
              </a:solidFill>
              <a:prstDash val="solid"/>
              <a:miter lim="800000"/>
              <a:headEnd w="lg" len="lg"/>
              <a:tailEnd type="triangle" w="lg" len="lg"/>
            </a:ln>
            <a:effectLst/>
          </p:spPr>
        </p:cxnSp>
        <p:cxnSp>
          <p:nvCxnSpPr>
            <p:cNvPr id="68" name="Connector: Elbow 67">
              <a:extLst>
                <a:ext uri="{FF2B5EF4-FFF2-40B4-BE49-F238E27FC236}">
                  <a16:creationId xmlns:a16="http://schemas.microsoft.com/office/drawing/2014/main" id="{77959D2B-590D-4FBD-8614-E99F6F975C6A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2231590" y="3741419"/>
              <a:ext cx="880484" cy="246443"/>
            </a:xfrm>
            <a:prstGeom prst="bentConnector2">
              <a:avLst/>
            </a:prstGeom>
            <a:noFill/>
            <a:ln w="19050" cap="flat" cmpd="sng" algn="ctr">
              <a:solidFill>
                <a:srgbClr val="FFFFFF">
                  <a:lumMod val="65000"/>
                </a:srgbClr>
              </a:solidFill>
              <a:prstDash val="solid"/>
              <a:miter lim="800000"/>
              <a:headEnd w="lg" len="lg"/>
              <a:tailEnd type="triangle" w="lg" len="lg"/>
            </a:ln>
            <a:effectLst/>
          </p:spPr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E5A78ABF-2DC9-4F92-92F2-BA8FA954EC9A}"/>
                </a:ext>
              </a:extLst>
            </p:cNvPr>
            <p:cNvCxnSpPr>
              <a:cxnSpLocks/>
            </p:cNvCxnSpPr>
            <p:nvPr/>
          </p:nvCxnSpPr>
          <p:spPr>
            <a:xfrm>
              <a:off x="2336520" y="3429508"/>
              <a:ext cx="204671" cy="0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65000"/>
                </a:srgbClr>
              </a:solidFill>
              <a:prstDash val="solid"/>
              <a:miter lim="800000"/>
              <a:headEnd w="lg" len="lg"/>
              <a:tailEnd w="lg" len="lg"/>
            </a:ln>
            <a:effectLst/>
          </p:spPr>
        </p:cxn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6C46020C-1B01-414B-966F-654FC953CF13}"/>
                </a:ext>
              </a:extLst>
            </p:cNvPr>
            <p:cNvSpPr txBox="1"/>
            <p:nvPr/>
          </p:nvSpPr>
          <p:spPr>
            <a:xfrm>
              <a:off x="2795053" y="2094437"/>
              <a:ext cx="1411551" cy="817245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txBody>
            <a:bodyPr wrap="square" lIns="54864" tIns="27432" rIns="54864" bIns="27432" rtlCol="0">
              <a:spAutoFit/>
            </a:bodyPr>
            <a:lstStyle>
              <a:defPPr>
                <a:defRPr lang="en-US"/>
              </a:defPPr>
              <a:lvl1pPr algn="ctr">
                <a:defRPr sz="1050" b="1">
                  <a:solidFill>
                    <a:schemeClr val="bg1"/>
                  </a:solidFill>
                  <a:cs typeface="Times New Roman" panose="02020603050405020304" pitchFamily="18" charset="0"/>
                </a:defRPr>
              </a:lvl1pPr>
            </a:lstStyle>
            <a:p>
              <a:pPr defTabSz="3385046">
                <a:lnSpc>
                  <a:spcPct val="90000"/>
                </a:lnSpc>
                <a:defRPr/>
              </a:pPr>
              <a:r>
                <a:rPr lang="en-US" sz="1200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ily/weekly</a:t>
              </a:r>
            </a:p>
            <a:p>
              <a:pPr defTabSz="3385046">
                <a:lnSpc>
                  <a:spcPct val="90000"/>
                </a:lnSpc>
                <a:defRPr/>
              </a:pPr>
              <a:r>
                <a:rPr lang="en-US" sz="1200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sing</a:t>
              </a:r>
            </a:p>
            <a:p>
              <a:pPr defTabSz="3385046">
                <a:lnSpc>
                  <a:spcPct val="90000"/>
                </a:lnSpc>
                <a:defRPr/>
              </a:pPr>
              <a:r>
                <a:rPr lang="en-US" sz="1200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=32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0B47366-4F65-4274-ABCE-4DB63E0FE07B}"/>
                </a:ext>
              </a:extLst>
            </p:cNvPr>
            <p:cNvSpPr txBox="1"/>
            <p:nvPr/>
          </p:nvSpPr>
          <p:spPr>
            <a:xfrm>
              <a:off x="2786095" y="3896260"/>
              <a:ext cx="1424455" cy="817245"/>
            </a:xfrm>
            <a:prstGeom prst="roundRect">
              <a:avLst/>
            </a:prstGeom>
            <a:solidFill>
              <a:schemeClr val="accent2"/>
            </a:solidFill>
            <a:ln w="19050">
              <a:solidFill>
                <a:schemeClr val="accent2">
                  <a:lumMod val="75000"/>
                </a:schemeClr>
              </a:solidFill>
            </a:ln>
          </p:spPr>
          <p:txBody>
            <a:bodyPr wrap="square" lIns="54864" tIns="27432" rIns="54864" bIns="27432" rtlCol="0">
              <a:spAutoFit/>
            </a:bodyPr>
            <a:lstStyle>
              <a:defPPr>
                <a:defRPr lang="nl-NL"/>
              </a:defPPr>
              <a:lvl1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50" b="1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Times New Roman" panose="02020603050405020304" pitchFamily="18" charset="0"/>
                </a:defRPr>
              </a:lvl1pPr>
            </a:lstStyle>
            <a:p>
              <a:pPr defTabSz="385763">
                <a:lnSpc>
                  <a:spcPct val="90000"/>
                </a:lnSpc>
                <a:defRPr/>
              </a:pP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All daily</a:t>
              </a:r>
            </a:p>
            <a:p>
              <a:pPr defTabSz="385763">
                <a:lnSpc>
                  <a:spcPct val="90000"/>
                </a:lnSpc>
                <a:defRPr/>
              </a:pP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dosing</a:t>
              </a:r>
            </a:p>
            <a:p>
              <a:pPr defTabSz="385763">
                <a:lnSpc>
                  <a:spcPct val="90000"/>
                </a:lnSpc>
                <a:defRPr/>
              </a:pP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n=35</a:t>
              </a:r>
            </a:p>
          </p:txBody>
        </p:sp>
        <p:sp>
          <p:nvSpPr>
            <p:cNvPr id="73" name="Freeform 11">
              <a:extLst>
                <a:ext uri="{FF2B5EF4-FFF2-40B4-BE49-F238E27FC236}">
                  <a16:creationId xmlns:a16="http://schemas.microsoft.com/office/drawing/2014/main" id="{E0EF39EF-3C7E-4991-9A0D-41D31CE2E469}"/>
                </a:ext>
              </a:extLst>
            </p:cNvPr>
            <p:cNvSpPr/>
            <p:nvPr/>
          </p:nvSpPr>
          <p:spPr>
            <a:xfrm>
              <a:off x="2176989" y="2817793"/>
              <a:ext cx="156011" cy="1223432"/>
            </a:xfrm>
            <a:custGeom>
              <a:avLst/>
              <a:gdLst>
                <a:gd name="connsiteX0" fmla="*/ 0 w 211931"/>
                <a:gd name="connsiteY0" fmla="*/ 0 h 816769"/>
                <a:gd name="connsiteX1" fmla="*/ 211931 w 211931"/>
                <a:gd name="connsiteY1" fmla="*/ 0 h 816769"/>
                <a:gd name="connsiteX2" fmla="*/ 211931 w 211931"/>
                <a:gd name="connsiteY2" fmla="*/ 816769 h 816769"/>
                <a:gd name="connsiteX3" fmla="*/ 0 w 211931"/>
                <a:gd name="connsiteY3" fmla="*/ 816769 h 816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931" h="816769">
                  <a:moveTo>
                    <a:pt x="0" y="0"/>
                  </a:moveTo>
                  <a:lnTo>
                    <a:pt x="211931" y="0"/>
                  </a:lnTo>
                  <a:lnTo>
                    <a:pt x="211931" y="816769"/>
                  </a:lnTo>
                  <a:lnTo>
                    <a:pt x="0" y="816769"/>
                  </a:lnTo>
                </a:path>
              </a:pathLst>
            </a:custGeom>
            <a:noFill/>
            <a:ln w="19050" cap="flat" cmpd="sng" algn="ctr">
              <a:solidFill>
                <a:srgbClr val="FFFFFF">
                  <a:lumMod val="65000"/>
                </a:srgbClr>
              </a:solidFill>
              <a:prstDash val="solid"/>
              <a:miter lim="800000"/>
              <a:headEnd w="lg" len="lg"/>
              <a:tailEnd w="lg" len="lg"/>
            </a:ln>
            <a:effectLst/>
          </p:spPr>
          <p:txBody>
            <a:bodyPr rtlCol="0" anchor="ctr"/>
            <a:lstStyle/>
            <a:p>
              <a:pPr algn="ctr" defTabSz="3385046">
                <a:defRPr/>
              </a:pPr>
              <a:endParaRPr lang="en-US" sz="12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BC1E694-E1D8-4EAD-A6E4-F17B5AC9D7F0}"/>
                </a:ext>
              </a:extLst>
            </p:cNvPr>
            <p:cNvSpPr txBox="1"/>
            <p:nvPr/>
          </p:nvSpPr>
          <p:spPr>
            <a:xfrm>
              <a:off x="4871488" y="3615030"/>
              <a:ext cx="1964471" cy="572072"/>
            </a:xfrm>
            <a:prstGeom prst="roundRect">
              <a:avLst/>
            </a:prstGeom>
            <a:solidFill>
              <a:schemeClr val="accent2"/>
            </a:solidFill>
            <a:ln w="19050">
              <a:solidFill>
                <a:schemeClr val="accent2">
                  <a:lumMod val="75000"/>
                </a:schemeClr>
              </a:solidFill>
            </a:ln>
          </p:spPr>
          <p:txBody>
            <a:bodyPr wrap="square" lIns="82296" tIns="27432" rIns="82296" bIns="27432" rtlCol="0">
              <a:spAutoFit/>
            </a:bodyPr>
            <a:lstStyle>
              <a:defPPr>
                <a:defRPr lang="nl-NL"/>
              </a:defPPr>
              <a:lvl1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50" b="1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Times New Roman" panose="02020603050405020304" pitchFamily="18" charset="0"/>
                </a:defRPr>
              </a:lvl1pPr>
            </a:lstStyle>
            <a:p>
              <a:pPr defTabSz="385763">
                <a:lnSpc>
                  <a:spcPct val="90000"/>
                </a:lnSpc>
                <a:defRPr/>
              </a:pP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Ruxolitinib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+</a:t>
              </a:r>
              <a:b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parsaclisib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5 mg QD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D7C1138C-016E-4118-94F1-6634361E87B5}"/>
                </a:ext>
              </a:extLst>
            </p:cNvPr>
            <p:cNvSpPr txBox="1"/>
            <p:nvPr/>
          </p:nvSpPr>
          <p:spPr>
            <a:xfrm>
              <a:off x="4859139" y="1813205"/>
              <a:ext cx="1989168" cy="572072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txBody>
            <a:bodyPr wrap="none" lIns="82296" tIns="27432" rIns="82296" bIns="27432" rtlCol="0">
              <a:spAutoFit/>
            </a:bodyPr>
            <a:lstStyle/>
            <a:p>
              <a:pPr algn="ctr" defTabSz="3385046">
                <a:lnSpc>
                  <a:spcPct val="90000"/>
                </a:lnSpc>
                <a:defRPr/>
              </a:pPr>
              <a:r>
                <a:rPr lang="en-US" sz="120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xolitinib +</a:t>
              </a:r>
              <a:br>
                <a:rPr lang="en-US" sz="120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rsaclisib 10 mg QD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04E3FB1A-302D-448A-8F0D-11145DB2B719}"/>
                </a:ext>
              </a:extLst>
            </p:cNvPr>
            <p:cNvSpPr txBox="1"/>
            <p:nvPr/>
          </p:nvSpPr>
          <p:spPr>
            <a:xfrm>
              <a:off x="4859139" y="2651489"/>
              <a:ext cx="1989168" cy="572072"/>
            </a:xfrm>
            <a:prstGeom prst="roundRect">
              <a:avLst/>
            </a:prstGeom>
            <a:solidFill>
              <a:schemeClr val="accent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txBody>
            <a:bodyPr wrap="none" lIns="82296" tIns="27432" rIns="82296" bIns="27432" rtlCol="0">
              <a:spAutoFit/>
            </a:bodyPr>
            <a:lstStyle/>
            <a:p>
              <a:pPr algn="ctr" defTabSz="3385046">
                <a:lnSpc>
                  <a:spcPct val="90000"/>
                </a:lnSpc>
                <a:defRPr/>
              </a:pPr>
              <a:r>
                <a:rPr lang="en-US" sz="120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xolitinib</a:t>
              </a:r>
              <a:r>
                <a:rPr lang="en-US" sz="120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+</a:t>
              </a:r>
              <a:br>
                <a:rPr lang="en-US" sz="120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200" b="1" kern="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rsaclisib</a:t>
              </a:r>
              <a:r>
                <a:rPr lang="en-US" sz="120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0 mg Q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5767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FF6AC1-6086-4BA3-909E-57302E842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l-NL" dirty="0"/>
              <a:t>Percentage Change in Spleen Volume and Response Categories of All Enrolled Patients*</a:t>
            </a:r>
            <a:endParaRPr lang="en-US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6F940A03-9484-4046-B9AC-A17D95715850}"/>
              </a:ext>
            </a:extLst>
          </p:cNvPr>
          <p:cNvSpPr txBox="1">
            <a:spLocks/>
          </p:cNvSpPr>
          <p:nvPr/>
        </p:nvSpPr>
        <p:spPr>
          <a:xfrm>
            <a:off x="1648352" y="6076788"/>
            <a:ext cx="8274120" cy="45316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900">
                <a:solidFill>
                  <a:srgbClr val="757575"/>
                </a:solidFill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defTabSz="685783"/>
            <a:r>
              <a:rPr lang="en-US" sz="600" dirty="0">
                <a:solidFill>
                  <a:srgbClr val="FFFFFF">
                    <a:lumMod val="50000"/>
                  </a:srgbClr>
                </a:solidFill>
                <a:latin typeface="Arial"/>
              </a:rPr>
              <a:t>*Evaluable patients were those receiving ≥1 dose of study drug, had spleen volume baseline assessment with a non-zero value, and met ≥1 of the following criteria: (1) had an assessment at the study follow-up week; (2) had discontinued treatment before the study follow-up assessment; or (3) had been on treatment for ≥12 or 24 weeks but no 12- or 24-week assessment, respectively. </a:t>
            </a:r>
            <a:r>
              <a:rPr lang="en-US" sz="600" baseline="30000" dirty="0">
                <a:solidFill>
                  <a:srgbClr val="FFFFFF">
                    <a:lumMod val="50000"/>
                  </a:srgbClr>
                </a:solidFill>
                <a:latin typeface="Arial"/>
              </a:rPr>
              <a:t>†</a:t>
            </a:r>
            <a:r>
              <a:rPr lang="en-US" sz="600" dirty="0">
                <a:solidFill>
                  <a:srgbClr val="FFFFFF">
                    <a:lumMod val="50000"/>
                  </a:srgbClr>
                </a:solidFill>
                <a:latin typeface="Arial"/>
              </a:rPr>
              <a:t>Patient had best percentage change from baseline to &gt;100%. Dotted lines represent target reductions of 10%, 25%, and 35%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9852AC1-2F6A-6448-9813-1400D1D83EB7}"/>
              </a:ext>
            </a:extLst>
          </p:cNvPr>
          <p:cNvGrpSpPr/>
          <p:nvPr/>
        </p:nvGrpSpPr>
        <p:grpSpPr>
          <a:xfrm>
            <a:off x="974867" y="1377696"/>
            <a:ext cx="10758194" cy="4276290"/>
            <a:chOff x="1971676" y="1674244"/>
            <a:chExt cx="8193881" cy="3256998"/>
          </a:xfrm>
        </p:grpSpPr>
        <p:graphicFrame>
          <p:nvGraphicFramePr>
            <p:cNvPr id="19" name="Content Placeholder 5">
              <a:extLst>
                <a:ext uri="{FF2B5EF4-FFF2-40B4-BE49-F238E27FC236}">
                  <a16:creationId xmlns:a16="http://schemas.microsoft.com/office/drawing/2014/main" id="{99E9A217-3897-49A4-8B4F-9DD2779E19D3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678353739"/>
                </p:ext>
              </p:extLst>
            </p:nvPr>
          </p:nvGraphicFramePr>
          <p:xfrm>
            <a:off x="2162002" y="4290748"/>
            <a:ext cx="2930189" cy="640494"/>
          </p:xfrm>
          <a:graphic>
            <a:graphicData uri="http://schemas.openxmlformats.org/drawingml/2006/table">
              <a:tbl>
                <a:tblPr firstRow="1" bandRow="1">
                  <a:tableStyleId>{2D5ABB26-0587-4C30-8999-92F81FD0307C}</a:tableStyleId>
                </a:tblPr>
                <a:tblGrid>
                  <a:gridCol w="1438659">
                    <a:extLst>
                      <a:ext uri="{9D8B030D-6E8A-4147-A177-3AD203B41FA5}">
                        <a16:colId xmlns:a16="http://schemas.microsoft.com/office/drawing/2014/main" val="1110888453"/>
                      </a:ext>
                    </a:extLst>
                  </a:gridCol>
                  <a:gridCol w="1204273">
                    <a:extLst>
                      <a:ext uri="{9D8B030D-6E8A-4147-A177-3AD203B41FA5}">
                        <a16:colId xmlns:a16="http://schemas.microsoft.com/office/drawing/2014/main" val="2360577481"/>
                      </a:ext>
                    </a:extLst>
                  </a:gridCol>
                  <a:gridCol w="1204273">
                    <a:extLst>
                      <a:ext uri="{9D8B030D-6E8A-4147-A177-3AD203B41FA5}">
                        <a16:colId xmlns:a16="http://schemas.microsoft.com/office/drawing/2014/main" val="2145353838"/>
                      </a:ext>
                    </a:extLst>
                  </a:gridCol>
                </a:tblGrid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1" i="0" u="none" strike="noStrike" kern="1200" cap="none" spc="-10" normalizeH="0" baseline="0" dirty="0">
                            <a:solidFill>
                              <a:schemeClr val="tx2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Response Category, n (%)</a:t>
                        </a:r>
                      </a:p>
                    </a:txBody>
                    <a:tcPr marL="43767" marR="43767" marT="20574" marB="21884" anchor="b">
                      <a:lnT w="57150" cap="flat" cmpd="sng" algn="ctr">
                        <a:solidFill>
                          <a:srgbClr val="7DC242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1" i="0" u="none" strike="noStrike" kern="1200" cap="none" spc="-10" normalizeH="0" baseline="0" dirty="0">
                            <a:solidFill>
                              <a:schemeClr val="tx2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Daily/Weekly Dosing</a:t>
                        </a:r>
                      </a:p>
                    </a:txBody>
                    <a:tcPr marL="43767" marR="43767" marT="20574" marB="21884" anchor="b">
                      <a:lnT w="57150" cap="flat" cmpd="sng" algn="ctr">
                        <a:solidFill>
                          <a:srgbClr val="7DC242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1" i="0" u="none" strike="noStrike" kern="1200" cap="none" spc="-10" normalizeH="0" baseline="0" dirty="0">
                            <a:solidFill>
                              <a:schemeClr val="tx2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All Daily Dosing</a:t>
                        </a:r>
                      </a:p>
                    </a:txBody>
                    <a:tcPr marL="43767" marR="43767" marT="20574" marB="21884" anchor="b">
                      <a:lnT w="57150" cap="flat" cmpd="sng" algn="ctr">
                        <a:solidFill>
                          <a:srgbClr val="7DC242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3638061669"/>
                    </a:ext>
                  </a:extLst>
                </a:tr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625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Week 12</a:t>
                        </a:r>
                      </a:p>
                    </a:txBody>
                    <a:tcPr marL="43767" marR="43767" marT="20574" marB="21884">
                      <a:lnT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rgbClr val="000000">
                                <a:lumMod val="100000"/>
                              </a:srgbClr>
                            </a:solidFill>
                            <a:latin typeface="+mj-lt"/>
                            <a:ea typeface="MS PGothic" panose="020B0600070205080204" pitchFamily="34" charset="-128"/>
                            <a:cs typeface="Arial" panose="020B0604020202020204" pitchFamily="34" charset="0"/>
                            <a:sym typeface="Arial Narrow" panose="020B0606020202030204" pitchFamily="34" charset="0"/>
                          </a:rPr>
                          <a:t>n=29</a:t>
                        </a:r>
                      </a:p>
                    </a:txBody>
                    <a:tcPr marL="36473" marR="36473" marT="20574" marB="21884">
                      <a:lnT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rgbClr val="000000">
                                <a:lumMod val="100000"/>
                              </a:srgbClr>
                            </a:solidFill>
                            <a:latin typeface="+mj-lt"/>
                            <a:ea typeface="MS PGothic" panose="020B0600070205080204" pitchFamily="34" charset="-128"/>
                            <a:cs typeface="+mn-cs"/>
                            <a:sym typeface="Arial Narrow" panose="020B0606020202030204" pitchFamily="34" charset="0"/>
                          </a:rPr>
                          <a:t>n=27</a:t>
                        </a:r>
                      </a:p>
                    </a:txBody>
                    <a:tcPr marL="36473" marR="36473" marT="20574" marB="21884">
                      <a:lnT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175035638"/>
                    </a:ext>
                  </a:extLst>
                </a:tr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≥10% reduction</a:t>
                        </a:r>
                      </a:p>
                    </a:txBody>
                    <a:tcPr marL="145889" marR="43767" marT="20574" marB="2188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rgbClr val="000000">
                                <a:lumMod val="100000"/>
                              </a:srgbClr>
                            </a:solidFill>
                            <a:latin typeface="+mj-lt"/>
                            <a:ea typeface="MS PGothic" panose="020B0600070205080204" pitchFamily="34" charset="-128"/>
                            <a:cs typeface="Arial" panose="020B0604020202020204" pitchFamily="34" charset="0"/>
                            <a:sym typeface="Arial Narrow" panose="020B0606020202030204" pitchFamily="34" charset="0"/>
                          </a:rPr>
                          <a:t>9 (31)</a:t>
                        </a:r>
                      </a:p>
                    </a:txBody>
                    <a:tcPr marL="36473" marR="36473" marT="20574" marB="2188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rgbClr val="000000">
                                <a:lumMod val="100000"/>
                              </a:srgbClr>
                            </a:solidFill>
                            <a:latin typeface="+mj-lt"/>
                            <a:ea typeface="MS PGothic" panose="020B0600070205080204" pitchFamily="34" charset="-128"/>
                            <a:cs typeface="+mn-cs"/>
                            <a:sym typeface="Arial Narrow" panose="020B0606020202030204" pitchFamily="34" charset="0"/>
                          </a:rPr>
                          <a:t>15 (56)</a:t>
                        </a:r>
                      </a:p>
                    </a:txBody>
                    <a:tcPr marL="36473" marR="36473" marT="20574" marB="2188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604328438"/>
                    </a:ext>
                  </a:extLst>
                </a:tr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625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≥25% reduction</a:t>
                        </a:r>
                      </a:p>
                    </a:txBody>
                    <a:tcPr marL="145889" marR="43767" marT="20574" marB="2188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Arial" panose="020B0604020202020204" pitchFamily="34" charset="0"/>
                            <a:sym typeface="Arial Narrow" panose="020B0606020202030204" pitchFamily="34" charset="0"/>
                          </a:rPr>
                          <a:t>1 (3)</a:t>
                        </a:r>
                      </a:p>
                    </a:txBody>
                    <a:tcPr marL="36473" marR="36473" marT="20574" marB="2188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rgbClr val="000000">
                                <a:lumMod val="100000"/>
                              </a:srgbClr>
                            </a:solidFill>
                            <a:latin typeface="+mj-lt"/>
                            <a:ea typeface="MS PGothic" panose="020B0600070205080204" pitchFamily="34" charset="-128"/>
                            <a:cs typeface="+mn-cs"/>
                            <a:sym typeface="Arial Narrow" panose="020B0606020202030204" pitchFamily="34" charset="0"/>
                          </a:rPr>
                          <a:t>4 (15)</a:t>
                        </a:r>
                      </a:p>
                    </a:txBody>
                    <a:tcPr marL="36473" marR="36473" marT="20574" marB="2188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2041085818"/>
                    </a:ext>
                  </a:extLst>
                </a:tr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dk1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≥35% reduction</a:t>
                        </a:r>
                      </a:p>
                    </a:txBody>
                    <a:tcPr marL="145889" marR="43767" marT="20574" marB="21884" anchor="b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 algn="ctr">
                        <a:solidFill>
                          <a:srgbClr val="243444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rgbClr val="000000">
                                <a:lumMod val="100000"/>
                              </a:srgbClr>
                            </a:solidFill>
                            <a:latin typeface="+mj-lt"/>
                            <a:ea typeface="MS PGothic" panose="020B0600070205080204" pitchFamily="34" charset="-128"/>
                            <a:cs typeface="Arial" panose="020B0604020202020204" pitchFamily="34" charset="0"/>
                            <a:sym typeface="Arial Narrow" panose="020B0606020202030204" pitchFamily="34" charset="0"/>
                          </a:rPr>
                          <a:t>0</a:t>
                        </a:r>
                      </a:p>
                    </a:txBody>
                    <a:tcPr marL="36473" marR="36473" marT="20574" marB="21884" anchor="b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 algn="ctr">
                        <a:solidFill>
                          <a:srgbClr val="243444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rgbClr val="000000">
                                <a:lumMod val="100000"/>
                              </a:srgbClr>
                            </a:solidFill>
                            <a:latin typeface="+mj-lt"/>
                            <a:ea typeface="MS PGothic" panose="020B0600070205080204" pitchFamily="34" charset="-128"/>
                            <a:cs typeface="+mn-cs"/>
                            <a:sym typeface="Arial Narrow" panose="020B0606020202030204" pitchFamily="34" charset="0"/>
                          </a:rPr>
                          <a:t>1 (4)</a:t>
                        </a:r>
                      </a:p>
                    </a:txBody>
                    <a:tcPr marL="36473" marR="36473" marT="20574" marB="21884" anchor="b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 algn="ctr">
                        <a:solidFill>
                          <a:srgbClr val="243444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3610608652"/>
                    </a:ext>
                  </a:extLst>
                </a:tr>
              </a:tbl>
            </a:graphicData>
          </a:graphic>
        </p:graphicFrame>
        <p:graphicFrame>
          <p:nvGraphicFramePr>
            <p:cNvPr id="20" name="Content Placeholder 5">
              <a:extLst>
                <a:ext uri="{FF2B5EF4-FFF2-40B4-BE49-F238E27FC236}">
                  <a16:creationId xmlns:a16="http://schemas.microsoft.com/office/drawing/2014/main" id="{391DD3A5-A55A-4A84-B762-B74EFB1791C2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519135857"/>
                </p:ext>
              </p:extLst>
            </p:nvPr>
          </p:nvGraphicFramePr>
          <p:xfrm>
            <a:off x="6362527" y="4290748"/>
            <a:ext cx="2879361" cy="640494"/>
          </p:xfrm>
          <a:graphic>
            <a:graphicData uri="http://schemas.openxmlformats.org/drawingml/2006/table">
              <a:tbl>
                <a:tblPr firstRow="1" bandRow="1">
                  <a:tableStyleId>{2D5ABB26-0587-4C30-8999-92F81FD0307C}</a:tableStyleId>
                </a:tblPr>
                <a:tblGrid>
                  <a:gridCol w="1413705">
                    <a:extLst>
                      <a:ext uri="{9D8B030D-6E8A-4147-A177-3AD203B41FA5}">
                        <a16:colId xmlns:a16="http://schemas.microsoft.com/office/drawing/2014/main" val="1110888453"/>
                      </a:ext>
                    </a:extLst>
                  </a:gridCol>
                  <a:gridCol w="1183383">
                    <a:extLst>
                      <a:ext uri="{9D8B030D-6E8A-4147-A177-3AD203B41FA5}">
                        <a16:colId xmlns:a16="http://schemas.microsoft.com/office/drawing/2014/main" val="2360577481"/>
                      </a:ext>
                    </a:extLst>
                  </a:gridCol>
                  <a:gridCol w="1183383">
                    <a:extLst>
                      <a:ext uri="{9D8B030D-6E8A-4147-A177-3AD203B41FA5}">
                        <a16:colId xmlns:a16="http://schemas.microsoft.com/office/drawing/2014/main" val="2145353838"/>
                      </a:ext>
                    </a:extLst>
                  </a:gridCol>
                </a:tblGrid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1" i="0" u="none" strike="noStrike" kern="1200" cap="none" spc="-10" normalizeH="0" baseline="0" dirty="0">
                            <a:solidFill>
                              <a:schemeClr val="tx2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Response Category, n (%)</a:t>
                        </a:r>
                      </a:p>
                    </a:txBody>
                    <a:tcPr marL="43767" marR="43767" marT="21884" marB="20574" anchor="b">
                      <a:lnT w="57150" cap="flat" cmpd="sng" algn="ctr">
                        <a:solidFill>
                          <a:srgbClr val="7DC242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1" i="0" u="none" strike="noStrike" kern="1200" cap="none" spc="-10" normalizeH="0" baseline="0" dirty="0">
                            <a:solidFill>
                              <a:schemeClr val="tx2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Daily/Weekly Dosing</a:t>
                        </a:r>
                      </a:p>
                    </a:txBody>
                    <a:tcPr marL="43767" marR="43767" marT="21884" marB="20574" anchor="b">
                      <a:lnT w="57150" cap="flat" cmpd="sng" algn="ctr">
                        <a:solidFill>
                          <a:srgbClr val="7DC242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1" i="0" u="none" strike="noStrike" kern="1200" cap="none" spc="-10" normalizeH="0" baseline="0" dirty="0">
                            <a:solidFill>
                              <a:schemeClr val="tx2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All Daily Dosing</a:t>
                        </a:r>
                      </a:p>
                    </a:txBody>
                    <a:tcPr marL="43767" marR="43767" marT="21884" marB="20574" anchor="b">
                      <a:lnT w="57150" cap="flat" cmpd="sng" algn="ctr">
                        <a:solidFill>
                          <a:srgbClr val="7DC242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3638061669"/>
                    </a:ext>
                  </a:extLst>
                </a:tr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625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Week 24</a:t>
                        </a:r>
                      </a:p>
                    </a:txBody>
                    <a:tcPr marL="43767" marR="43767" marT="21884" marB="20574">
                      <a:lnT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rgbClr val="000000">
                                <a:lumMod val="100000"/>
                              </a:srgbClr>
                            </a:solidFill>
                            <a:latin typeface="+mj-lt"/>
                            <a:ea typeface="MS PGothic" panose="020B0600070205080204" pitchFamily="34" charset="-128"/>
                            <a:cs typeface="Arial" panose="020B0604020202020204" pitchFamily="34" charset="0"/>
                            <a:sym typeface="Arial Narrow" panose="020B0606020202030204" pitchFamily="34" charset="0"/>
                          </a:rPr>
                          <a:t>n=29</a:t>
                        </a:r>
                      </a:p>
                    </a:txBody>
                    <a:tcPr marL="43767" marR="43767" marT="21884" marB="20574">
                      <a:lnT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rgbClr val="000000">
                                <a:lumMod val="100000"/>
                              </a:srgbClr>
                            </a:solidFill>
                            <a:latin typeface="+mj-lt"/>
                            <a:ea typeface="MS PGothic" panose="020B0600070205080204" pitchFamily="34" charset="-128"/>
                            <a:cs typeface="+mn-cs"/>
                            <a:sym typeface="Arial Narrow" panose="020B0606020202030204" pitchFamily="34" charset="0"/>
                          </a:rPr>
                          <a:t>n=23</a:t>
                        </a:r>
                      </a:p>
                    </a:txBody>
                    <a:tcPr marL="43767" marR="43767" marT="21884" marB="20574">
                      <a:lnT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175035638"/>
                    </a:ext>
                  </a:extLst>
                </a:tr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≥10% reduction</a:t>
                        </a:r>
                      </a:p>
                    </a:txBody>
                    <a:tcPr marL="145889" marR="43767" marT="21884" marB="2057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rgbClr val="000000">
                                <a:lumMod val="100000"/>
                              </a:srgbClr>
                            </a:solidFill>
                            <a:latin typeface="+mj-lt"/>
                            <a:ea typeface="MS PGothic" panose="020B0600070205080204" pitchFamily="34" charset="-128"/>
                            <a:cs typeface="Arial" panose="020B0604020202020204" pitchFamily="34" charset="0"/>
                            <a:sym typeface="Arial Narrow" panose="020B0606020202030204" pitchFamily="34" charset="0"/>
                          </a:rPr>
                          <a:t>6 (21)</a:t>
                        </a:r>
                      </a:p>
                    </a:txBody>
                    <a:tcPr marL="43767" marR="43767" marT="21884" marB="2057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rgbClr val="000000">
                                <a:lumMod val="100000"/>
                              </a:srgbClr>
                            </a:solidFill>
                            <a:latin typeface="+mj-lt"/>
                            <a:ea typeface="MS PGothic" panose="020B0600070205080204" pitchFamily="34" charset="-128"/>
                            <a:cs typeface="+mn-cs"/>
                            <a:sym typeface="Arial Narrow" panose="020B0606020202030204" pitchFamily="34" charset="0"/>
                          </a:rPr>
                          <a:t>13 (57)</a:t>
                        </a:r>
                      </a:p>
                    </a:txBody>
                    <a:tcPr marL="43767" marR="43767" marT="21884" marB="2057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604328438"/>
                    </a:ext>
                  </a:extLst>
                </a:tr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625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≥25% reduction</a:t>
                        </a:r>
                      </a:p>
                    </a:txBody>
                    <a:tcPr marL="145889" marR="43767" marT="21884" marB="2057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Arial" panose="020B0604020202020204" pitchFamily="34" charset="0"/>
                            <a:sym typeface="Arial Narrow" panose="020B0606020202030204" pitchFamily="34" charset="0"/>
                          </a:rPr>
                          <a:t>4 (14)</a:t>
                        </a:r>
                      </a:p>
                    </a:txBody>
                    <a:tcPr marL="43767" marR="43767" marT="21884" marB="2057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rgbClr val="000000">
                                <a:lumMod val="100000"/>
                              </a:srgbClr>
                            </a:solidFill>
                            <a:latin typeface="+mj-lt"/>
                            <a:ea typeface="MS PGothic" panose="020B0600070205080204" pitchFamily="34" charset="-128"/>
                            <a:cs typeface="+mn-cs"/>
                            <a:sym typeface="Arial Narrow" panose="020B0606020202030204" pitchFamily="34" charset="0"/>
                          </a:rPr>
                          <a:t>7 (30)</a:t>
                        </a:r>
                      </a:p>
                    </a:txBody>
                    <a:tcPr marL="43767" marR="43767" marT="21884" marB="2057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2041085818"/>
                    </a:ext>
                  </a:extLst>
                </a:tr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dk1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≥35% reduction</a:t>
                        </a:r>
                      </a:p>
                    </a:txBody>
                    <a:tcPr marL="145889" marR="43767" marT="21884" marB="20574" anchor="b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 algn="ctr">
                        <a:solidFill>
                          <a:srgbClr val="243444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rgbClr val="000000">
                                <a:lumMod val="100000"/>
                              </a:srgbClr>
                            </a:solidFill>
                            <a:latin typeface="+mj-lt"/>
                            <a:ea typeface="MS PGothic" panose="020B0600070205080204" pitchFamily="34" charset="-128"/>
                            <a:cs typeface="Arial" panose="020B0604020202020204" pitchFamily="34" charset="0"/>
                            <a:sym typeface="Arial Narrow" panose="020B0606020202030204" pitchFamily="34" charset="0"/>
                          </a:rPr>
                          <a:t>1 (3)</a:t>
                        </a:r>
                      </a:p>
                    </a:txBody>
                    <a:tcPr marL="43767" marR="43767" marT="21884" marB="20574" anchor="b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 algn="ctr">
                        <a:solidFill>
                          <a:srgbClr val="243444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rgbClr val="000000">
                                <a:lumMod val="100000"/>
                              </a:srgbClr>
                            </a:solidFill>
                            <a:latin typeface="+mj-lt"/>
                            <a:ea typeface="MS PGothic" panose="020B0600070205080204" pitchFamily="34" charset="-128"/>
                            <a:cs typeface="+mn-cs"/>
                            <a:sym typeface="Arial Narrow" panose="020B0606020202030204" pitchFamily="34" charset="0"/>
                          </a:rPr>
                          <a:t>2 (9)</a:t>
                        </a:r>
                      </a:p>
                    </a:txBody>
                    <a:tcPr marL="43767" marR="43767" marT="21884" marB="20574" anchor="b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 algn="ctr">
                        <a:solidFill>
                          <a:srgbClr val="243444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3610608652"/>
                    </a:ext>
                  </a:extLst>
                </a:tr>
              </a:tbl>
            </a:graphicData>
          </a:graphic>
        </p:graphicFrame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7718AB2-082B-4FA7-9136-4CF7AFE998A4}"/>
                </a:ext>
              </a:extLst>
            </p:cNvPr>
            <p:cNvSpPr txBox="1"/>
            <p:nvPr/>
          </p:nvSpPr>
          <p:spPr>
            <a:xfrm>
              <a:off x="2443780" y="1913593"/>
              <a:ext cx="347791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/>
              <a:r>
                <a:rPr lang="en-US" sz="1200" b="1" dirty="0">
                  <a:solidFill>
                    <a:srgbClr val="243444"/>
                  </a:solidFill>
                  <a:latin typeface="Arial Narrow" panose="020B0606020202030204" pitchFamily="34" charset="0"/>
                </a:rPr>
                <a:t>12 Week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B0AC584-8570-4C3D-8BAE-7F464D394B62}"/>
                </a:ext>
              </a:extLst>
            </p:cNvPr>
            <p:cNvSpPr txBox="1"/>
            <p:nvPr/>
          </p:nvSpPr>
          <p:spPr>
            <a:xfrm>
              <a:off x="6639263" y="1908679"/>
              <a:ext cx="348295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/>
              <a:r>
                <a:rPr lang="en-US" sz="1200" b="1" dirty="0">
                  <a:solidFill>
                    <a:srgbClr val="243444"/>
                  </a:solidFill>
                  <a:latin typeface="Arial Narrow" panose="020B0606020202030204" pitchFamily="34" charset="0"/>
                </a:rPr>
                <a:t>24 Weeks</a:t>
              </a:r>
            </a:p>
          </p:txBody>
        </p:sp>
        <p:graphicFrame>
          <p:nvGraphicFramePr>
            <p:cNvPr id="10" name="Object 9">
              <a:extLst>
                <a:ext uri="{FF2B5EF4-FFF2-40B4-BE49-F238E27FC236}">
                  <a16:creationId xmlns:a16="http://schemas.microsoft.com/office/drawing/2014/main" id="{21A6BAD0-FE62-8A95-9924-0A4254501B6F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783902458"/>
                </p:ext>
              </p:extLst>
            </p:nvPr>
          </p:nvGraphicFramePr>
          <p:xfrm>
            <a:off x="1971676" y="2163367"/>
            <a:ext cx="4093369" cy="200858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051" name="Prism 9" r:id="rId4" imgW="7117736" imgH="3297608" progId="Prism9.Document">
                    <p:embed/>
                  </p:oleObj>
                </mc:Choice>
                <mc:Fallback>
                  <p:oleObj name="Prism 9" r:id="rId4" imgW="7117736" imgH="3297608" progId="Prism9.Document">
                    <p:embed/>
                    <p:pic>
                      <p:nvPicPr>
                        <p:cNvPr id="10" name="Object 9">
                          <a:extLst>
                            <a:ext uri="{FF2B5EF4-FFF2-40B4-BE49-F238E27FC236}">
                              <a16:creationId xmlns:a16="http://schemas.microsoft.com/office/drawing/2014/main" id="{21A6BAD0-FE62-8A95-9924-0A4254501B6F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5"/>
                        <a:stretch>
                          <a:fillRect/>
                        </a:stretch>
                      </p:blipFill>
                      <p:spPr>
                        <a:xfrm>
                          <a:off x="1971676" y="2163367"/>
                          <a:ext cx="4093369" cy="2008584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1" name="Object 10">
              <a:extLst>
                <a:ext uri="{FF2B5EF4-FFF2-40B4-BE49-F238E27FC236}">
                  <a16:creationId xmlns:a16="http://schemas.microsoft.com/office/drawing/2014/main" id="{C52430E6-DE98-D5BD-65E9-AB7F52843CFF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593359974"/>
                </p:ext>
              </p:extLst>
            </p:nvPr>
          </p:nvGraphicFramePr>
          <p:xfrm>
            <a:off x="6100763" y="2253855"/>
            <a:ext cx="4064794" cy="191141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052" name="Prism 9" r:id="rId6" imgW="7074901" imgH="3297608" progId="Prism9.Document">
                    <p:embed/>
                  </p:oleObj>
                </mc:Choice>
                <mc:Fallback>
                  <p:oleObj name="Prism 9" r:id="rId6" imgW="7074901" imgH="3297608" progId="Prism9.Document">
                    <p:embed/>
                    <p:pic>
                      <p:nvPicPr>
                        <p:cNvPr id="11" name="Object 10">
                          <a:extLst>
                            <a:ext uri="{FF2B5EF4-FFF2-40B4-BE49-F238E27FC236}">
                              <a16:creationId xmlns:a16="http://schemas.microsoft.com/office/drawing/2014/main" id="{C52430E6-DE98-D5BD-65E9-AB7F52843CFF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6100763" y="2253855"/>
                          <a:ext cx="4064794" cy="191141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F15BCA8-6256-432C-8702-804D5C650352}"/>
                </a:ext>
              </a:extLst>
            </p:cNvPr>
            <p:cNvGrpSpPr/>
            <p:nvPr/>
          </p:nvGrpSpPr>
          <p:grpSpPr>
            <a:xfrm>
              <a:off x="4451893" y="1674244"/>
              <a:ext cx="3623175" cy="281288"/>
              <a:chOff x="3903855" y="1089327"/>
              <a:chExt cx="4830901" cy="375050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554FC65-6D3B-0289-9DB4-66FA2A18B1E4}"/>
                  </a:ext>
                </a:extLst>
              </p:cNvPr>
              <p:cNvSpPr txBox="1"/>
              <p:nvPr/>
            </p:nvSpPr>
            <p:spPr>
              <a:xfrm>
                <a:off x="3959896" y="1089327"/>
                <a:ext cx="2558820" cy="369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783"/>
                <a:r>
                  <a:rPr lang="en-US" sz="1200" dirty="0">
                    <a:solidFill>
                      <a:srgbClr val="000000"/>
                    </a:solidFill>
                    <a:latin typeface="Arial Narrow" panose="020B0606020202030204" pitchFamily="34" charset="0"/>
                  </a:rPr>
                  <a:t>Daily/weekly parsaclisib dosing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0DE8B253-F6E3-C288-5B61-2B2A599436C8}"/>
                  </a:ext>
                </a:extLst>
              </p:cNvPr>
              <p:cNvSpPr/>
              <p:nvPr/>
            </p:nvSpPr>
            <p:spPr>
              <a:xfrm>
                <a:off x="3903855" y="1207044"/>
                <a:ext cx="109728" cy="105833"/>
              </a:xfrm>
              <a:prstGeom prst="rect">
                <a:avLst/>
              </a:prstGeom>
              <a:solidFill>
                <a:srgbClr val="005C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en-US" sz="1200" dirty="0">
                  <a:solidFill>
                    <a:prstClr val="white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4C8060AD-1A48-BA9D-5887-E05EFFBC58CE}"/>
                  </a:ext>
                </a:extLst>
              </p:cNvPr>
              <p:cNvSpPr txBox="1"/>
              <p:nvPr/>
            </p:nvSpPr>
            <p:spPr>
              <a:xfrm>
                <a:off x="6530733" y="1095046"/>
                <a:ext cx="2204023" cy="369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783"/>
                <a:r>
                  <a:rPr lang="en-US" sz="1200" dirty="0">
                    <a:solidFill>
                      <a:srgbClr val="000000"/>
                    </a:solidFill>
                    <a:latin typeface="Arial Narrow" panose="020B0606020202030204" pitchFamily="34" charset="0"/>
                  </a:rPr>
                  <a:t>All daily parsaclisib dosing</a:t>
                </a: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D3B4422-1373-D4AD-E4C9-9243A6161B09}"/>
                  </a:ext>
                </a:extLst>
              </p:cNvPr>
              <p:cNvSpPr/>
              <p:nvPr/>
            </p:nvSpPr>
            <p:spPr>
              <a:xfrm>
                <a:off x="6474692" y="1207044"/>
                <a:ext cx="109728" cy="105833"/>
              </a:xfrm>
              <a:prstGeom prst="rect">
                <a:avLst/>
              </a:prstGeom>
              <a:solidFill>
                <a:srgbClr val="7DC2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en-US" sz="1200" dirty="0">
                  <a:solidFill>
                    <a:prstClr val="white"/>
                  </a:solidFill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A9EF288-6322-140F-BE68-196062E1EF8B}"/>
                </a:ext>
              </a:extLst>
            </p:cNvPr>
            <p:cNvSpPr txBox="1"/>
            <p:nvPr/>
          </p:nvSpPr>
          <p:spPr>
            <a:xfrm>
              <a:off x="2444390" y="2229830"/>
              <a:ext cx="226344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83"/>
              <a:r>
                <a:rPr lang="en-US" sz="1050" baseline="3000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†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76167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7212" y="289502"/>
            <a:ext cx="8241604" cy="548640"/>
          </a:xfrm>
        </p:spPr>
        <p:txBody>
          <a:bodyPr>
            <a:noAutofit/>
          </a:bodyPr>
          <a:lstStyle/>
          <a:p>
            <a:r>
              <a:rPr lang="en-US" dirty="0"/>
              <a:t>Percentage Change in MFSAF-TSS </a:t>
            </a:r>
            <a:r>
              <a:rPr lang="nl-NL" dirty="0"/>
              <a:t>of All Enrolled Patients</a:t>
            </a:r>
            <a:r>
              <a:rPr lang="en-US" dirty="0"/>
              <a:t>*</a:t>
            </a: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A97B832-59C0-4936-986D-C4B0DCD9F6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77825" y="6233958"/>
            <a:ext cx="8288621" cy="453167"/>
          </a:xfrm>
        </p:spPr>
        <p:txBody>
          <a:bodyPr/>
          <a:lstStyle/>
          <a:p>
            <a:pPr defTabSz="685783"/>
            <a:endParaRPr lang="en-US" sz="600" dirty="0">
              <a:latin typeface="Arial"/>
            </a:endParaRPr>
          </a:p>
          <a:p>
            <a:pPr defTabSz="685783"/>
            <a:endParaRPr lang="en-US" sz="600" dirty="0">
              <a:latin typeface="Arial"/>
            </a:endParaRPr>
          </a:p>
          <a:p>
            <a:pPr defTabSz="685783"/>
            <a:r>
              <a:rPr lang="en-US" sz="600" dirty="0">
                <a:latin typeface="Arial"/>
              </a:rPr>
              <a:t>*Evaluable patients were those receiving ≥1 dose of study drug, had MFSAF-TSS baseline assessment with a non-zero value, and met ≥1 of the following criteria: (1) had an assessment at the study follow-up week; (2) had discontinued treatment before the study follow-up assessment; or (3) had been on treatment for at least 12 or 24 weeks but no 12- or 24-week assessment, respectively. </a:t>
            </a:r>
            <a:r>
              <a:rPr lang="en-US" sz="600" baseline="30000" dirty="0">
                <a:latin typeface="Arial"/>
              </a:rPr>
              <a:t>†</a:t>
            </a:r>
            <a:r>
              <a:rPr lang="en-US" sz="600" dirty="0">
                <a:latin typeface="Arial"/>
              </a:rPr>
              <a:t>Patient had best percentage change from baseline to &gt;100%. </a:t>
            </a:r>
            <a:r>
              <a:rPr lang="en-US" sz="600" dirty="0" err="1">
                <a:latin typeface="Arial"/>
              </a:rPr>
              <a:t>Noncompleters</a:t>
            </a:r>
            <a:r>
              <a:rPr lang="en-US" sz="600" dirty="0">
                <a:latin typeface="Arial"/>
              </a:rPr>
              <a:t> assessed as </a:t>
            </a:r>
            <a:r>
              <a:rPr lang="en-US" sz="600" dirty="0" err="1">
                <a:latin typeface="Arial"/>
              </a:rPr>
              <a:t>nonresponders</a:t>
            </a:r>
            <a:r>
              <a:rPr lang="en-US" sz="600" dirty="0">
                <a:latin typeface="Arial"/>
              </a:rPr>
              <a:t>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84E6859-DFD6-AB4F-AE95-21FC16C7CC3F}"/>
              </a:ext>
            </a:extLst>
          </p:cNvPr>
          <p:cNvGrpSpPr/>
          <p:nvPr/>
        </p:nvGrpSpPr>
        <p:grpSpPr>
          <a:xfrm>
            <a:off x="608213" y="1450848"/>
            <a:ext cx="11372122" cy="4418784"/>
            <a:chOff x="1913335" y="1674244"/>
            <a:chExt cx="8316517" cy="3231490"/>
          </a:xfrm>
        </p:grpSpPr>
        <p:graphicFrame>
          <p:nvGraphicFramePr>
            <p:cNvPr id="10" name="Object 9">
              <a:extLst>
                <a:ext uri="{FF2B5EF4-FFF2-40B4-BE49-F238E27FC236}">
                  <a16:creationId xmlns:a16="http://schemas.microsoft.com/office/drawing/2014/main" id="{C01FE93C-0DA6-CB28-AB5C-B33C1E25D4C3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646792798"/>
                </p:ext>
              </p:extLst>
            </p:nvPr>
          </p:nvGraphicFramePr>
          <p:xfrm>
            <a:off x="1913335" y="2160986"/>
            <a:ext cx="4140994" cy="205144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75" name="Prism 9" r:id="rId4" imgW="7367544" imgH="3657210" progId="Prism9.Document">
                    <p:embed/>
                  </p:oleObj>
                </mc:Choice>
                <mc:Fallback>
                  <p:oleObj name="Prism 9" r:id="rId4" imgW="7367544" imgH="3657210" progId="Prism9.Document">
                    <p:embed/>
                    <p:pic>
                      <p:nvPicPr>
                        <p:cNvPr id="10" name="Object 9">
                          <a:extLst>
                            <a:ext uri="{FF2B5EF4-FFF2-40B4-BE49-F238E27FC236}">
                              <a16:creationId xmlns:a16="http://schemas.microsoft.com/office/drawing/2014/main" id="{C01FE93C-0DA6-CB28-AB5C-B33C1E25D4C3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5"/>
                        <a:stretch>
                          <a:fillRect/>
                        </a:stretch>
                      </p:blipFill>
                      <p:spPr>
                        <a:xfrm>
                          <a:off x="1913335" y="2160986"/>
                          <a:ext cx="4140994" cy="2051447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6" name="Object 15">
              <a:extLst>
                <a:ext uri="{FF2B5EF4-FFF2-40B4-BE49-F238E27FC236}">
                  <a16:creationId xmlns:a16="http://schemas.microsoft.com/office/drawing/2014/main" id="{F8788D36-D04B-ECCD-56FB-AA663D3797CB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828040692"/>
                </p:ext>
              </p:extLst>
            </p:nvPr>
          </p:nvGraphicFramePr>
          <p:xfrm>
            <a:off x="6090049" y="2158604"/>
            <a:ext cx="4139803" cy="205382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76" name="Prism 9" r:id="rId6" imgW="7367544" imgH="3657210" progId="Prism9.Document">
                    <p:embed/>
                  </p:oleObj>
                </mc:Choice>
                <mc:Fallback>
                  <p:oleObj name="Prism 9" r:id="rId6" imgW="7367544" imgH="3657210" progId="Prism9.Document">
                    <p:embed/>
                    <p:pic>
                      <p:nvPicPr>
                        <p:cNvPr id="16" name="Object 15">
                          <a:extLst>
                            <a:ext uri="{FF2B5EF4-FFF2-40B4-BE49-F238E27FC236}">
                              <a16:creationId xmlns:a16="http://schemas.microsoft.com/office/drawing/2014/main" id="{F8788D36-D04B-ECCD-56FB-AA663D3797CB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6090049" y="2158604"/>
                          <a:ext cx="4139803" cy="2053828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9" name="Content Placeholder 5">
              <a:extLst>
                <a:ext uri="{FF2B5EF4-FFF2-40B4-BE49-F238E27FC236}">
                  <a16:creationId xmlns:a16="http://schemas.microsoft.com/office/drawing/2014/main" id="{CDEC8B61-0A20-2B2D-930D-D574BF391C06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464839098"/>
                </p:ext>
              </p:extLst>
            </p:nvPr>
          </p:nvGraphicFramePr>
          <p:xfrm>
            <a:off x="2162002" y="4290748"/>
            <a:ext cx="2813489" cy="614986"/>
          </p:xfrm>
          <a:graphic>
            <a:graphicData uri="http://schemas.openxmlformats.org/drawingml/2006/table">
              <a:tbl>
                <a:tblPr firstRow="1" bandRow="1">
                  <a:tableStyleId>{2D5ABB26-0587-4C30-8999-92F81FD0307C}</a:tableStyleId>
                </a:tblPr>
                <a:tblGrid>
                  <a:gridCol w="1438659">
                    <a:extLst>
                      <a:ext uri="{9D8B030D-6E8A-4147-A177-3AD203B41FA5}">
                        <a16:colId xmlns:a16="http://schemas.microsoft.com/office/drawing/2014/main" val="1110888453"/>
                      </a:ext>
                    </a:extLst>
                  </a:gridCol>
                  <a:gridCol w="1204273">
                    <a:extLst>
                      <a:ext uri="{9D8B030D-6E8A-4147-A177-3AD203B41FA5}">
                        <a16:colId xmlns:a16="http://schemas.microsoft.com/office/drawing/2014/main" val="2360577481"/>
                      </a:ext>
                    </a:extLst>
                  </a:gridCol>
                  <a:gridCol w="1204273">
                    <a:extLst>
                      <a:ext uri="{9D8B030D-6E8A-4147-A177-3AD203B41FA5}">
                        <a16:colId xmlns:a16="http://schemas.microsoft.com/office/drawing/2014/main" val="2145353838"/>
                      </a:ext>
                    </a:extLst>
                  </a:gridCol>
                </a:tblGrid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1" i="0" u="none" strike="noStrike" kern="1200" cap="none" spc="-10" normalizeH="0" baseline="0" dirty="0">
                            <a:solidFill>
                              <a:schemeClr val="tx2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Response Category, n (%)</a:t>
                        </a:r>
                      </a:p>
                    </a:txBody>
                    <a:tcPr marL="43767" marR="43767" marT="20574" marB="21884" anchor="b">
                      <a:lnT w="57150" cap="flat" cmpd="sng" algn="ctr">
                        <a:solidFill>
                          <a:srgbClr val="7DC242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1" i="0" u="none" strike="noStrike" kern="1200" cap="none" spc="-10" normalizeH="0" baseline="0" dirty="0">
                            <a:solidFill>
                              <a:schemeClr val="tx2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Daily/Weekly Dosing</a:t>
                        </a:r>
                      </a:p>
                    </a:txBody>
                    <a:tcPr marL="43767" marR="43767" marT="20574" marB="21884" anchor="b">
                      <a:lnT w="57150" cap="flat" cmpd="sng" algn="ctr">
                        <a:solidFill>
                          <a:srgbClr val="7DC242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1" i="0" u="none" strike="noStrike" kern="1200" cap="none" spc="-10" normalizeH="0" baseline="0" dirty="0">
                            <a:solidFill>
                              <a:schemeClr val="tx2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All Daily Dosing</a:t>
                        </a:r>
                      </a:p>
                    </a:txBody>
                    <a:tcPr marL="43767" marR="43767" marT="20574" marB="21884" anchor="b">
                      <a:lnT w="57150" cap="flat" cmpd="sng" algn="ctr">
                        <a:solidFill>
                          <a:srgbClr val="7DC242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3638061669"/>
                    </a:ext>
                  </a:extLst>
                </a:tr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625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Week 12</a:t>
                        </a:r>
                      </a:p>
                    </a:txBody>
                    <a:tcPr marL="43767" marR="43767" marT="20574" marB="21884">
                      <a:lnT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Arial" panose="020B0604020202020204" pitchFamily="34" charset="0"/>
                            <a:sym typeface="Arial Narrow" panose="020B0606020202030204" pitchFamily="34" charset="0"/>
                          </a:rPr>
                          <a:t>n=27</a:t>
                        </a:r>
                      </a:p>
                    </a:txBody>
                    <a:tcPr marL="36473" marR="36473" marT="20574" marB="21884">
                      <a:lnT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+mn-cs"/>
                            <a:sym typeface="Arial Narrow" panose="020B0606020202030204" pitchFamily="34" charset="0"/>
                          </a:rPr>
                          <a:t>n=23</a:t>
                        </a:r>
                      </a:p>
                    </a:txBody>
                    <a:tcPr marL="36473" marR="36473" marT="20574" marB="21884">
                      <a:lnT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175035638"/>
                    </a:ext>
                  </a:extLst>
                </a:tr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0 to &lt;25% reduction</a:t>
                        </a:r>
                      </a:p>
                    </a:txBody>
                    <a:tcPr marL="145889" marR="43767" marT="20574" marB="2188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Arial" panose="020B0604020202020204" pitchFamily="34" charset="0"/>
                            <a:sym typeface="Arial Narrow" panose="020B0606020202030204" pitchFamily="34" charset="0"/>
                          </a:rPr>
                          <a:t>5 (19)</a:t>
                        </a:r>
                      </a:p>
                    </a:txBody>
                    <a:tcPr marL="36473" marR="36473" marT="20574" marB="2188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+mn-cs"/>
                            <a:sym typeface="Arial Narrow" panose="020B0606020202030204" pitchFamily="34" charset="0"/>
                          </a:rPr>
                          <a:t>4 (17)</a:t>
                        </a:r>
                      </a:p>
                    </a:txBody>
                    <a:tcPr marL="36473" marR="36473" marT="20574" marB="2188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604328438"/>
                    </a:ext>
                  </a:extLst>
                </a:tr>
                <a:tr h="168188">
                  <a:tc>
                    <a:txBody>
                      <a:bodyPr/>
                      <a:lstStyle/>
                      <a:p>
                        <a:pPr marL="0" marR="0" indent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r>
                          <a:rPr lang="en-US" sz="800" dirty="0">
                            <a:solidFill>
                              <a:schemeClr val="tx1"/>
                            </a:solidFill>
                            <a:effectLst/>
                            <a:latin typeface="+mj-lt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a:t>≥25 to &lt;50% reduction</a:t>
                        </a:r>
                        <a:endParaRPr lang="en-GB" sz="8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imes New Roman" panose="02020603050405020304" pitchFamily="18" charset="0"/>
                        </a:endParaRPr>
                      </a:p>
                    </a:txBody>
                    <a:tcPr marL="145889" marR="43767" marT="20574" marB="2188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Arial" panose="020B0604020202020204" pitchFamily="34" charset="0"/>
                            <a:sym typeface="Arial Narrow" panose="020B0606020202030204" pitchFamily="34" charset="0"/>
                          </a:rPr>
                          <a:t>3 (11)</a:t>
                        </a:r>
                      </a:p>
                    </a:txBody>
                    <a:tcPr marL="36473" marR="36473" marT="20574" marB="2188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+mn-cs"/>
                            <a:sym typeface="Arial Narrow" panose="020B0606020202030204" pitchFamily="34" charset="0"/>
                          </a:rPr>
                          <a:t>3 (13)</a:t>
                        </a:r>
                      </a:p>
                    </a:txBody>
                    <a:tcPr marL="36473" marR="36473" marT="20574" marB="2188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2041085818"/>
                    </a:ext>
                  </a:extLst>
                </a:tr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≥50% reduction</a:t>
                        </a:r>
                      </a:p>
                    </a:txBody>
                    <a:tcPr marL="145889" marR="43767" marT="20574" marB="21884" anchor="b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 algn="ctr">
                        <a:solidFill>
                          <a:srgbClr val="243444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Arial" panose="020B0604020202020204" pitchFamily="34" charset="0"/>
                            <a:sym typeface="Arial Narrow" panose="020B0606020202030204" pitchFamily="34" charset="0"/>
                          </a:rPr>
                          <a:t>4 (15)</a:t>
                        </a:r>
                      </a:p>
                    </a:txBody>
                    <a:tcPr marL="36473" marR="36473" marT="20574" marB="21884" anchor="b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 algn="ctr">
                        <a:solidFill>
                          <a:srgbClr val="243444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+mn-cs"/>
                            <a:sym typeface="Arial Narrow" panose="020B0606020202030204" pitchFamily="34" charset="0"/>
                          </a:rPr>
                          <a:t>7 (30)</a:t>
                        </a:r>
                      </a:p>
                    </a:txBody>
                    <a:tcPr marL="36473" marR="36473" marT="20574" marB="21884" anchor="b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 algn="ctr">
                        <a:solidFill>
                          <a:srgbClr val="243444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3610608652"/>
                    </a:ext>
                  </a:extLst>
                </a:tr>
              </a:tbl>
            </a:graphicData>
          </a:graphic>
        </p:graphicFrame>
        <p:graphicFrame>
          <p:nvGraphicFramePr>
            <p:cNvPr id="14" name="Content Placeholder 5">
              <a:extLst>
                <a:ext uri="{FF2B5EF4-FFF2-40B4-BE49-F238E27FC236}">
                  <a16:creationId xmlns:a16="http://schemas.microsoft.com/office/drawing/2014/main" id="{7E8C987C-ED36-5BF3-7211-C8A141C35D7C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224005431"/>
                </p:ext>
              </p:extLst>
            </p:nvPr>
          </p:nvGraphicFramePr>
          <p:xfrm>
            <a:off x="6362527" y="4290748"/>
            <a:ext cx="2764686" cy="614986"/>
          </p:xfrm>
          <a:graphic>
            <a:graphicData uri="http://schemas.openxmlformats.org/drawingml/2006/table">
              <a:tbl>
                <a:tblPr firstRow="1" bandRow="1">
                  <a:tableStyleId>{2D5ABB26-0587-4C30-8999-92F81FD0307C}</a:tableStyleId>
                </a:tblPr>
                <a:tblGrid>
                  <a:gridCol w="1413705">
                    <a:extLst>
                      <a:ext uri="{9D8B030D-6E8A-4147-A177-3AD203B41FA5}">
                        <a16:colId xmlns:a16="http://schemas.microsoft.com/office/drawing/2014/main" val="1110888453"/>
                      </a:ext>
                    </a:extLst>
                  </a:gridCol>
                  <a:gridCol w="1183383">
                    <a:extLst>
                      <a:ext uri="{9D8B030D-6E8A-4147-A177-3AD203B41FA5}">
                        <a16:colId xmlns:a16="http://schemas.microsoft.com/office/drawing/2014/main" val="2360577481"/>
                      </a:ext>
                    </a:extLst>
                  </a:gridCol>
                  <a:gridCol w="1183383">
                    <a:extLst>
                      <a:ext uri="{9D8B030D-6E8A-4147-A177-3AD203B41FA5}">
                        <a16:colId xmlns:a16="http://schemas.microsoft.com/office/drawing/2014/main" val="2145353838"/>
                      </a:ext>
                    </a:extLst>
                  </a:gridCol>
                </a:tblGrid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1" i="0" u="none" strike="noStrike" kern="1200" cap="none" spc="-10" normalizeH="0" baseline="0" dirty="0">
                            <a:solidFill>
                              <a:schemeClr val="tx2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Response Category, n (%)</a:t>
                        </a:r>
                      </a:p>
                    </a:txBody>
                    <a:tcPr marL="43767" marR="43767" marT="21884" marB="20574" anchor="b">
                      <a:lnT w="57150" cap="flat" cmpd="sng" algn="ctr">
                        <a:solidFill>
                          <a:srgbClr val="7DC242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1" i="0" u="none" strike="noStrike" kern="1200" cap="none" spc="-10" normalizeH="0" baseline="0" dirty="0">
                            <a:solidFill>
                              <a:schemeClr val="tx2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Daily/Weekly Dosing</a:t>
                        </a:r>
                      </a:p>
                    </a:txBody>
                    <a:tcPr marL="43767" marR="43767" marT="21884" marB="20574" anchor="b">
                      <a:lnT w="57150" cap="flat" cmpd="sng" algn="ctr">
                        <a:solidFill>
                          <a:srgbClr val="7DC242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1" i="0" u="none" strike="noStrike" kern="1200" cap="none" spc="-10" normalizeH="0" baseline="0" dirty="0">
                            <a:solidFill>
                              <a:schemeClr val="tx2">
                                <a:lumMod val="100000"/>
                              </a:schemeClr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All Daily Dosing</a:t>
                        </a:r>
                      </a:p>
                    </a:txBody>
                    <a:tcPr marL="43767" marR="43767" marT="21884" marB="20574" anchor="b">
                      <a:lnT w="57150" cap="flat" cmpd="sng" algn="ctr">
                        <a:solidFill>
                          <a:srgbClr val="7DC242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3638061669"/>
                    </a:ext>
                  </a:extLst>
                </a:tr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625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Week 24</a:t>
                        </a:r>
                      </a:p>
                    </a:txBody>
                    <a:tcPr marL="43767" marR="43767" marT="21884" marB="20574">
                      <a:lnT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Arial" panose="020B0604020202020204" pitchFamily="34" charset="0"/>
                            <a:sym typeface="Arial Narrow" panose="020B0606020202030204" pitchFamily="34" charset="0"/>
                          </a:rPr>
                          <a:t>n=27</a:t>
                        </a:r>
                      </a:p>
                    </a:txBody>
                    <a:tcPr marL="43767" marR="43767" marT="21884" marB="20574">
                      <a:lnT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+mn-cs"/>
                            <a:sym typeface="Arial Narrow" panose="020B0606020202030204" pitchFamily="34" charset="0"/>
                          </a:rPr>
                          <a:t>n=21</a:t>
                        </a:r>
                      </a:p>
                    </a:txBody>
                    <a:tcPr marL="43767" marR="43767" marT="21884" marB="20574">
                      <a:lnT w="12700" cap="flat" cmpd="sng" algn="ctr">
                        <a:solidFill>
                          <a:srgbClr val="243444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175035638"/>
                    </a:ext>
                  </a:extLst>
                </a:tr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0 to &lt;25% reduction</a:t>
                        </a:r>
                      </a:p>
                    </a:txBody>
                    <a:tcPr marL="145889" marR="43767" marT="20574" marB="2188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Arial" panose="020B0604020202020204" pitchFamily="34" charset="0"/>
                            <a:sym typeface="Arial Narrow" panose="020B0606020202030204" pitchFamily="34" charset="0"/>
                          </a:rPr>
                          <a:t>3 (11)</a:t>
                        </a:r>
                      </a:p>
                    </a:txBody>
                    <a:tcPr marL="43767" marR="43767" marT="21884" marB="2057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+mn-cs"/>
                            <a:sym typeface="Arial Narrow" panose="020B0606020202030204" pitchFamily="34" charset="0"/>
                          </a:rPr>
                          <a:t>3 (14)</a:t>
                        </a:r>
                      </a:p>
                    </a:txBody>
                    <a:tcPr marL="43767" marR="43767" marT="21884" marB="2057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604328438"/>
                    </a:ext>
                  </a:extLst>
                </a:tr>
                <a:tr h="168188">
                  <a:tc>
                    <a:txBody>
                      <a:bodyPr/>
                      <a:lstStyle/>
                      <a:p>
                        <a:pPr marL="0" marR="0" indent="0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</a:pPr>
                        <a:r>
                          <a:rPr lang="en-US" sz="800" dirty="0">
                            <a:solidFill>
                              <a:schemeClr val="tx1"/>
                            </a:solidFill>
                            <a:effectLst/>
                            <a:latin typeface="+mj-lt"/>
                            <a:ea typeface="SimSun" panose="02010600030101010101" pitchFamily="2" charset="-122"/>
                            <a:cs typeface="Times New Roman" panose="02020603050405020304" pitchFamily="18" charset="0"/>
                          </a:rPr>
                          <a:t>≥25 to &lt;50% reduction</a:t>
                        </a:r>
                        <a:endParaRPr lang="en-GB" sz="8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SimSun" panose="02010600030101010101" pitchFamily="2" charset="-122"/>
                          <a:cs typeface="Times New Roman" panose="02020603050405020304" pitchFamily="18" charset="0"/>
                        </a:endParaRPr>
                      </a:p>
                    </a:txBody>
                    <a:tcPr marL="145889" marR="43767" marT="20574" marB="2188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Arial" panose="020B0604020202020204" pitchFamily="34" charset="0"/>
                            <a:sym typeface="Arial Narrow" panose="020B0606020202030204" pitchFamily="34" charset="0"/>
                          </a:rPr>
                          <a:t>4 (15)</a:t>
                        </a:r>
                      </a:p>
                    </a:txBody>
                    <a:tcPr marL="43767" marR="43767" marT="21884" marB="2057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+mn-cs"/>
                            <a:sym typeface="Arial Narrow" panose="020B0606020202030204" pitchFamily="34" charset="0"/>
                          </a:rPr>
                          <a:t>3 (14)</a:t>
                        </a:r>
                      </a:p>
                    </a:txBody>
                    <a:tcPr marL="43767" marR="43767" marT="21884" marB="20574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2041085818"/>
                    </a:ext>
                  </a:extLst>
                </a:tr>
                <a:tr h="168188">
                  <a:tc>
                    <a:txBody>
                      <a:bodyPr/>
                      <a:lstStyle/>
                      <a:p>
                        <a:pPr marL="0" marR="0" lvl="0" indent="0" algn="l" defTabSz="2438430" rtl="0" eaLnBrk="1" fontAlgn="auto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ts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+mn-ea"/>
                            <a:cs typeface="+mn-cs"/>
                            <a:sym typeface="Arial Narrow" panose="020B0606020202030204" pitchFamily="34" charset="0"/>
                          </a:rPr>
                          <a:t>≥50% reduction</a:t>
                        </a:r>
                      </a:p>
                    </a:txBody>
                    <a:tcPr marL="145889" marR="43767" marT="20574" marB="21884" anchor="b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 algn="ctr">
                        <a:solidFill>
                          <a:srgbClr val="243444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FFFFFF">
                          <a:lumMod val="10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latinLnBrk="0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Arial" panose="020B0604020202020204" pitchFamily="34" charset="0"/>
                            <a:sym typeface="Arial Narrow" panose="020B0606020202030204" pitchFamily="34" charset="0"/>
                          </a:rPr>
                          <a:t>3 (11)</a:t>
                        </a:r>
                      </a:p>
                    </a:txBody>
                    <a:tcPr marL="43767" marR="43767" marT="21884" marB="20574" anchor="b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 algn="ctr">
                        <a:solidFill>
                          <a:srgbClr val="243444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chemeClr val="bg2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2438430" rtl="0" eaLnBrk="1" fontAlgn="base" hangingPunct="1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FontTx/>
                          <a:buNone/>
                        </a:pPr>
                        <a:r>
                          <a:rPr lang="en-US" sz="800" b="0" i="0" u="none" strike="noStrike" kern="1200" cap="none" spc="0" normalizeH="0" baseline="0" dirty="0">
                            <a:solidFill>
                              <a:schemeClr val="tx1"/>
                            </a:solidFill>
                            <a:latin typeface="+mj-lt"/>
                            <a:ea typeface="MS PGothic" panose="020B0600070205080204" pitchFamily="34" charset="-128"/>
                            <a:cs typeface="+mn-cs"/>
                            <a:sym typeface="Arial Narrow" panose="020B0606020202030204" pitchFamily="34" charset="0"/>
                          </a:rPr>
                          <a:t>4 (19)</a:t>
                        </a:r>
                      </a:p>
                    </a:txBody>
                    <a:tcPr marL="43767" marR="43767" marT="21884" marB="20574" anchor="b">
                      <a:lnT w="6350" cap="flat" cmpd="sng" algn="ctr">
                        <a:solidFill>
                          <a:srgbClr val="005CAB">
                            <a:lumMod val="100000"/>
                          </a:srgbClr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9050" cap="flat" cmpd="sng" algn="ctr">
                        <a:solidFill>
                          <a:srgbClr val="243444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solidFill>
                        <a:srgbClr val="DEEDCD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3610608652"/>
                    </a:ext>
                  </a:extLst>
                </a:tr>
              </a:tbl>
            </a:graphicData>
          </a:graphic>
        </p:graphicFrame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D710977-8E7D-1A12-81C5-4F3B87C3D57F}"/>
                </a:ext>
              </a:extLst>
            </p:cNvPr>
            <p:cNvSpPr txBox="1"/>
            <p:nvPr/>
          </p:nvSpPr>
          <p:spPr>
            <a:xfrm>
              <a:off x="2327306" y="2209659"/>
              <a:ext cx="226344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83"/>
              <a:r>
                <a:rPr lang="en-US" sz="1050" baseline="3000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†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CB8E7B9-3FB4-970C-89C4-4C3E14034D85}"/>
                </a:ext>
              </a:extLst>
            </p:cNvPr>
            <p:cNvSpPr txBox="1"/>
            <p:nvPr/>
          </p:nvSpPr>
          <p:spPr>
            <a:xfrm>
              <a:off x="6519949" y="2209659"/>
              <a:ext cx="179376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783"/>
              <a:r>
                <a:rPr lang="en-US" sz="1050" baseline="3000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†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2A724E9-5E6C-7D55-6B85-8BAF025744A8}"/>
                </a:ext>
              </a:extLst>
            </p:cNvPr>
            <p:cNvSpPr txBox="1"/>
            <p:nvPr/>
          </p:nvSpPr>
          <p:spPr>
            <a:xfrm>
              <a:off x="6653114" y="2209659"/>
              <a:ext cx="179376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783"/>
              <a:r>
                <a:rPr lang="en-US" sz="1050" baseline="3000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†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E5BA08F-166A-AE36-7331-2D79E4D8AF3A}"/>
                </a:ext>
              </a:extLst>
            </p:cNvPr>
            <p:cNvSpPr txBox="1"/>
            <p:nvPr/>
          </p:nvSpPr>
          <p:spPr>
            <a:xfrm>
              <a:off x="6783502" y="2209659"/>
              <a:ext cx="179376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783"/>
              <a:r>
                <a:rPr lang="en-US" sz="1050" baseline="3000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†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1B748AC-4C30-485E-87F5-8D16CBFCCFDD}"/>
                </a:ext>
              </a:extLst>
            </p:cNvPr>
            <p:cNvSpPr txBox="1"/>
            <p:nvPr/>
          </p:nvSpPr>
          <p:spPr>
            <a:xfrm>
              <a:off x="2443780" y="1913593"/>
              <a:ext cx="347791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/>
              <a:r>
                <a:rPr lang="en-US" sz="1200" b="1" dirty="0">
                  <a:solidFill>
                    <a:srgbClr val="243444"/>
                  </a:solidFill>
                  <a:latin typeface="Arial Narrow" panose="020B0606020202030204" pitchFamily="34" charset="0"/>
                </a:rPr>
                <a:t>12 Week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0B1E9FC-B05F-41A2-B2DD-169225201CDE}"/>
                </a:ext>
              </a:extLst>
            </p:cNvPr>
            <p:cNvSpPr txBox="1"/>
            <p:nvPr/>
          </p:nvSpPr>
          <p:spPr>
            <a:xfrm>
              <a:off x="6639263" y="1908679"/>
              <a:ext cx="348295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/>
              <a:r>
                <a:rPr lang="en-US" sz="1200" b="1" dirty="0">
                  <a:solidFill>
                    <a:srgbClr val="243444"/>
                  </a:solidFill>
                  <a:latin typeface="Arial Narrow" panose="020B0606020202030204" pitchFamily="34" charset="0"/>
                </a:rPr>
                <a:t>24 Weeks</a:t>
              </a: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751EAB54-0612-4340-859F-062A7F4F0D9E}"/>
                </a:ext>
              </a:extLst>
            </p:cNvPr>
            <p:cNvGrpSpPr/>
            <p:nvPr/>
          </p:nvGrpSpPr>
          <p:grpSpPr>
            <a:xfrm>
              <a:off x="4451893" y="1674244"/>
              <a:ext cx="3623175" cy="281288"/>
              <a:chOff x="3903855" y="1089327"/>
              <a:chExt cx="4830901" cy="375050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317900E-6FFE-4BEC-94C4-2D3A013157C6}"/>
                  </a:ext>
                </a:extLst>
              </p:cNvPr>
              <p:cNvSpPr txBox="1"/>
              <p:nvPr/>
            </p:nvSpPr>
            <p:spPr>
              <a:xfrm>
                <a:off x="3959896" y="1089327"/>
                <a:ext cx="2558820" cy="369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783"/>
                <a:r>
                  <a:rPr lang="en-US" sz="1200" dirty="0">
                    <a:solidFill>
                      <a:srgbClr val="000000"/>
                    </a:solidFill>
                    <a:latin typeface="Arial Narrow" panose="020B0606020202030204" pitchFamily="34" charset="0"/>
                  </a:rPr>
                  <a:t>Daily/weekly parsaclisib dosing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032F9E63-8762-45AD-9E5F-C1C53C45618F}"/>
                  </a:ext>
                </a:extLst>
              </p:cNvPr>
              <p:cNvSpPr/>
              <p:nvPr/>
            </p:nvSpPr>
            <p:spPr>
              <a:xfrm>
                <a:off x="3903855" y="1207044"/>
                <a:ext cx="109728" cy="105833"/>
              </a:xfrm>
              <a:prstGeom prst="rect">
                <a:avLst/>
              </a:prstGeom>
              <a:solidFill>
                <a:srgbClr val="005C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en-US" sz="1200" dirty="0">
                  <a:solidFill>
                    <a:prstClr val="white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28280CC1-D1DB-4952-8C23-0ADB6831F23B}"/>
                  </a:ext>
                </a:extLst>
              </p:cNvPr>
              <p:cNvSpPr txBox="1"/>
              <p:nvPr/>
            </p:nvSpPr>
            <p:spPr>
              <a:xfrm>
                <a:off x="6530733" y="1095046"/>
                <a:ext cx="2204023" cy="369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783"/>
                <a:r>
                  <a:rPr lang="en-US" sz="1200" dirty="0">
                    <a:solidFill>
                      <a:srgbClr val="000000"/>
                    </a:solidFill>
                    <a:latin typeface="Arial Narrow" panose="020B0606020202030204" pitchFamily="34" charset="0"/>
                  </a:rPr>
                  <a:t>All daily parsaclisib dosing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61903EB-0033-4FBF-AC79-1F21AB388470}"/>
                  </a:ext>
                </a:extLst>
              </p:cNvPr>
              <p:cNvSpPr/>
              <p:nvPr/>
            </p:nvSpPr>
            <p:spPr>
              <a:xfrm>
                <a:off x="6474692" y="1207044"/>
                <a:ext cx="109728" cy="105833"/>
              </a:xfrm>
              <a:prstGeom prst="rect">
                <a:avLst/>
              </a:prstGeom>
              <a:solidFill>
                <a:srgbClr val="7DC2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en-US" sz="1200" dirty="0">
                  <a:solidFill>
                    <a:prstClr val="white"/>
                  </a:solidFill>
                  <a:latin typeface="Arial Narrow" panose="020B060602020203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52698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B50512-936E-4C85-851D-2ABD722698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dirty="0"/>
              <a:t>Most Common Nonhematologic, Serious, and Fatal TEAEs Among All Treated Patients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55D7FB3-91F9-D006-2511-15383CC4B5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7137" y="1588183"/>
            <a:ext cx="5754814" cy="337220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Nonhematologic TEAEs (≥15% of Patient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9B6781-180E-A911-EED1-5D74C56AAA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0" y="2196619"/>
            <a:ext cx="5388864" cy="3789844"/>
          </a:xfrm>
        </p:spPr>
        <p:txBody>
          <a:bodyPr/>
          <a:lstStyle/>
          <a:p>
            <a:r>
              <a:rPr lang="en-US" dirty="0"/>
              <a:t>Serious TEAEs occurring in ≥2 patients:</a:t>
            </a:r>
          </a:p>
          <a:p>
            <a:pPr lvl="1"/>
            <a:r>
              <a:rPr lang="en-US" sz="1600" dirty="0"/>
              <a:t>Urinary tract infection and pyrexia (n=3 each)</a:t>
            </a:r>
          </a:p>
          <a:p>
            <a:pPr lvl="1"/>
            <a:r>
              <a:rPr lang="en-US" sz="1600" dirty="0"/>
              <a:t>Pneumonia and fall (n=2 each)</a:t>
            </a:r>
          </a:p>
          <a:p>
            <a:endParaRPr lang="en-US" dirty="0"/>
          </a:p>
          <a:p>
            <a:r>
              <a:rPr lang="en-US" dirty="0"/>
              <a:t>TEAEs with fatal outcome occurred in:</a:t>
            </a:r>
          </a:p>
          <a:p>
            <a:pPr lvl="1"/>
            <a:r>
              <a:rPr lang="en-US" sz="1600" dirty="0"/>
              <a:t>6 patients receiving daily/weekly dosing</a:t>
            </a:r>
          </a:p>
          <a:p>
            <a:pPr lvl="1"/>
            <a:r>
              <a:rPr lang="en-US" sz="1600" dirty="0"/>
              <a:t>1 patient receiving all daily dosing</a:t>
            </a:r>
          </a:p>
          <a:p>
            <a:pPr lvl="1"/>
            <a:r>
              <a:rPr lang="en-US" sz="1600" dirty="0"/>
              <a:t>None were deemed </a:t>
            </a:r>
            <a:r>
              <a:rPr lang="en-US" sz="1600" dirty="0">
                <a:solidFill>
                  <a:schemeClr val="tx1"/>
                </a:solidFill>
              </a:rPr>
              <a:t>treatment relat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D255CBC6-3395-4FA3-8FF9-2434327510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85783"/>
            <a:r>
              <a:rPr lang="en-US" sz="600" dirty="0">
                <a:latin typeface="Arial"/>
              </a:rPr>
              <a:t>TEAE, treatment-emergent adverse event.</a:t>
            </a:r>
          </a:p>
        </p:txBody>
      </p:sp>
      <p:graphicFrame>
        <p:nvGraphicFramePr>
          <p:cNvPr id="11" name="Content Placeholder 5">
            <a:extLst>
              <a:ext uri="{FF2B5EF4-FFF2-40B4-BE49-F238E27FC236}">
                <a16:creationId xmlns:a16="http://schemas.microsoft.com/office/drawing/2014/main" id="{01C85557-1DEB-4C36-9249-D786F8B928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3245630"/>
              </p:ext>
            </p:extLst>
          </p:nvPr>
        </p:nvGraphicFramePr>
        <p:xfrm>
          <a:off x="707137" y="2196620"/>
          <a:ext cx="5269808" cy="314347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84260">
                  <a:extLst>
                    <a:ext uri="{9D8B030D-6E8A-4147-A177-3AD203B41FA5}">
                      <a16:colId xmlns:a16="http://schemas.microsoft.com/office/drawing/2014/main" val="1110888453"/>
                    </a:ext>
                  </a:extLst>
                </a:gridCol>
                <a:gridCol w="871387">
                  <a:extLst>
                    <a:ext uri="{9D8B030D-6E8A-4147-A177-3AD203B41FA5}">
                      <a16:colId xmlns:a16="http://schemas.microsoft.com/office/drawing/2014/main" val="2360577481"/>
                    </a:ext>
                  </a:extLst>
                </a:gridCol>
                <a:gridCol w="871387">
                  <a:extLst>
                    <a:ext uri="{9D8B030D-6E8A-4147-A177-3AD203B41FA5}">
                      <a16:colId xmlns:a16="http://schemas.microsoft.com/office/drawing/2014/main" val="2145353838"/>
                    </a:ext>
                  </a:extLst>
                </a:gridCol>
                <a:gridCol w="871387">
                  <a:extLst>
                    <a:ext uri="{9D8B030D-6E8A-4147-A177-3AD203B41FA5}">
                      <a16:colId xmlns:a16="http://schemas.microsoft.com/office/drawing/2014/main" val="1110227205"/>
                    </a:ext>
                  </a:extLst>
                </a:gridCol>
                <a:gridCol w="871387">
                  <a:extLst>
                    <a:ext uri="{9D8B030D-6E8A-4147-A177-3AD203B41FA5}">
                      <a16:colId xmlns:a16="http://schemas.microsoft.com/office/drawing/2014/main" val="2658233169"/>
                    </a:ext>
                  </a:extLst>
                </a:gridCol>
              </a:tblGrid>
              <a:tr h="449068">
                <a:tc rowSpan="2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243843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1" i="0" u="none" strike="noStrike" kern="1200" cap="none" spc="-10" normalizeH="0" baseline="0" dirty="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 Narrow" panose="020B0606020202030204" pitchFamily="34" charset="0"/>
                        </a:rPr>
                        <a:t>Event, n (%)</a:t>
                      </a:r>
                    </a:p>
                  </a:txBody>
                  <a:tcPr marL="68580" marR="0" marT="34290" marB="34290" anchor="b">
                    <a:lnT w="57150" cap="flat" cmpd="sng" algn="ctr">
                      <a:solidFill>
                        <a:srgbClr val="7DC242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434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lumMod val="100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243843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1" i="0" u="none" strike="noStrike" kern="1200" cap="none" spc="-10" normalizeH="0" baseline="0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j-lt"/>
                          <a:ea typeface="+mn-ea"/>
                          <a:cs typeface="+mn-cs"/>
                          <a:sym typeface="Arial Narrow" panose="020B0606020202030204" pitchFamily="34" charset="0"/>
                        </a:rPr>
                        <a:t>Daily/Weekly Dosing </a:t>
                      </a:r>
                      <a:br>
                        <a:rPr lang="en-US" sz="1200" b="1" i="0" u="none" strike="noStrike" kern="1200" cap="none" spc="-10" normalizeH="0" baseline="0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j-lt"/>
                          <a:ea typeface="+mn-ea"/>
                          <a:cs typeface="+mn-cs"/>
                          <a:sym typeface="Arial Narrow" panose="020B0606020202030204" pitchFamily="34" charset="0"/>
                        </a:rPr>
                      </a:br>
                      <a:r>
                        <a:rPr lang="en-US" sz="1200" b="1" i="0" u="none" strike="noStrike" kern="1200" cap="none" spc="-10" normalizeH="0" baseline="0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j-lt"/>
                          <a:ea typeface="+mn-ea"/>
                          <a:cs typeface="+mn-cs"/>
                          <a:sym typeface="Arial Narrow" panose="020B0606020202030204" pitchFamily="34" charset="0"/>
                        </a:rPr>
                        <a:t>(n=32)</a:t>
                      </a:r>
                    </a:p>
                  </a:txBody>
                  <a:tcPr marL="0" marR="0" marT="34290" marB="34290" anchor="b">
                    <a:lnT w="57150" cap="flat" cmpd="sng" algn="ctr">
                      <a:solidFill>
                        <a:srgbClr val="7DC242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243843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1" i="0" u="none" strike="noStrike" kern="1200" cap="none" spc="-10" normalizeH="0" baseline="0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j-lt"/>
                          <a:ea typeface="+mn-ea"/>
                          <a:cs typeface="+mn-cs"/>
                          <a:sym typeface="Arial Narrow" panose="020B0606020202030204" pitchFamily="34" charset="0"/>
                        </a:rPr>
                        <a:t>All Daily Dosing </a:t>
                      </a:r>
                      <a:br>
                        <a:rPr lang="en-US" sz="1200" b="1" i="0" u="none" strike="noStrike" kern="1200" cap="none" spc="-10" normalizeH="0" baseline="0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j-lt"/>
                          <a:ea typeface="+mn-ea"/>
                          <a:cs typeface="+mn-cs"/>
                          <a:sym typeface="Arial Narrow" panose="020B0606020202030204" pitchFamily="34" charset="0"/>
                        </a:rPr>
                      </a:br>
                      <a:r>
                        <a:rPr lang="en-US" sz="1200" b="1" i="0" u="none" strike="noStrike" kern="1200" cap="none" spc="-10" normalizeH="0" baseline="0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j-lt"/>
                          <a:ea typeface="+mn-ea"/>
                          <a:cs typeface="+mn-cs"/>
                          <a:sym typeface="Arial Narrow" panose="020B0606020202030204" pitchFamily="34" charset="0"/>
                        </a:rPr>
                        <a:t>(n=35)</a:t>
                      </a:r>
                    </a:p>
                  </a:txBody>
                  <a:tcPr marL="0" marR="0" marT="34290" marB="34290" anchor="b">
                    <a:lnT w="57150" cap="flat" cmpd="sng" algn="ctr">
                      <a:solidFill>
                        <a:srgbClr val="7DC242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8061669"/>
                  </a:ext>
                </a:extLst>
              </a:tr>
              <a:tr h="269441">
                <a:tc vMerge="1">
                  <a:txBody>
                    <a:bodyPr/>
                    <a:lstStyle/>
                    <a:p>
                      <a:pPr defTabSz="2438430">
                        <a:lnSpc>
                          <a:spcPct val="100000"/>
                        </a:lnSpc>
                      </a:pPr>
                      <a:endParaRPr lang="en-US" sz="1000" dirty="0">
                        <a:latin typeface="+mn-lt"/>
                      </a:endParaRPr>
                    </a:p>
                  </a:txBody>
                  <a:tcPr marL="73152" marR="45720" marT="36000" marB="36000">
                    <a:lnT w="12700" cap="flat" cmpd="sng" algn="ctr">
                      <a:solidFill>
                        <a:srgbClr val="243444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434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1" i="0" u="none" strike="noStrike" kern="1200" cap="none" spc="0" normalizeH="0" baseline="0" dirty="0">
                          <a:solidFill>
                            <a:srgbClr val="243444"/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All Grades</a:t>
                      </a:r>
                    </a:p>
                  </a:txBody>
                  <a:tcPr marL="0" marR="0" marT="34290" marB="34290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434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1" i="0" u="none" strike="noStrike" kern="1200" cap="none" spc="0" normalizeH="0" baseline="0" dirty="0">
                          <a:solidFill>
                            <a:srgbClr val="243444"/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Grade ≥3</a:t>
                      </a:r>
                    </a:p>
                  </a:txBody>
                  <a:tcPr marL="0" marR="0" marT="34290" marB="34290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434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1" i="0" u="none" strike="noStrike" kern="1200" cap="none" spc="0" normalizeH="0" baseline="0" dirty="0">
                          <a:solidFill>
                            <a:srgbClr val="243444"/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All Grades</a:t>
                      </a:r>
                    </a:p>
                  </a:txBody>
                  <a:tcPr marL="0" marR="0" marT="34290" marB="34290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434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1" i="0" u="none" strike="noStrike" kern="1200" cap="none" spc="0" normalizeH="0" baseline="0" dirty="0">
                          <a:solidFill>
                            <a:srgbClr val="243444"/>
                          </a:solidFill>
                          <a:latin typeface="+mj-lt"/>
                          <a:ea typeface="MS PGothic" panose="020B0600070205080204" pitchFamily="34" charset="-128"/>
                          <a:cs typeface="+mn-cs"/>
                          <a:sym typeface="Arial Narrow" panose="020B0606020202030204" pitchFamily="34" charset="0"/>
                        </a:rPr>
                        <a:t>Grade ≥3</a:t>
                      </a:r>
                    </a:p>
                  </a:txBody>
                  <a:tcPr marL="0" marR="0" marT="34290" marB="34290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434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5035638"/>
                  </a:ext>
                </a:extLst>
              </a:tr>
              <a:tr h="269441">
                <a:tc>
                  <a:txBody>
                    <a:bodyPr/>
                    <a:lstStyle/>
                    <a:p>
                      <a:pPr marL="0" marR="0" lvl="0" indent="0" algn="l" defTabSz="243843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latin typeface="+mj-lt"/>
                          <a:ea typeface="+mn-ea"/>
                          <a:cs typeface="+mn-cs"/>
                          <a:sym typeface="Arial Narrow" panose="020B0606020202030204" pitchFamily="34" charset="0"/>
                        </a:rPr>
                        <a:t>Diarrhea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rgbClr val="2434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11 (34)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rgbClr val="2434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1 (3)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rgbClr val="2434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6 (17)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rgbClr val="2434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+mn-cs"/>
                          <a:sym typeface="Arial Narrow" panose="020B0606020202030204" pitchFamily="34" charset="0"/>
                        </a:rPr>
                        <a:t>0</a:t>
                      </a:r>
                    </a:p>
                  </a:txBody>
                  <a:tcPr marL="68580" marR="68580" marT="34290" marB="34290" anchor="ctr">
                    <a:lnT w="12700" cap="flat" cmpd="sng" algn="ctr">
                      <a:solidFill>
                        <a:srgbClr val="2434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4328438"/>
                  </a:ext>
                </a:extLst>
              </a:tr>
              <a:tr h="269441">
                <a:tc>
                  <a:txBody>
                    <a:bodyPr/>
                    <a:lstStyle/>
                    <a:p>
                      <a:pPr marL="0" marR="0" lvl="0" indent="0" algn="l" defTabSz="2438430" rtl="0" eaLnBrk="1" fontAlgn="auto" hangingPunct="1">
                        <a:lnSpc>
                          <a:spcPct val="100000"/>
                        </a:lnSpc>
                        <a:spcBef>
                          <a:spcPts val="625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latin typeface="+mj-lt"/>
                          <a:ea typeface="+mn-ea"/>
                          <a:cs typeface="+mn-cs"/>
                          <a:sym typeface="Arial Narrow" panose="020B0606020202030204" pitchFamily="34" charset="0"/>
                        </a:rPr>
                        <a:t>Nausea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10 (31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1 (3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5 (14) 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+mn-cs"/>
                          <a:sym typeface="Arial Narrow" panose="020B0606020202030204" pitchFamily="34" charset="0"/>
                        </a:rPr>
                        <a:t>0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0608652"/>
                  </a:ext>
                </a:extLst>
              </a:tr>
              <a:tr h="269441">
                <a:tc>
                  <a:txBody>
                    <a:bodyPr/>
                    <a:lstStyle/>
                    <a:p>
                      <a:pPr marL="0" marR="0" lvl="0" indent="0" algn="l" defTabSz="2438430" rtl="0" eaLnBrk="1" fontAlgn="auto" hangingPunct="1">
                        <a:lnSpc>
                          <a:spcPct val="100000"/>
                        </a:lnSpc>
                        <a:spcBef>
                          <a:spcPts val="625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latin typeface="+mj-lt"/>
                          <a:ea typeface="+mn-ea"/>
                          <a:cs typeface="+mn-cs"/>
                          <a:sym typeface="Arial Narrow" panose="020B0606020202030204" pitchFamily="34" charset="0"/>
                        </a:rPr>
                        <a:t>Fall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9 (28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2 (6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4 (11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+mn-cs"/>
                          <a:sym typeface="Arial Narrow" panose="020B0606020202030204" pitchFamily="34" charset="0"/>
                        </a:rPr>
                        <a:t>0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1807773"/>
                  </a:ext>
                </a:extLst>
              </a:tr>
              <a:tr h="269441">
                <a:tc>
                  <a:txBody>
                    <a:bodyPr/>
                    <a:lstStyle/>
                    <a:p>
                      <a:pPr marL="0" marR="0" lvl="0" indent="0" algn="l" defTabSz="243843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latin typeface="+mj-lt"/>
                          <a:ea typeface="+mn-ea"/>
                          <a:cs typeface="+mn-cs"/>
                          <a:sym typeface="Arial Narrow" panose="020B0606020202030204" pitchFamily="34" charset="0"/>
                        </a:rPr>
                        <a:t>Abdominal pain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8 (25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1 (3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5 (14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+mn-cs"/>
                          <a:sym typeface="Arial Narrow" panose="020B0606020202030204" pitchFamily="34" charset="0"/>
                        </a:rPr>
                        <a:t>0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0224734"/>
                  </a:ext>
                </a:extLst>
              </a:tr>
              <a:tr h="269441">
                <a:tc>
                  <a:txBody>
                    <a:bodyPr/>
                    <a:lstStyle/>
                    <a:p>
                      <a:pPr marL="0" marR="0" lvl="0" indent="0" algn="l" defTabSz="243843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latin typeface="+mj-lt"/>
                          <a:ea typeface="+mn-ea"/>
                          <a:cs typeface="+mn-cs"/>
                          <a:sym typeface="Arial Narrow" panose="020B0606020202030204" pitchFamily="34" charset="0"/>
                        </a:rPr>
                        <a:t>Cough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7 (22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0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6 (17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+mn-cs"/>
                          <a:sym typeface="Arial Narrow" panose="020B0606020202030204" pitchFamily="34" charset="0"/>
                        </a:rPr>
                        <a:t>0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52248"/>
                  </a:ext>
                </a:extLst>
              </a:tr>
              <a:tr h="269441">
                <a:tc>
                  <a:txBody>
                    <a:bodyPr/>
                    <a:lstStyle/>
                    <a:p>
                      <a:pPr marL="0" marR="0" lvl="0" indent="0" algn="l" defTabSz="243843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latin typeface="+mj-lt"/>
                          <a:ea typeface="+mn-ea"/>
                          <a:cs typeface="+mn-cs"/>
                          <a:sym typeface="Arial Narrow" panose="020B0606020202030204" pitchFamily="34" charset="0"/>
                        </a:rPr>
                        <a:t>Fatigue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9 (28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1 (3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3 (9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+mn-cs"/>
                          <a:sym typeface="Arial Narrow" panose="020B0606020202030204" pitchFamily="34" charset="0"/>
                        </a:rPr>
                        <a:t>1 (3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8545858"/>
                  </a:ext>
                </a:extLst>
              </a:tr>
              <a:tr h="269441">
                <a:tc>
                  <a:txBody>
                    <a:bodyPr/>
                    <a:lstStyle/>
                    <a:p>
                      <a:pPr marL="0" marR="0" lvl="0" indent="0" algn="l" defTabSz="243843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latin typeface="+mj-lt"/>
                          <a:ea typeface="+mn-ea"/>
                          <a:cs typeface="+mn-cs"/>
                          <a:sym typeface="Arial Narrow" panose="020B0606020202030204" pitchFamily="34" charset="0"/>
                        </a:rPr>
                        <a:t>Pruritus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6 (19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1 (3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4 (11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+mn-cs"/>
                          <a:sym typeface="Arial Narrow" panose="020B0606020202030204" pitchFamily="34" charset="0"/>
                        </a:rPr>
                        <a:t>0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080226"/>
                  </a:ext>
                </a:extLst>
              </a:tr>
              <a:tr h="269441">
                <a:tc>
                  <a:txBody>
                    <a:bodyPr/>
                    <a:lstStyle/>
                    <a:p>
                      <a:pPr marL="0" marR="0" lvl="0" indent="0" algn="l" defTabSz="243843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latin typeface="+mj-lt"/>
                          <a:ea typeface="+mn-ea"/>
                          <a:cs typeface="+mn-cs"/>
                          <a:sym typeface="Arial Narrow" panose="020B0606020202030204" pitchFamily="34" charset="0"/>
                        </a:rPr>
                        <a:t>Dizziness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4 (13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0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6 (17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+mn-cs"/>
                          <a:sym typeface="Arial Narrow" panose="020B0606020202030204" pitchFamily="34" charset="0"/>
                        </a:rPr>
                        <a:t>0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3171345"/>
                  </a:ext>
                </a:extLst>
              </a:tr>
              <a:tr h="269441">
                <a:tc>
                  <a:txBody>
                    <a:bodyPr/>
                    <a:lstStyle/>
                    <a:p>
                      <a:pPr marL="0" marR="0" lvl="0" indent="0" algn="l" defTabSz="2438430" rtl="0" eaLnBrk="1" fontAlgn="auto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chemeClr val="dk1">
                              <a:lumMod val="100000"/>
                            </a:schemeClr>
                          </a:solidFill>
                          <a:latin typeface="+mj-lt"/>
                          <a:ea typeface="+mn-ea"/>
                          <a:cs typeface="+mn-cs"/>
                          <a:sym typeface="Arial Narrow" panose="020B0606020202030204" pitchFamily="34" charset="0"/>
                        </a:rPr>
                        <a:t>Dyspnea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5 (16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0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Arial" panose="020B0604020202020204" pitchFamily="34" charset="0"/>
                          <a:sym typeface="Arial Narrow" panose="020B0606020202030204" pitchFamily="34" charset="0"/>
                        </a:rPr>
                        <a:t>5 (14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2438430" rtl="0" eaLnBrk="1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+mj-lt"/>
                          <a:ea typeface="MS PGothic" panose="020B0600070205080204" pitchFamily="34" charset="-128"/>
                          <a:cs typeface="+mn-cs"/>
                          <a:sym typeface="Arial Narrow" panose="020B0606020202030204" pitchFamily="34" charset="0"/>
                        </a:rPr>
                        <a:t>2 (6)</a:t>
                      </a:r>
                    </a:p>
                  </a:txBody>
                  <a:tcPr marL="68580" marR="68580" marT="34290" marB="34290" anchor="ctr">
                    <a:lnT w="6350" cap="flat" cmpd="sng" algn="ctr">
                      <a:solidFill>
                        <a:srgbClr val="005CAB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D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6226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3CD1B-9D55-F045-9187-8CAA26070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0204" y="522661"/>
            <a:ext cx="7886700" cy="420688"/>
          </a:xfrm>
        </p:spPr>
        <p:txBody>
          <a:bodyPr>
            <a:noAutofit/>
          </a:bodyPr>
          <a:lstStyle/>
          <a:p>
            <a:r>
              <a:rPr lang="en-US" sz="2250" b="1" dirty="0"/>
              <a:t>MF Treatment in 3-5 Years (Where Transplant Not Selected)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BE2410A-DD6F-C844-92F9-E4FD17EFC8A4}"/>
              </a:ext>
            </a:extLst>
          </p:cNvPr>
          <p:cNvSpPr/>
          <p:nvPr/>
        </p:nvSpPr>
        <p:spPr>
          <a:xfrm rot="10800000" flipH="1" flipV="1">
            <a:off x="2897984" y="1804593"/>
            <a:ext cx="896943" cy="4206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No</a:t>
            </a:r>
          </a:p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Sx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CBC999F-805E-A046-9AC4-EC69BF8591EC}"/>
              </a:ext>
            </a:extLst>
          </p:cNvPr>
          <p:cNvSpPr/>
          <p:nvPr/>
        </p:nvSpPr>
        <p:spPr>
          <a:xfrm rot="10800000" flipH="1" flipV="1">
            <a:off x="2897982" y="2282826"/>
            <a:ext cx="896945" cy="4206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Yes</a:t>
            </a:r>
          </a:p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S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375F46-CF8C-AF41-BB6E-8749D60609D4}"/>
              </a:ext>
            </a:extLst>
          </p:cNvPr>
          <p:cNvSpPr txBox="1"/>
          <p:nvPr/>
        </p:nvSpPr>
        <p:spPr>
          <a:xfrm rot="16200000">
            <a:off x="1647878" y="1803699"/>
            <a:ext cx="13716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350" dirty="0">
                <a:solidFill>
                  <a:prstClr val="black"/>
                </a:solidFill>
                <a:latin typeface="Calibri" panose="020F0502020204030204"/>
              </a:rPr>
              <a:t>Low Risk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A6DC0FF-5552-0B4E-8D64-52F6B9EC605A}"/>
              </a:ext>
            </a:extLst>
          </p:cNvPr>
          <p:cNvSpPr txBox="1"/>
          <p:nvPr/>
        </p:nvSpPr>
        <p:spPr>
          <a:xfrm rot="16200000">
            <a:off x="1647878" y="3382620"/>
            <a:ext cx="13716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350" dirty="0">
                <a:solidFill>
                  <a:prstClr val="black"/>
                </a:solidFill>
                <a:latin typeface="Calibri" panose="020F0502020204030204"/>
              </a:rPr>
              <a:t>Inter/High Risk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00524B2-9854-1844-9A3A-546AC8AA24D1}"/>
              </a:ext>
            </a:extLst>
          </p:cNvPr>
          <p:cNvSpPr txBox="1"/>
          <p:nvPr/>
        </p:nvSpPr>
        <p:spPr>
          <a:xfrm rot="16200000">
            <a:off x="1647878" y="5164909"/>
            <a:ext cx="13716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350" dirty="0">
                <a:solidFill>
                  <a:prstClr val="black"/>
                </a:solidFill>
                <a:latin typeface="Calibri" panose="020F0502020204030204"/>
              </a:rPr>
              <a:t>AP/Blast Phase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4FC983A3-ACDB-4446-9A51-ECB5E6D77933}"/>
              </a:ext>
            </a:extLst>
          </p:cNvPr>
          <p:cNvSpPr/>
          <p:nvPr/>
        </p:nvSpPr>
        <p:spPr>
          <a:xfrm rot="10800000" flipH="1" flipV="1">
            <a:off x="2897982" y="2886473"/>
            <a:ext cx="896945" cy="4206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</a:rPr>
              <a:t>PT</a:t>
            </a:r>
          </a:p>
          <a:p>
            <a:pPr algn="ctr" defTabSz="685800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</a:rPr>
              <a:t>&lt;75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C240DEB-7C80-CD41-95A0-2E052D74FA05}"/>
              </a:ext>
            </a:extLst>
          </p:cNvPr>
          <p:cNvSpPr/>
          <p:nvPr/>
        </p:nvSpPr>
        <p:spPr>
          <a:xfrm rot="10800000" flipH="1" flipV="1">
            <a:off x="2897982" y="3349626"/>
            <a:ext cx="896945" cy="4206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</a:rPr>
              <a:t>HB</a:t>
            </a:r>
          </a:p>
          <a:p>
            <a:pPr algn="ctr" defTabSz="685800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</a:rPr>
              <a:t>&lt;8.5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D05ABF9-AE93-D643-9918-7334ED6977CA}"/>
              </a:ext>
            </a:extLst>
          </p:cNvPr>
          <p:cNvSpPr/>
          <p:nvPr/>
        </p:nvSpPr>
        <p:spPr>
          <a:xfrm rot="10800000" flipH="1" flipV="1">
            <a:off x="2897982" y="3812780"/>
            <a:ext cx="896945" cy="4206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050" dirty="0">
              <a:solidFill>
                <a:prstClr val="white"/>
              </a:solidFill>
              <a:latin typeface="Calibri" panose="020F0502020204030204"/>
            </a:endParaRPr>
          </a:p>
          <a:p>
            <a:pPr algn="ctr" defTabSz="685800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</a:rPr>
              <a:t>STD</a:t>
            </a:r>
          </a:p>
          <a:p>
            <a:pPr algn="ctr" defTabSz="685800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</a:rPr>
              <a:t>MF</a:t>
            </a:r>
          </a:p>
          <a:p>
            <a:pPr algn="ctr" defTabSz="685800">
              <a:defRPr/>
            </a:pPr>
            <a:endParaRPr lang="en-US" sz="10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7E211523-516E-1E4D-A2F2-77F7046064E4}"/>
              </a:ext>
            </a:extLst>
          </p:cNvPr>
          <p:cNvSpPr/>
          <p:nvPr/>
        </p:nvSpPr>
        <p:spPr>
          <a:xfrm rot="10800000" flipH="1" flipV="1">
            <a:off x="2897982" y="4275933"/>
            <a:ext cx="896945" cy="4206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</a:rPr>
              <a:t>Inc</a:t>
            </a:r>
          </a:p>
          <a:p>
            <a:pPr algn="ctr" defTabSz="685800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</a:rPr>
              <a:t>Risk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405225A-8D1B-D54D-813A-4791036D8AE1}"/>
              </a:ext>
            </a:extLst>
          </p:cNvPr>
          <p:cNvSpPr/>
          <p:nvPr/>
        </p:nvSpPr>
        <p:spPr>
          <a:xfrm rot="10800000" flipH="1" flipV="1">
            <a:off x="2897982" y="4914570"/>
            <a:ext cx="896943" cy="420687"/>
          </a:xfrm>
          <a:prstGeom prst="roundRect">
            <a:avLst/>
          </a:prstGeom>
          <a:solidFill>
            <a:schemeClr val="accent4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Calibri" panose="020F0502020204030204"/>
              </a:rPr>
              <a:t>Yes</a:t>
            </a:r>
          </a:p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Calibri" panose="020F0502020204030204"/>
              </a:rPr>
              <a:t>BMT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4D2D392F-BED0-D74B-BA23-1750A01BFA5D}"/>
              </a:ext>
            </a:extLst>
          </p:cNvPr>
          <p:cNvSpPr/>
          <p:nvPr/>
        </p:nvSpPr>
        <p:spPr>
          <a:xfrm rot="10800000" flipH="1" flipV="1">
            <a:off x="2897979" y="8881797"/>
            <a:ext cx="420687" cy="4206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No</a:t>
            </a:r>
          </a:p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Sx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4CD8D570-BFF5-904B-85D9-4E5EC2E9A3FC}"/>
              </a:ext>
            </a:extLst>
          </p:cNvPr>
          <p:cNvSpPr/>
          <p:nvPr/>
        </p:nvSpPr>
        <p:spPr>
          <a:xfrm rot="10800000" flipH="1" flipV="1">
            <a:off x="2900307" y="5385328"/>
            <a:ext cx="896943" cy="420687"/>
          </a:xfrm>
          <a:prstGeom prst="roundRect">
            <a:avLst/>
          </a:prstGeom>
          <a:solidFill>
            <a:schemeClr val="accent4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Calibri" panose="020F0502020204030204"/>
              </a:rPr>
              <a:t>No</a:t>
            </a:r>
          </a:p>
          <a:p>
            <a:pPr algn="ctr" defTabSz="685800">
              <a:defRPr/>
            </a:pPr>
            <a:r>
              <a:rPr lang="en-US" sz="900" dirty="0">
                <a:solidFill>
                  <a:prstClr val="white"/>
                </a:solidFill>
                <a:latin typeface="Calibri" panose="020F0502020204030204"/>
              </a:rPr>
              <a:t>BMT</a:t>
            </a:r>
          </a:p>
        </p:txBody>
      </p:sp>
      <p:sp>
        <p:nvSpPr>
          <p:cNvPr id="16" name="Rectangle: Rounded Corners 3">
            <a:extLst>
              <a:ext uri="{FF2B5EF4-FFF2-40B4-BE49-F238E27FC236}">
                <a16:creationId xmlns:a16="http://schemas.microsoft.com/office/drawing/2014/main" id="{225359E3-FAD2-B247-858C-6CC0448ECD01}"/>
              </a:ext>
            </a:extLst>
          </p:cNvPr>
          <p:cNvSpPr/>
          <p:nvPr/>
        </p:nvSpPr>
        <p:spPr>
          <a:xfrm rot="10800000" flipH="1" flipV="1">
            <a:off x="4212434" y="1798441"/>
            <a:ext cx="2201975" cy="4206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OBS/ PEG INF/ TRIAL</a:t>
            </a:r>
          </a:p>
        </p:txBody>
      </p:sp>
      <p:sp>
        <p:nvSpPr>
          <p:cNvPr id="18" name="Rectangle: Rounded Corners 3">
            <a:extLst>
              <a:ext uri="{FF2B5EF4-FFF2-40B4-BE49-F238E27FC236}">
                <a16:creationId xmlns:a16="http://schemas.microsoft.com/office/drawing/2014/main" id="{20C57FA5-4796-244F-A01B-6FA159BE7963}"/>
              </a:ext>
            </a:extLst>
          </p:cNvPr>
          <p:cNvSpPr/>
          <p:nvPr/>
        </p:nvSpPr>
        <p:spPr>
          <a:xfrm rot="10800000" flipH="1" flipV="1">
            <a:off x="7229868" y="1935773"/>
            <a:ext cx="2201975" cy="4206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Move to INT/High Approach</a:t>
            </a:r>
          </a:p>
        </p:txBody>
      </p:sp>
      <p:sp>
        <p:nvSpPr>
          <p:cNvPr id="20" name="Rectangle: Rounded Corners 3">
            <a:extLst>
              <a:ext uri="{FF2B5EF4-FFF2-40B4-BE49-F238E27FC236}">
                <a16:creationId xmlns:a16="http://schemas.microsoft.com/office/drawing/2014/main" id="{30DD30D9-0752-264E-BC4C-45AA6616085F}"/>
              </a:ext>
            </a:extLst>
          </p:cNvPr>
          <p:cNvSpPr/>
          <p:nvPr/>
        </p:nvSpPr>
        <p:spPr>
          <a:xfrm rot="10800000" flipH="1" flipV="1">
            <a:off x="4212434" y="2282827"/>
            <a:ext cx="2201975" cy="4206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RUXO/ TRIAL</a:t>
            </a:r>
          </a:p>
        </p:txBody>
      </p:sp>
      <p:sp>
        <p:nvSpPr>
          <p:cNvPr id="24" name="Rectangle: Rounded Corners 3">
            <a:extLst>
              <a:ext uri="{FF2B5EF4-FFF2-40B4-BE49-F238E27FC236}">
                <a16:creationId xmlns:a16="http://schemas.microsoft.com/office/drawing/2014/main" id="{9C5C7046-D9DD-F14C-9DAD-A30F223D1AD3}"/>
              </a:ext>
            </a:extLst>
          </p:cNvPr>
          <p:cNvSpPr/>
          <p:nvPr/>
        </p:nvSpPr>
        <p:spPr>
          <a:xfrm rot="10800000" flipH="1" flipV="1">
            <a:off x="4212434" y="2886474"/>
            <a:ext cx="2201975" cy="4206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PAC</a:t>
            </a:r>
          </a:p>
        </p:txBody>
      </p:sp>
      <p:sp>
        <p:nvSpPr>
          <p:cNvPr id="26" name="Rectangle: Rounded Corners 3">
            <a:extLst>
              <a:ext uri="{FF2B5EF4-FFF2-40B4-BE49-F238E27FC236}">
                <a16:creationId xmlns:a16="http://schemas.microsoft.com/office/drawing/2014/main" id="{67DE1301-E335-E44F-A0F4-FB09CAA91333}"/>
              </a:ext>
            </a:extLst>
          </p:cNvPr>
          <p:cNvSpPr/>
          <p:nvPr/>
        </p:nvSpPr>
        <p:spPr>
          <a:xfrm rot="10800000" flipH="1" flipV="1">
            <a:off x="7229871" y="2802720"/>
            <a:ext cx="2201975" cy="420687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PAC/ Trial</a:t>
            </a:r>
          </a:p>
        </p:txBody>
      </p:sp>
      <p:sp>
        <p:nvSpPr>
          <p:cNvPr id="28" name="Rectangle: Rounded Corners 3">
            <a:extLst>
              <a:ext uri="{FF2B5EF4-FFF2-40B4-BE49-F238E27FC236}">
                <a16:creationId xmlns:a16="http://schemas.microsoft.com/office/drawing/2014/main" id="{4920097A-AFF7-5B48-96BE-C2737CC64D3E}"/>
              </a:ext>
            </a:extLst>
          </p:cNvPr>
          <p:cNvSpPr/>
          <p:nvPr/>
        </p:nvSpPr>
        <p:spPr>
          <a:xfrm rot="10800000" flipH="1" flipV="1">
            <a:off x="4212434" y="3349629"/>
            <a:ext cx="2201975" cy="4206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MOM/ RUXO + LUS/ ?RUXO PLUS PELA/ PAC</a:t>
            </a:r>
          </a:p>
        </p:txBody>
      </p:sp>
      <p:sp>
        <p:nvSpPr>
          <p:cNvPr id="29" name="Rectangle: Rounded Corners 3">
            <a:extLst>
              <a:ext uri="{FF2B5EF4-FFF2-40B4-BE49-F238E27FC236}">
                <a16:creationId xmlns:a16="http://schemas.microsoft.com/office/drawing/2014/main" id="{34DFDCD6-9825-F443-9930-04FF52BBAFD1}"/>
              </a:ext>
            </a:extLst>
          </p:cNvPr>
          <p:cNvSpPr/>
          <p:nvPr/>
        </p:nvSpPr>
        <p:spPr>
          <a:xfrm rot="10800000" flipH="1" flipV="1">
            <a:off x="7229871" y="3265875"/>
            <a:ext cx="2201975" cy="420687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2</a:t>
            </a:r>
            <a:r>
              <a:rPr lang="en-US" sz="1350" baseline="30000" dirty="0">
                <a:solidFill>
                  <a:prstClr val="white"/>
                </a:solidFill>
                <a:latin typeface="Calibri" panose="020F0502020204030204"/>
              </a:rPr>
              <a:t>nd</a:t>
            </a: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US" sz="1350" dirty="0" err="1">
                <a:solidFill>
                  <a:prstClr val="white"/>
                </a:solidFill>
                <a:latin typeface="Calibri" panose="020F0502020204030204"/>
              </a:rPr>
              <a:t>JAKi</a:t>
            </a: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 (FEDR) or COMBO</a:t>
            </a:r>
          </a:p>
        </p:txBody>
      </p:sp>
      <p:sp>
        <p:nvSpPr>
          <p:cNvPr id="30" name="Rectangle: Rounded Corners 3">
            <a:extLst>
              <a:ext uri="{FF2B5EF4-FFF2-40B4-BE49-F238E27FC236}">
                <a16:creationId xmlns:a16="http://schemas.microsoft.com/office/drawing/2014/main" id="{A34F339A-E935-E248-A748-7290D4A3FF9C}"/>
              </a:ext>
            </a:extLst>
          </p:cNvPr>
          <p:cNvSpPr/>
          <p:nvPr/>
        </p:nvSpPr>
        <p:spPr>
          <a:xfrm rot="10800000" flipH="1" flipV="1">
            <a:off x="4212433" y="3806631"/>
            <a:ext cx="2201975" cy="4206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RUXO/ FEDR</a:t>
            </a:r>
          </a:p>
        </p:txBody>
      </p:sp>
      <p:sp>
        <p:nvSpPr>
          <p:cNvPr id="31" name="Rectangle: Rounded Corners 3">
            <a:extLst>
              <a:ext uri="{FF2B5EF4-FFF2-40B4-BE49-F238E27FC236}">
                <a16:creationId xmlns:a16="http://schemas.microsoft.com/office/drawing/2014/main" id="{8D3EAB15-46D1-5A44-B49F-E02649BAFE73}"/>
              </a:ext>
            </a:extLst>
          </p:cNvPr>
          <p:cNvSpPr/>
          <p:nvPr/>
        </p:nvSpPr>
        <p:spPr>
          <a:xfrm rot="10800000" flipH="1" flipV="1">
            <a:off x="7229870" y="3722877"/>
            <a:ext cx="2201975" cy="420687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MOM/ </a:t>
            </a:r>
            <a:r>
              <a:rPr lang="en-US" sz="1350" dirty="0" err="1">
                <a:solidFill>
                  <a:prstClr val="white"/>
                </a:solidFill>
                <a:latin typeface="Calibri" panose="020F0502020204030204"/>
              </a:rPr>
              <a:t>JAKi</a:t>
            </a: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 + ESA-IMID-AND/COMBO JAKI</a:t>
            </a:r>
          </a:p>
        </p:txBody>
      </p:sp>
      <p:sp>
        <p:nvSpPr>
          <p:cNvPr id="32" name="Rectangle: Rounded Corners 3">
            <a:extLst>
              <a:ext uri="{FF2B5EF4-FFF2-40B4-BE49-F238E27FC236}">
                <a16:creationId xmlns:a16="http://schemas.microsoft.com/office/drawing/2014/main" id="{07F04CBD-1156-B845-9613-BBED49C7B957}"/>
              </a:ext>
            </a:extLst>
          </p:cNvPr>
          <p:cNvSpPr/>
          <p:nvPr/>
        </p:nvSpPr>
        <p:spPr>
          <a:xfrm rot="10800000" flipH="1" flipV="1">
            <a:off x="4212432" y="4282343"/>
            <a:ext cx="2201975" cy="4206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RUXO + (PELA, NAVITO, PARS)</a:t>
            </a:r>
          </a:p>
        </p:txBody>
      </p:sp>
      <p:sp>
        <p:nvSpPr>
          <p:cNvPr id="33" name="Rectangle: Rounded Corners 3">
            <a:extLst>
              <a:ext uri="{FF2B5EF4-FFF2-40B4-BE49-F238E27FC236}">
                <a16:creationId xmlns:a16="http://schemas.microsoft.com/office/drawing/2014/main" id="{9D2F1426-A46D-8F4F-B9FA-098D4D52149C}"/>
              </a:ext>
            </a:extLst>
          </p:cNvPr>
          <p:cNvSpPr/>
          <p:nvPr/>
        </p:nvSpPr>
        <p:spPr>
          <a:xfrm rot="10800000" flipH="1" flipV="1">
            <a:off x="7229869" y="4198589"/>
            <a:ext cx="2201975" cy="420687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IMETEL/ </a:t>
            </a:r>
            <a:r>
              <a:rPr lang="en-US" sz="1350" dirty="0" err="1">
                <a:solidFill>
                  <a:prstClr val="white"/>
                </a:solidFill>
                <a:latin typeface="Calibri" panose="020F0502020204030204"/>
              </a:rPr>
              <a:t>JAKi</a:t>
            </a: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 + PELA/PARS/NAVITO/NAVT</a:t>
            </a:r>
          </a:p>
        </p:txBody>
      </p:sp>
      <p:sp>
        <p:nvSpPr>
          <p:cNvPr id="34" name="Rectangle: Rounded Corners 3">
            <a:extLst>
              <a:ext uri="{FF2B5EF4-FFF2-40B4-BE49-F238E27FC236}">
                <a16:creationId xmlns:a16="http://schemas.microsoft.com/office/drawing/2014/main" id="{6941AADE-A915-6E46-83C7-B1262B44169C}"/>
              </a:ext>
            </a:extLst>
          </p:cNvPr>
          <p:cNvSpPr/>
          <p:nvPr/>
        </p:nvSpPr>
        <p:spPr>
          <a:xfrm rot="10800000" flipH="1" flipV="1">
            <a:off x="4212431" y="4914570"/>
            <a:ext cx="2201975" cy="420687"/>
          </a:xfrm>
          <a:prstGeom prst="roundRect">
            <a:avLst/>
          </a:prstGeom>
          <a:solidFill>
            <a:schemeClr val="accent4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ENHANCED INDUCTION</a:t>
            </a:r>
          </a:p>
        </p:txBody>
      </p:sp>
      <p:sp>
        <p:nvSpPr>
          <p:cNvPr id="36" name="Rectangle: Rounded Corners 3">
            <a:extLst>
              <a:ext uri="{FF2B5EF4-FFF2-40B4-BE49-F238E27FC236}">
                <a16:creationId xmlns:a16="http://schemas.microsoft.com/office/drawing/2014/main" id="{71A4B97D-320F-2340-BF1F-ECA703A18EEE}"/>
              </a:ext>
            </a:extLst>
          </p:cNvPr>
          <p:cNvSpPr/>
          <p:nvPr/>
        </p:nvSpPr>
        <p:spPr>
          <a:xfrm rot="10800000" flipH="1" flipV="1">
            <a:off x="4212431" y="5370375"/>
            <a:ext cx="2201975" cy="574481"/>
          </a:xfrm>
          <a:prstGeom prst="roundRect">
            <a:avLst/>
          </a:prstGeom>
          <a:solidFill>
            <a:schemeClr val="accent4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RUXO + TARGET (IDH1/2, </a:t>
            </a:r>
            <a:r>
              <a:rPr lang="en-US" sz="1350" dirty="0" err="1">
                <a:solidFill>
                  <a:prstClr val="white"/>
                </a:solidFill>
                <a:latin typeface="Calibri" panose="020F0502020204030204"/>
              </a:rPr>
              <a:t>DNMTi</a:t>
            </a: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, BCL2i)</a:t>
            </a:r>
          </a:p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RUXO PLUS HMA</a:t>
            </a:r>
          </a:p>
        </p:txBody>
      </p:sp>
      <p:sp>
        <p:nvSpPr>
          <p:cNvPr id="37" name="Rectangle: Rounded Corners 3">
            <a:extLst>
              <a:ext uri="{FF2B5EF4-FFF2-40B4-BE49-F238E27FC236}">
                <a16:creationId xmlns:a16="http://schemas.microsoft.com/office/drawing/2014/main" id="{80976EAF-5987-EC42-B73B-BF6008D0268F}"/>
              </a:ext>
            </a:extLst>
          </p:cNvPr>
          <p:cNvSpPr/>
          <p:nvPr/>
        </p:nvSpPr>
        <p:spPr>
          <a:xfrm rot="10800000" flipH="1" flipV="1">
            <a:off x="7229868" y="5020854"/>
            <a:ext cx="2201975" cy="420687"/>
          </a:xfrm>
          <a:prstGeom prst="round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/>
              </a:rPr>
              <a:t>Trial/ Supp Care</a:t>
            </a:r>
          </a:p>
        </p:txBody>
      </p:sp>
      <p:sp>
        <p:nvSpPr>
          <p:cNvPr id="38" name="Rectangle: Rounded Corners 14">
            <a:extLst>
              <a:ext uri="{FF2B5EF4-FFF2-40B4-BE49-F238E27FC236}">
                <a16:creationId xmlns:a16="http://schemas.microsoft.com/office/drawing/2014/main" id="{086B4A58-337E-0740-8D52-79A4264BD2E1}"/>
              </a:ext>
            </a:extLst>
          </p:cNvPr>
          <p:cNvSpPr/>
          <p:nvPr/>
        </p:nvSpPr>
        <p:spPr>
          <a:xfrm rot="10800000" flipH="1" flipV="1">
            <a:off x="9733502" y="2802718"/>
            <a:ext cx="934498" cy="420688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</a:rPr>
              <a:t>PT</a:t>
            </a:r>
          </a:p>
          <a:p>
            <a:pPr algn="ctr" defTabSz="685800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</a:rPr>
              <a:t>&lt;50</a:t>
            </a:r>
          </a:p>
        </p:txBody>
      </p:sp>
      <p:sp>
        <p:nvSpPr>
          <p:cNvPr id="39" name="Rectangle: Rounded Corners 16">
            <a:extLst>
              <a:ext uri="{FF2B5EF4-FFF2-40B4-BE49-F238E27FC236}">
                <a16:creationId xmlns:a16="http://schemas.microsoft.com/office/drawing/2014/main" id="{ABCC7816-C3EC-0C4A-948B-E7F58EFC2929}"/>
              </a:ext>
            </a:extLst>
          </p:cNvPr>
          <p:cNvSpPr/>
          <p:nvPr/>
        </p:nvSpPr>
        <p:spPr>
          <a:xfrm rot="10800000" flipH="1" flipV="1">
            <a:off x="9733502" y="3265871"/>
            <a:ext cx="934498" cy="420688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</a:rPr>
              <a:t>SPL</a:t>
            </a:r>
          </a:p>
        </p:txBody>
      </p:sp>
      <p:sp>
        <p:nvSpPr>
          <p:cNvPr id="40" name="Rectangle: Rounded Corners 18">
            <a:extLst>
              <a:ext uri="{FF2B5EF4-FFF2-40B4-BE49-F238E27FC236}">
                <a16:creationId xmlns:a16="http://schemas.microsoft.com/office/drawing/2014/main" id="{065791A8-3B39-1545-BC92-5E5C5D48C44F}"/>
              </a:ext>
            </a:extLst>
          </p:cNvPr>
          <p:cNvSpPr/>
          <p:nvPr/>
        </p:nvSpPr>
        <p:spPr>
          <a:xfrm rot="10800000" flipH="1" flipV="1">
            <a:off x="9733502" y="3729025"/>
            <a:ext cx="934498" cy="420688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050" dirty="0">
              <a:solidFill>
                <a:prstClr val="white"/>
              </a:solidFill>
              <a:latin typeface="Calibri" panose="020F0502020204030204"/>
            </a:endParaRPr>
          </a:p>
          <a:p>
            <a:pPr algn="ctr" defTabSz="685800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</a:rPr>
              <a:t>HB</a:t>
            </a:r>
          </a:p>
          <a:p>
            <a:pPr algn="ctr" defTabSz="685800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</a:rPr>
              <a:t>&lt;8</a:t>
            </a:r>
          </a:p>
          <a:p>
            <a:pPr algn="ctr" defTabSz="685800">
              <a:defRPr/>
            </a:pPr>
            <a:endParaRPr lang="en-US" sz="10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1" name="Rectangle: Rounded Corners 20">
            <a:extLst>
              <a:ext uri="{FF2B5EF4-FFF2-40B4-BE49-F238E27FC236}">
                <a16:creationId xmlns:a16="http://schemas.microsoft.com/office/drawing/2014/main" id="{0F10F812-ABF8-424F-BE45-F08E749597A7}"/>
              </a:ext>
            </a:extLst>
          </p:cNvPr>
          <p:cNvSpPr/>
          <p:nvPr/>
        </p:nvSpPr>
        <p:spPr>
          <a:xfrm rot="10800000" flipH="1" flipV="1">
            <a:off x="9733502" y="4192178"/>
            <a:ext cx="934498" cy="420688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</a:rPr>
              <a:t>Inc</a:t>
            </a:r>
          </a:p>
          <a:p>
            <a:pPr algn="ctr" defTabSz="685800">
              <a:defRPr/>
            </a:pPr>
            <a:r>
              <a:rPr lang="en-US" sz="1050" dirty="0">
                <a:solidFill>
                  <a:prstClr val="white"/>
                </a:solidFill>
                <a:latin typeface="Calibri" panose="020F0502020204030204"/>
              </a:rPr>
              <a:t>Risk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DB8BE1-8BBA-3441-8725-C3A970D84D57}"/>
              </a:ext>
            </a:extLst>
          </p:cNvPr>
          <p:cNvSpPr txBox="1"/>
          <p:nvPr/>
        </p:nvSpPr>
        <p:spPr>
          <a:xfrm>
            <a:off x="4679037" y="1331209"/>
            <a:ext cx="13157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b="1" dirty="0">
                <a:solidFill>
                  <a:srgbClr val="C00000"/>
                </a:solidFill>
                <a:latin typeface="Calibri" panose="020F0502020204030204"/>
              </a:rPr>
              <a:t>FRONT LIN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57E88FA-5DD7-D74D-A9BF-ECA7BB00E38D}"/>
              </a:ext>
            </a:extLst>
          </p:cNvPr>
          <p:cNvSpPr txBox="1"/>
          <p:nvPr/>
        </p:nvSpPr>
        <p:spPr>
          <a:xfrm>
            <a:off x="7418903" y="1262667"/>
            <a:ext cx="17754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US" b="1" dirty="0">
                <a:solidFill>
                  <a:srgbClr val="C00000"/>
                </a:solidFill>
                <a:latin typeface="Calibri" panose="020F0502020204030204"/>
              </a:rPr>
              <a:t>2</a:t>
            </a:r>
            <a:r>
              <a:rPr lang="en-US" b="1" baseline="30000" dirty="0">
                <a:solidFill>
                  <a:srgbClr val="C00000"/>
                </a:solidFill>
                <a:latin typeface="Calibri" panose="020F0502020204030204"/>
              </a:rPr>
              <a:t>nd</a:t>
            </a:r>
            <a:r>
              <a:rPr lang="en-US" b="1" dirty="0">
                <a:solidFill>
                  <a:srgbClr val="C00000"/>
                </a:solidFill>
                <a:latin typeface="Calibri" panose="020F0502020204030204"/>
              </a:rPr>
              <a:t> or More LINE</a:t>
            </a:r>
          </a:p>
        </p:txBody>
      </p:sp>
    </p:spTree>
    <p:extLst>
      <p:ext uri="{BB962C8B-B14F-4D97-AF65-F5344CB8AC3E}">
        <p14:creationId xmlns:p14="http://schemas.microsoft.com/office/powerpoint/2010/main" val="1485186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15" grpId="0" animBg="1"/>
      <p:bldP spid="17" grpId="0" animBg="1"/>
      <p:bldP spid="19" grpId="0" animBg="1"/>
      <p:bldP spid="21" grpId="0" animBg="1"/>
      <p:bldP spid="23" grpId="0" animBg="1"/>
      <p:bldP spid="27" grpId="0" animBg="1"/>
      <p:bldP spid="16" grpId="0" animBg="1"/>
      <p:bldP spid="18" grpId="0" animBg="1"/>
      <p:bldP spid="20" grpId="0" animBg="1"/>
      <p:bldP spid="24" grpId="0" animBg="1"/>
      <p:bldP spid="26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4A6040D-CD2D-14B8-0E26-8991E62513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1 – Worsening Anemia in MF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62031D-CC32-E5B9-CC9E-184F74127D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72 Male Presented with MF in 2018 (Primary MF, DIPSS Int 2, MPN10 25/100).</a:t>
            </a:r>
          </a:p>
          <a:p>
            <a:pPr lvl="1"/>
            <a:r>
              <a:rPr lang="en-US" dirty="0"/>
              <a:t>4 years (IWG spleen response, anemia (Hb 9-10 g/dL), IWG symptom response) (</a:t>
            </a:r>
            <a:r>
              <a:rPr lang="en-US" dirty="0" err="1"/>
              <a:t>rux</a:t>
            </a:r>
            <a:r>
              <a:rPr lang="en-US" dirty="0"/>
              <a:t> started 15 BID but quickly to 10mg in am and 5mg in pm)</a:t>
            </a:r>
          </a:p>
          <a:p>
            <a:pPr lvl="1"/>
            <a:endParaRPr lang="en-US" dirty="0"/>
          </a:p>
          <a:p>
            <a:r>
              <a:rPr lang="en-US" dirty="0"/>
              <a:t>June 2022</a:t>
            </a:r>
          </a:p>
          <a:p>
            <a:pPr lvl="1"/>
            <a:r>
              <a:rPr lang="en-US" dirty="0"/>
              <a:t>Spleen now 10 cm BLCM, MPN10 36, Hb of 7.5 g/dL, platelets 110 x 10(9)/L</a:t>
            </a:r>
          </a:p>
          <a:p>
            <a:pPr lvl="1"/>
            <a:r>
              <a:rPr lang="en-US" dirty="0" err="1"/>
              <a:t>Rux</a:t>
            </a:r>
            <a:r>
              <a:rPr lang="en-US" dirty="0"/>
              <a:t> dose 5mg BID</a:t>
            </a:r>
          </a:p>
          <a:p>
            <a:pPr lvl="1"/>
            <a:endParaRPr lang="en-US" dirty="0"/>
          </a:p>
          <a:p>
            <a:r>
              <a:rPr lang="en-US" dirty="0"/>
              <a:t>Options</a:t>
            </a:r>
          </a:p>
          <a:p>
            <a:pPr lvl="1"/>
            <a:r>
              <a:rPr lang="en-US" dirty="0"/>
              <a:t>Off study – </a:t>
            </a:r>
            <a:r>
              <a:rPr lang="en-US" dirty="0" err="1"/>
              <a:t>Fedr</a:t>
            </a:r>
            <a:r>
              <a:rPr lang="en-US" dirty="0"/>
              <a:t>? PAC?</a:t>
            </a:r>
          </a:p>
          <a:p>
            <a:pPr lvl="1"/>
            <a:r>
              <a:rPr lang="en-US" dirty="0"/>
              <a:t>Evolving </a:t>
            </a:r>
            <a:r>
              <a:rPr lang="en-US" dirty="0" err="1"/>
              <a:t>rx</a:t>
            </a:r>
            <a:r>
              <a:rPr lang="en-US" dirty="0"/>
              <a:t> – </a:t>
            </a:r>
            <a:r>
              <a:rPr lang="en-US" dirty="0" err="1"/>
              <a:t>Momelotinib</a:t>
            </a:r>
            <a:r>
              <a:rPr lang="en-US" dirty="0"/>
              <a:t>? Combination?</a:t>
            </a:r>
          </a:p>
          <a:p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21676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4A6040D-CD2D-14B8-0E26-8991E62513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2 – Up front MF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62031D-CC32-E5B9-CC9E-184F74127D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68 Male Presenting with post PV MF 4 years </a:t>
            </a:r>
          </a:p>
          <a:p>
            <a:pPr lvl="1"/>
            <a:r>
              <a:rPr lang="en-US" dirty="0"/>
              <a:t>Spleen 18cm BLCM</a:t>
            </a:r>
          </a:p>
          <a:p>
            <a:pPr lvl="1"/>
            <a:r>
              <a:rPr lang="en-US" dirty="0"/>
              <a:t>Symptoms (MPN 10 score 46)</a:t>
            </a:r>
          </a:p>
          <a:p>
            <a:pPr lvl="1"/>
            <a:r>
              <a:rPr lang="en-US" dirty="0"/>
              <a:t>MIPSS high risk – JAK2 mutated, DNMT3a, ASXL1</a:t>
            </a:r>
          </a:p>
          <a:p>
            <a:pPr lvl="1"/>
            <a:r>
              <a:rPr lang="en-US" dirty="0"/>
              <a:t>Hb 10.2 g/dL, 2 % blasts, WBC of 29 x 10(9)/L, Platelets of 170 x 10(9)/L</a:t>
            </a:r>
          </a:p>
          <a:p>
            <a:pPr lvl="1"/>
            <a:r>
              <a:rPr lang="en-US" dirty="0"/>
              <a:t>Marrow 2-3+ fibrosis, Karyotype del 13(q)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dirty="0"/>
              <a:t>Options</a:t>
            </a:r>
          </a:p>
          <a:p>
            <a:pPr lvl="1"/>
            <a:r>
              <a:rPr lang="en-US" dirty="0"/>
              <a:t>Off study – RUX, FEDR?</a:t>
            </a:r>
          </a:p>
          <a:p>
            <a:pPr lvl="1"/>
            <a:r>
              <a:rPr lang="en-US" dirty="0"/>
              <a:t>Evolving </a:t>
            </a:r>
            <a:r>
              <a:rPr lang="en-US" dirty="0" err="1"/>
              <a:t>rx</a:t>
            </a:r>
            <a:r>
              <a:rPr lang="en-US" dirty="0"/>
              <a:t> – </a:t>
            </a:r>
            <a:r>
              <a:rPr lang="en-US" dirty="0" err="1"/>
              <a:t>Rux</a:t>
            </a:r>
            <a:r>
              <a:rPr lang="en-US" dirty="0"/>
              <a:t> plus </a:t>
            </a:r>
            <a:r>
              <a:rPr lang="en-US" dirty="0" err="1"/>
              <a:t>pelabresib</a:t>
            </a:r>
            <a:r>
              <a:rPr lang="en-US" dirty="0"/>
              <a:t> (MANIFEST II)? Plus </a:t>
            </a:r>
            <a:r>
              <a:rPr lang="en-US"/>
              <a:t>parsaclisib? </a:t>
            </a:r>
            <a:r>
              <a:rPr lang="en-US" dirty="0"/>
              <a:t>Plus navitoclax?</a:t>
            </a:r>
          </a:p>
          <a:p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112603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4A6040D-CD2D-14B8-0E26-8991E62513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3 – Suboptimal response to </a:t>
            </a:r>
            <a:r>
              <a:rPr lang="en-US" dirty="0" err="1"/>
              <a:t>JAKi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62031D-CC32-E5B9-CC9E-184F74127D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64 female Presented with post </a:t>
            </a:r>
            <a:r>
              <a:rPr lang="en-US" dirty="0" err="1"/>
              <a:t>pv</a:t>
            </a:r>
            <a:r>
              <a:rPr lang="en-US" dirty="0"/>
              <a:t> MF in 2021</a:t>
            </a:r>
          </a:p>
          <a:p>
            <a:pPr lvl="1"/>
            <a:r>
              <a:rPr lang="en-US" dirty="0"/>
              <a:t>Baseline spleen 15 cm BLCM</a:t>
            </a:r>
          </a:p>
          <a:p>
            <a:pPr lvl="1"/>
            <a:r>
              <a:rPr lang="en-US" dirty="0"/>
              <a:t>Baseline symptoms MPN10 34.</a:t>
            </a:r>
          </a:p>
          <a:p>
            <a:pPr lvl="1"/>
            <a:r>
              <a:rPr lang="en-US" dirty="0"/>
              <a:t>Hb 12.8 g/dL, platelets 460 x 10(9)/L, </a:t>
            </a:r>
            <a:r>
              <a:rPr lang="en-US" dirty="0" err="1"/>
              <a:t>wbc</a:t>
            </a:r>
            <a:r>
              <a:rPr lang="en-US" dirty="0"/>
              <a:t> 22 x 10(9)/L</a:t>
            </a:r>
          </a:p>
          <a:p>
            <a:pPr lvl="1"/>
            <a:r>
              <a:rPr lang="en-US" dirty="0" err="1"/>
              <a:t>Rux</a:t>
            </a:r>
            <a:r>
              <a:rPr lang="en-US" dirty="0"/>
              <a:t> 20mg BID</a:t>
            </a:r>
          </a:p>
          <a:p>
            <a:pPr lvl="1"/>
            <a:endParaRPr lang="en-US" dirty="0"/>
          </a:p>
          <a:p>
            <a:r>
              <a:rPr lang="en-US" dirty="0"/>
              <a:t>Sep 2022</a:t>
            </a:r>
          </a:p>
          <a:p>
            <a:pPr lvl="1"/>
            <a:r>
              <a:rPr lang="en-US" dirty="0"/>
              <a:t>Spleen now 10 cm BLCM, MPN10 26</a:t>
            </a:r>
          </a:p>
          <a:p>
            <a:pPr lvl="1"/>
            <a:r>
              <a:rPr lang="en-US" dirty="0"/>
              <a:t>Hb of 10.9 g/dL, platelets 220 x 10(9)/L</a:t>
            </a:r>
          </a:p>
          <a:p>
            <a:pPr lvl="1"/>
            <a:r>
              <a:rPr lang="en-US" dirty="0" err="1"/>
              <a:t>Rux</a:t>
            </a:r>
            <a:r>
              <a:rPr lang="en-US" dirty="0"/>
              <a:t> dose 20 BID</a:t>
            </a:r>
          </a:p>
          <a:p>
            <a:pPr lvl="1"/>
            <a:endParaRPr lang="en-US" dirty="0"/>
          </a:p>
          <a:p>
            <a:r>
              <a:rPr lang="en-US" dirty="0"/>
              <a:t>Options</a:t>
            </a:r>
          </a:p>
          <a:p>
            <a:pPr lvl="1"/>
            <a:r>
              <a:rPr lang="en-US" dirty="0"/>
              <a:t>Off study – </a:t>
            </a:r>
            <a:r>
              <a:rPr lang="en-US" dirty="0" err="1"/>
              <a:t>Fedr</a:t>
            </a:r>
            <a:r>
              <a:rPr lang="en-US" dirty="0"/>
              <a:t>?</a:t>
            </a:r>
          </a:p>
          <a:p>
            <a:pPr lvl="1"/>
            <a:r>
              <a:rPr lang="en-US" dirty="0"/>
              <a:t>Evolving </a:t>
            </a:r>
            <a:r>
              <a:rPr lang="en-US" dirty="0" err="1"/>
              <a:t>rx</a:t>
            </a:r>
            <a:r>
              <a:rPr lang="en-US" dirty="0"/>
              <a:t> – “Add on” strategy? + navitoclax? Or + </a:t>
            </a:r>
            <a:r>
              <a:rPr lang="en-US" dirty="0" err="1"/>
              <a:t>pelabresib</a:t>
            </a:r>
            <a:r>
              <a:rPr lang="en-US" dirty="0"/>
              <a:t>? Other?</a:t>
            </a:r>
          </a:p>
          <a:p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986182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BD369A6-0D75-C399-C0C7-7F946880AB0E}"/>
              </a:ext>
            </a:extLst>
          </p:cNvPr>
          <p:cNvSpPr txBox="1"/>
          <p:nvPr/>
        </p:nvSpPr>
        <p:spPr>
          <a:xfrm>
            <a:off x="2131741" y="2844225"/>
            <a:ext cx="7928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0785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E9E9E760-FCD6-1B52-F693-97688F6D25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909" y="1044575"/>
            <a:ext cx="11260182" cy="47688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877944C-A514-FAB3-31AB-61A029E9B035}"/>
              </a:ext>
            </a:extLst>
          </p:cNvPr>
          <p:cNvSpPr txBox="1"/>
          <p:nvPr/>
        </p:nvSpPr>
        <p:spPr>
          <a:xfrm>
            <a:off x="0" y="6534835"/>
            <a:ext cx="659990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/>
              <a:t>Mesa R et al. </a:t>
            </a:r>
            <a:r>
              <a:rPr lang="en-US" sz="1500" i="1" dirty="0"/>
              <a:t>Leukemia</a:t>
            </a:r>
            <a:r>
              <a:rPr lang="en-US" sz="1500" dirty="0"/>
              <a:t> 2022;36(9):2261-8.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0CD7610-5CAB-D54C-9BC3-1E11FA3EC7AC}"/>
              </a:ext>
            </a:extLst>
          </p:cNvPr>
          <p:cNvSpPr/>
          <p:nvPr/>
        </p:nvSpPr>
        <p:spPr bwMode="auto">
          <a:xfrm>
            <a:off x="9521952" y="2243328"/>
            <a:ext cx="2023872" cy="7559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effectLst/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26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5682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707" y="1352260"/>
            <a:ext cx="3953966" cy="244147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5683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587" y="3970660"/>
            <a:ext cx="3934895" cy="2049560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7508429-D14C-4B8A-8AE7-97EA68FD466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284978" y="6360798"/>
            <a:ext cx="6435329" cy="215348"/>
          </a:xfrm>
        </p:spPr>
        <p:txBody>
          <a:bodyPr>
            <a:normAutofit fontScale="77500" lnSpcReduction="20000"/>
          </a:bodyPr>
          <a:lstStyle/>
          <a:p>
            <a:r>
              <a:rPr lang="en-GB" kern="0" dirty="0">
                <a:latin typeface="Arial"/>
                <a:ea typeface="ＭＳ Ｐゴシック" charset="0"/>
              </a:rPr>
              <a:t>BID, twice daily; MF, myelofibrosis.</a:t>
            </a:r>
            <a:endParaRPr lang="en-GB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en-US" noProof="0" dirty="0"/>
              <a:t>1. </a:t>
            </a:r>
            <a:r>
              <a:rPr lang="en-US" noProof="0" dirty="0" err="1"/>
              <a:t>Verstovsek</a:t>
            </a:r>
            <a:r>
              <a:rPr lang="en-US" noProof="0" dirty="0"/>
              <a:t> S</a:t>
            </a:r>
            <a:r>
              <a:rPr lang="en-US" dirty="0"/>
              <a:t>, </a:t>
            </a:r>
            <a:r>
              <a:rPr lang="en-US" noProof="0" dirty="0"/>
              <a:t>et al. </a:t>
            </a:r>
            <a:r>
              <a:rPr lang="en-US" i="1" noProof="0" dirty="0"/>
              <a:t>NEJM </a:t>
            </a:r>
            <a:r>
              <a:rPr lang="en-US" noProof="0" dirty="0"/>
              <a:t>2012;366:799–807; 2.Harrison C, et al. </a:t>
            </a:r>
            <a:r>
              <a:rPr lang="en-US" i="1" noProof="0" dirty="0"/>
              <a:t>NEJM</a:t>
            </a:r>
            <a:r>
              <a:rPr lang="en-US" noProof="0" dirty="0"/>
              <a:t> 2012;366:787–798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90713" y="420525"/>
            <a:ext cx="7434263" cy="514115"/>
          </a:xfrm>
        </p:spPr>
        <p:txBody>
          <a:bodyPr/>
          <a:lstStyle/>
          <a:p>
            <a:r>
              <a:rPr lang="en-GB" dirty="0" err="1"/>
              <a:t>Ruxolitinib</a:t>
            </a:r>
            <a:r>
              <a:rPr lang="en-GB" dirty="0"/>
              <a:t> phase III trials </a:t>
            </a:r>
            <a:r>
              <a:rPr lang="en-GB" b="0" dirty="0"/>
              <a:t>(COMFORT I &amp; II)</a:t>
            </a:r>
            <a:br>
              <a:rPr lang="en-GB" b="0" dirty="0"/>
            </a:br>
            <a:endParaRPr lang="en-GB" b="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685FA99-9391-0349-AAE3-2C8AB478A5F6}"/>
              </a:ext>
            </a:extLst>
          </p:cNvPr>
          <p:cNvGrpSpPr/>
          <p:nvPr/>
        </p:nvGrpSpPr>
        <p:grpSpPr>
          <a:xfrm>
            <a:off x="5367338" y="1320291"/>
            <a:ext cx="5093398" cy="4010001"/>
            <a:chOff x="5367338" y="2073994"/>
            <a:chExt cx="4136064" cy="3256298"/>
          </a:xfrm>
        </p:grpSpPr>
        <p:sp>
          <p:nvSpPr>
            <p:cNvPr id="9" name="Rectangle 17"/>
            <p:cNvSpPr>
              <a:spLocks noChangeArrowheads="1"/>
            </p:cNvSpPr>
            <p:nvPr/>
          </p:nvSpPr>
          <p:spPr bwMode="auto">
            <a:xfrm>
              <a:off x="5367339" y="2425231"/>
              <a:ext cx="1198961" cy="732625"/>
            </a:xfrm>
            <a:prstGeom prst="roundRect">
              <a:avLst/>
            </a:prstGeom>
            <a:solidFill>
              <a:srgbClr val="C0062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27000" h="12700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000" tIns="81000" rIns="108000" bIns="81000" numCol="1" spcCol="1270" anchor="ctr" anchorCtr="0">
              <a:spAutoFit/>
            </a:bodyPr>
            <a:lstStyle/>
            <a:p>
              <a:pPr algn="ctr" defTabSz="40005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US" sz="1200" b="1" spc="75" dirty="0">
                  <a:solidFill>
                    <a:srgbClr val="FFFFFF"/>
                  </a:solidFill>
                  <a:latin typeface="Goudy Old Style"/>
                </a:rPr>
                <a:t>Patients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US" sz="1200" b="1" spc="75" dirty="0">
                  <a:solidFill>
                    <a:srgbClr val="FFFFFF"/>
                  </a:solidFill>
                  <a:latin typeface="Goudy Old Style"/>
                </a:rPr>
                <a:t>with MF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US" sz="1200" spc="75" dirty="0">
                  <a:solidFill>
                    <a:srgbClr val="FFFFFF"/>
                  </a:solidFill>
                  <a:latin typeface="Goudy Old Style"/>
                </a:rPr>
                <a:t>(N = 309)</a:t>
              </a:r>
            </a:p>
          </p:txBody>
        </p:sp>
        <p:sp>
          <p:nvSpPr>
            <p:cNvPr id="14" name="Rectangle 22"/>
            <p:cNvSpPr>
              <a:spLocks noChangeArrowheads="1"/>
            </p:cNvSpPr>
            <p:nvPr/>
          </p:nvSpPr>
          <p:spPr bwMode="auto">
            <a:xfrm>
              <a:off x="7991308" y="2073994"/>
              <a:ext cx="1512094" cy="732625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27000" h="12700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000" tIns="81000" rIns="108000" bIns="81000" numCol="1" spcCol="1270" anchor="ctr" anchorCtr="0">
              <a:spAutoFit/>
            </a:bodyPr>
            <a:lstStyle/>
            <a:p>
              <a:pPr algn="ctr" defTabSz="40005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US" sz="1200" b="1" spc="75" dirty="0">
                  <a:solidFill>
                    <a:srgbClr val="FFFFFF"/>
                  </a:solidFill>
                  <a:latin typeface="Goudy Old Style"/>
                </a:rPr>
                <a:t>INC424 </a:t>
              </a:r>
              <a:r>
                <a:rPr lang="en-US" sz="1200" spc="75" dirty="0">
                  <a:solidFill>
                    <a:srgbClr val="FFFFFF"/>
                  </a:solidFill>
                  <a:latin typeface="Goudy Old Style"/>
                </a:rPr>
                <a:t>(oral) 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US" sz="1200" b="1" spc="75" dirty="0">
                  <a:solidFill>
                    <a:srgbClr val="FFFFFF"/>
                  </a:solidFill>
                  <a:latin typeface="Goudy Old Style"/>
                </a:rPr>
                <a:t>15 mg BID or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US" sz="1200" b="1" spc="75" dirty="0">
                  <a:solidFill>
                    <a:srgbClr val="FFFFFF"/>
                  </a:solidFill>
                  <a:latin typeface="Goudy Old Style"/>
                </a:rPr>
                <a:t>20 mg BID</a:t>
              </a:r>
            </a:p>
          </p:txBody>
        </p:sp>
        <p:sp>
          <p:nvSpPr>
            <p:cNvPr id="15" name="Rectangle 23"/>
            <p:cNvSpPr>
              <a:spLocks noChangeArrowheads="1"/>
            </p:cNvSpPr>
            <p:nvPr/>
          </p:nvSpPr>
          <p:spPr bwMode="auto">
            <a:xfrm>
              <a:off x="7991308" y="2870785"/>
              <a:ext cx="1512094" cy="548745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27000" h="12700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000" tIns="81000" rIns="108000" bIns="81000" numCol="1" spcCol="1270" anchor="ctr" anchorCtr="0">
              <a:spAutoFit/>
            </a:bodyPr>
            <a:lstStyle/>
            <a:p>
              <a:pPr algn="ctr" defTabSz="40005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US" sz="1200" b="1" spc="75" dirty="0">
                  <a:solidFill>
                    <a:srgbClr val="FFFFFF"/>
                  </a:solidFill>
                  <a:latin typeface="Goudy Old Style"/>
                </a:rPr>
                <a:t>Placebo </a:t>
              </a:r>
              <a:r>
                <a:rPr lang="en-US" sz="1200" spc="75" dirty="0">
                  <a:solidFill>
                    <a:srgbClr val="FFFFFF"/>
                  </a:solidFill>
                  <a:latin typeface="Goudy Old Style"/>
                </a:rPr>
                <a:t>(oral) 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US" sz="1200" b="1" spc="75" dirty="0">
                  <a:solidFill>
                    <a:srgbClr val="FFFFFF"/>
                  </a:solidFill>
                  <a:latin typeface="Goudy Old Style"/>
                </a:rPr>
                <a:t>BID</a:t>
              </a:r>
            </a:p>
          </p:txBody>
        </p:sp>
        <p:sp>
          <p:nvSpPr>
            <p:cNvPr id="20" name="Rectangle 24"/>
            <p:cNvSpPr>
              <a:spLocks noChangeArrowheads="1"/>
            </p:cNvSpPr>
            <p:nvPr/>
          </p:nvSpPr>
          <p:spPr bwMode="auto">
            <a:xfrm>
              <a:off x="5367338" y="4352930"/>
              <a:ext cx="1216820" cy="732625"/>
            </a:xfrm>
            <a:prstGeom prst="roundRect">
              <a:avLst/>
            </a:prstGeom>
            <a:solidFill>
              <a:srgbClr val="C0062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27000" h="12700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000" tIns="81000" rIns="108000" bIns="81000" numCol="1" spcCol="1270" anchor="ctr" anchorCtr="0">
              <a:spAutoFit/>
            </a:bodyPr>
            <a:lstStyle/>
            <a:p>
              <a:pPr algn="ctr" defTabSz="40005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US" sz="1200" b="1" spc="75" dirty="0">
                  <a:solidFill>
                    <a:srgbClr val="FFFFFF"/>
                  </a:solidFill>
                  <a:latin typeface="Goudy Old Style"/>
                </a:rPr>
                <a:t>Patients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US" sz="1200" b="1" spc="75" dirty="0">
                  <a:solidFill>
                    <a:srgbClr val="FFFFFF"/>
                  </a:solidFill>
                  <a:latin typeface="Goudy Old Style"/>
                </a:rPr>
                <a:t>with MF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US" sz="1200" spc="75" dirty="0">
                  <a:solidFill>
                    <a:srgbClr val="FFFFFF"/>
                  </a:solidFill>
                  <a:latin typeface="Goudy Old Style"/>
                </a:rPr>
                <a:t>(N = 219)</a:t>
              </a:r>
            </a:p>
          </p:txBody>
        </p:sp>
        <p:sp>
          <p:nvSpPr>
            <p:cNvPr id="21" name="Rectangle 25"/>
            <p:cNvSpPr>
              <a:spLocks noChangeArrowheads="1"/>
            </p:cNvSpPr>
            <p:nvPr/>
          </p:nvSpPr>
          <p:spPr bwMode="auto">
            <a:xfrm>
              <a:off x="7991308" y="3970660"/>
              <a:ext cx="1512094" cy="732625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27000" h="12700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000" tIns="81000" rIns="108000" bIns="81000" numCol="1" spcCol="1270" anchor="ctr" anchorCtr="0">
              <a:spAutoFit/>
            </a:bodyPr>
            <a:lstStyle/>
            <a:p>
              <a:pPr algn="ctr" defTabSz="40005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US" sz="1200" b="1" spc="75" dirty="0">
                  <a:solidFill>
                    <a:srgbClr val="FFFFFF"/>
                  </a:solidFill>
                  <a:latin typeface="Goudy Old Style"/>
                </a:rPr>
                <a:t>INC424 </a:t>
              </a:r>
              <a:r>
                <a:rPr lang="en-US" sz="1200" spc="75" dirty="0">
                  <a:solidFill>
                    <a:srgbClr val="FFFFFF"/>
                  </a:solidFill>
                  <a:latin typeface="Goudy Old Style"/>
                </a:rPr>
                <a:t>(oral) 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US" sz="1200" b="1" spc="75" dirty="0">
                  <a:solidFill>
                    <a:srgbClr val="FFFFFF"/>
                  </a:solidFill>
                  <a:latin typeface="Goudy Old Style"/>
                </a:rPr>
                <a:t>15 mg BID</a:t>
              </a:r>
            </a:p>
            <a:p>
              <a:pPr algn="ctr" defTabSz="40005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US" sz="1200" b="1" spc="75" dirty="0">
                  <a:solidFill>
                    <a:srgbClr val="FFFFFF"/>
                  </a:solidFill>
                  <a:latin typeface="Goudy Old Style"/>
                </a:rPr>
                <a:t> or 20 mg BID</a:t>
              </a:r>
            </a:p>
          </p:txBody>
        </p:sp>
        <p:sp>
          <p:nvSpPr>
            <p:cNvPr id="22" name="Rectangle 26"/>
            <p:cNvSpPr>
              <a:spLocks noChangeArrowheads="1"/>
            </p:cNvSpPr>
            <p:nvPr/>
          </p:nvSpPr>
          <p:spPr bwMode="auto">
            <a:xfrm>
              <a:off x="7991308" y="4781547"/>
              <a:ext cx="1512094" cy="548745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27000" h="12700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8000" tIns="81000" rIns="108000" bIns="81000" numCol="1" spcCol="1270" anchor="ctr" anchorCtr="0">
              <a:spAutoFit/>
            </a:bodyPr>
            <a:lstStyle/>
            <a:p>
              <a:pPr algn="ctr" defTabSz="400050">
                <a:lnSpc>
                  <a:spcPct val="90000"/>
                </a:lnSpc>
                <a:spcBef>
                  <a:spcPct val="0"/>
                </a:spcBef>
                <a:defRPr/>
              </a:pPr>
              <a:r>
                <a:rPr lang="en-US" sz="1200" b="1" spc="75" dirty="0">
                  <a:solidFill>
                    <a:srgbClr val="FFFFFF"/>
                  </a:solidFill>
                  <a:latin typeface="Goudy Old Style"/>
                </a:rPr>
                <a:t>Best available therapy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CF8859AC-FE4E-4CCD-8CC5-E84914F4CA35}"/>
                </a:ext>
              </a:extLst>
            </p:cNvPr>
            <p:cNvSpPr/>
            <p:nvPr/>
          </p:nvSpPr>
          <p:spPr>
            <a:xfrm>
              <a:off x="6681845" y="2389112"/>
              <a:ext cx="804860" cy="804860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60000"/>
                    <a:lumOff val="40000"/>
                    <a:shade val="30000"/>
                    <a:satMod val="115000"/>
                  </a:schemeClr>
                </a:gs>
                <a:gs pos="50000">
                  <a:schemeClr val="tx2">
                    <a:lumMod val="60000"/>
                    <a:lumOff val="40000"/>
                    <a:shade val="67500"/>
                    <a:satMod val="115000"/>
                  </a:schemeClr>
                </a:gs>
                <a:gs pos="100000">
                  <a:schemeClr val="tx2">
                    <a:lumMod val="60000"/>
                    <a:lumOff val="40000"/>
                    <a:shade val="100000"/>
                    <a:satMod val="11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 defTabSz="685800">
                <a:defRPr/>
              </a:pPr>
              <a:r>
                <a:rPr lang="en-US" sz="900" b="1" dirty="0" err="1">
                  <a:solidFill>
                    <a:srgbClr val="FFFFFF"/>
                  </a:solidFill>
                  <a:latin typeface="Goudy Old Style"/>
                </a:rPr>
                <a:t>Randomised</a:t>
              </a:r>
              <a:endParaRPr lang="en-US" sz="900" b="1" dirty="0">
                <a:solidFill>
                  <a:srgbClr val="FFFFFF"/>
                </a:solidFill>
                <a:latin typeface="Goudy Old Style"/>
              </a:endParaRPr>
            </a:p>
            <a:p>
              <a:pPr algn="ctr" defTabSz="685800"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Goudy Old Style"/>
                </a:rPr>
                <a:t>1:1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8FE4371B-B3C2-4658-99C3-6C1909AE8F6B}"/>
                </a:ext>
              </a:extLst>
            </p:cNvPr>
            <p:cNvSpPr/>
            <p:nvPr/>
          </p:nvSpPr>
          <p:spPr>
            <a:xfrm>
              <a:off x="6681845" y="4316811"/>
              <a:ext cx="804860" cy="804860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60000"/>
                    <a:lumOff val="40000"/>
                    <a:shade val="30000"/>
                    <a:satMod val="115000"/>
                  </a:schemeClr>
                </a:gs>
                <a:gs pos="50000">
                  <a:schemeClr val="tx2">
                    <a:lumMod val="60000"/>
                    <a:lumOff val="40000"/>
                    <a:shade val="67500"/>
                    <a:satMod val="115000"/>
                  </a:schemeClr>
                </a:gs>
                <a:gs pos="100000">
                  <a:schemeClr val="tx2">
                    <a:lumMod val="60000"/>
                    <a:lumOff val="40000"/>
                    <a:shade val="100000"/>
                    <a:satMod val="11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 defTabSz="685800">
                <a:defRPr/>
              </a:pPr>
              <a:r>
                <a:rPr lang="en-US" sz="900" b="1" dirty="0" err="1">
                  <a:solidFill>
                    <a:srgbClr val="FFFFFF"/>
                  </a:solidFill>
                  <a:latin typeface="Goudy Old Style"/>
                </a:rPr>
                <a:t>Randomised</a:t>
              </a:r>
              <a:endParaRPr lang="en-US" sz="900" b="1" dirty="0">
                <a:solidFill>
                  <a:srgbClr val="FFFFFF"/>
                </a:solidFill>
                <a:latin typeface="Goudy Old Style"/>
              </a:endParaRPr>
            </a:p>
            <a:p>
              <a:pPr algn="ctr" defTabSz="685800"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Goudy Old Style"/>
                </a:rPr>
                <a:t>2:1</a:t>
              </a:r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E5D8164B-F94A-4E3A-B28A-99B56D113280}"/>
                </a:ext>
              </a:extLst>
            </p:cNvPr>
            <p:cNvCxnSpPr>
              <a:cxnSpLocks/>
              <a:stCxn id="26" idx="6"/>
              <a:endCxn id="21" idx="1"/>
            </p:cNvCxnSpPr>
            <p:nvPr/>
          </p:nvCxnSpPr>
          <p:spPr>
            <a:xfrm flipV="1">
              <a:off x="7486706" y="4336973"/>
              <a:ext cx="504603" cy="382269"/>
            </a:xfrm>
            <a:prstGeom prst="straightConnector1">
              <a:avLst/>
            </a:prstGeom>
            <a:ln w="44450"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0800000" scaled="1"/>
                <a:tileRect/>
              </a:gra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BC65D4A5-7596-4BD6-82EE-3179920123D5}"/>
                </a:ext>
              </a:extLst>
            </p:cNvPr>
            <p:cNvCxnSpPr>
              <a:cxnSpLocks/>
              <a:stCxn id="26" idx="6"/>
              <a:endCxn id="22" idx="1"/>
            </p:cNvCxnSpPr>
            <p:nvPr/>
          </p:nvCxnSpPr>
          <p:spPr>
            <a:xfrm>
              <a:off x="7486706" y="4719241"/>
              <a:ext cx="504603" cy="336678"/>
            </a:xfrm>
            <a:prstGeom prst="straightConnector1">
              <a:avLst/>
            </a:prstGeom>
            <a:ln w="44450"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0800000" scaled="1"/>
                <a:tileRect/>
              </a:gra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55D69DCD-A579-49B9-B20A-A622DDE041E5}"/>
                </a:ext>
              </a:extLst>
            </p:cNvPr>
            <p:cNvCxnSpPr>
              <a:cxnSpLocks/>
              <a:stCxn id="25" idx="6"/>
              <a:endCxn id="14" idx="1"/>
            </p:cNvCxnSpPr>
            <p:nvPr/>
          </p:nvCxnSpPr>
          <p:spPr>
            <a:xfrm flipV="1">
              <a:off x="7486706" y="2440306"/>
              <a:ext cx="504603" cy="351236"/>
            </a:xfrm>
            <a:prstGeom prst="straightConnector1">
              <a:avLst/>
            </a:prstGeom>
            <a:ln w="44450"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0800000" scaled="1"/>
                <a:tileRect/>
              </a:gra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44834975-E971-4066-9C72-276F4B6CF75F}"/>
                </a:ext>
              </a:extLst>
            </p:cNvPr>
            <p:cNvCxnSpPr>
              <a:cxnSpLocks/>
              <a:stCxn id="25" idx="6"/>
              <a:endCxn id="15" idx="1"/>
            </p:cNvCxnSpPr>
            <p:nvPr/>
          </p:nvCxnSpPr>
          <p:spPr>
            <a:xfrm>
              <a:off x="7486706" y="2791543"/>
              <a:ext cx="504603" cy="353615"/>
            </a:xfrm>
            <a:prstGeom prst="straightConnector1">
              <a:avLst/>
            </a:prstGeom>
            <a:ln w="44450">
              <a:gradFill flip="none" rotWithShape="1">
                <a:gsLst>
                  <a:gs pos="0">
                    <a:schemeClr val="tx2">
                      <a:lumMod val="75000"/>
                    </a:schemeClr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10800000" scaled="1"/>
                <a:tileRect/>
              </a:gra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90082497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aphical user interface, chart, application&#10;&#10;Description automatically generated">
            <a:extLst>
              <a:ext uri="{FF2B5EF4-FFF2-40B4-BE49-F238E27FC236}">
                <a16:creationId xmlns:a16="http://schemas.microsoft.com/office/drawing/2014/main" id="{6FEA1B8E-23F7-8127-EBB6-36E7ACD89AD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8893" t="51015"/>
          <a:stretch/>
        </p:blipFill>
        <p:spPr>
          <a:xfrm>
            <a:off x="6096000" y="1456735"/>
            <a:ext cx="5704824" cy="3944529"/>
          </a:xfrm>
          <a:prstGeom prst="rect">
            <a:avLst/>
          </a:prstGeom>
        </p:spPr>
      </p:pic>
      <p:pic>
        <p:nvPicPr>
          <p:cNvPr id="3" name="Picture 2" descr="Graphical user interface, chart, application&#10;&#10;Description automatically generated">
            <a:extLst>
              <a:ext uri="{FF2B5EF4-FFF2-40B4-BE49-F238E27FC236}">
                <a16:creationId xmlns:a16="http://schemas.microsoft.com/office/drawing/2014/main" id="{D34FC1AF-D908-4C05-8414-92005F61C3F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8893" b="49311"/>
          <a:stretch/>
        </p:blipFill>
        <p:spPr>
          <a:xfrm>
            <a:off x="355916" y="1456736"/>
            <a:ext cx="5513094" cy="394453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8F89AAA-EBE0-8986-A0F1-F35A16D8D91E}"/>
              </a:ext>
            </a:extLst>
          </p:cNvPr>
          <p:cNvSpPr/>
          <p:nvPr/>
        </p:nvSpPr>
        <p:spPr bwMode="auto">
          <a:xfrm>
            <a:off x="515389" y="1456735"/>
            <a:ext cx="365760" cy="32218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effectLst/>
              <a:latin typeface="Times New Roman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725C4F-97A6-D8AE-8F44-60626B86261A}"/>
              </a:ext>
            </a:extLst>
          </p:cNvPr>
          <p:cNvSpPr/>
          <p:nvPr/>
        </p:nvSpPr>
        <p:spPr bwMode="auto">
          <a:xfrm>
            <a:off x="6140112" y="1617829"/>
            <a:ext cx="365760" cy="32218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effectLst/>
              <a:latin typeface="Times New Roman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19A1ABF-819A-C702-FD01-AA5696981BA3}"/>
              </a:ext>
            </a:extLst>
          </p:cNvPr>
          <p:cNvSpPr txBox="1"/>
          <p:nvPr/>
        </p:nvSpPr>
        <p:spPr>
          <a:xfrm>
            <a:off x="1512916" y="382385"/>
            <a:ext cx="97092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rgbClr val="0432FF"/>
                </a:solidFill>
              </a:rPr>
              <a:t>SIMPLIFY-1/2: Leukemia-Free Survival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D45E0F-540C-C643-8696-F06E74CE5323}"/>
              </a:ext>
            </a:extLst>
          </p:cNvPr>
          <p:cNvSpPr txBox="1"/>
          <p:nvPr/>
        </p:nvSpPr>
        <p:spPr>
          <a:xfrm>
            <a:off x="0" y="6534835"/>
            <a:ext cx="659990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/>
              <a:t>Mesa R et al. </a:t>
            </a:r>
            <a:r>
              <a:rPr lang="en-US" sz="1500" i="1" dirty="0"/>
              <a:t>Leukemia</a:t>
            </a:r>
            <a:r>
              <a:rPr lang="en-US" sz="1500" dirty="0"/>
              <a:t> 2022;36(9):2261-8. </a:t>
            </a:r>
          </a:p>
        </p:txBody>
      </p:sp>
    </p:spTree>
    <p:extLst>
      <p:ext uri="{BB962C8B-B14F-4D97-AF65-F5344CB8AC3E}">
        <p14:creationId xmlns:p14="http://schemas.microsoft.com/office/powerpoint/2010/main" val="2277340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, chart, application&#10;&#10;Description automatically generated">
            <a:extLst>
              <a:ext uri="{FF2B5EF4-FFF2-40B4-BE49-F238E27FC236}">
                <a16:creationId xmlns:a16="http://schemas.microsoft.com/office/drawing/2014/main" id="{26C593BD-AD01-A19E-F9F0-0EC5D289630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25" r="48893" b="51015"/>
          <a:stretch/>
        </p:blipFill>
        <p:spPr>
          <a:xfrm>
            <a:off x="667142" y="1444684"/>
            <a:ext cx="5303520" cy="3881624"/>
          </a:xfrm>
          <a:prstGeom prst="rect">
            <a:avLst/>
          </a:prstGeom>
        </p:spPr>
      </p:pic>
      <p:pic>
        <p:nvPicPr>
          <p:cNvPr id="5" name="Picture 4" descr="Graphical user interface, chart, application&#10;&#10;Description automatically generated">
            <a:extLst>
              <a:ext uri="{FF2B5EF4-FFF2-40B4-BE49-F238E27FC236}">
                <a16:creationId xmlns:a16="http://schemas.microsoft.com/office/drawing/2014/main" id="{247BF80F-0CEE-0A7F-9706-8A24CEE36FD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63" t="52467" r="48893"/>
          <a:stretch/>
        </p:blipFill>
        <p:spPr>
          <a:xfrm>
            <a:off x="6434050" y="1439958"/>
            <a:ext cx="5438673" cy="388162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43B2F74-5A7A-57F9-F3FB-BD46FA282A78}"/>
              </a:ext>
            </a:extLst>
          </p:cNvPr>
          <p:cNvSpPr txBox="1"/>
          <p:nvPr/>
        </p:nvSpPr>
        <p:spPr>
          <a:xfrm>
            <a:off x="1512916" y="382385"/>
            <a:ext cx="97092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rgbClr val="0432FF"/>
                </a:solidFill>
              </a:rPr>
              <a:t>SIMPLIFY-1/2: Overall Survival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AC2E85A-5C05-91B9-7051-D41357E0118F}"/>
              </a:ext>
            </a:extLst>
          </p:cNvPr>
          <p:cNvSpPr/>
          <p:nvPr/>
        </p:nvSpPr>
        <p:spPr bwMode="auto">
          <a:xfrm>
            <a:off x="667142" y="1444684"/>
            <a:ext cx="424596" cy="50049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effectLst/>
              <a:latin typeface="Times New Roman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CD1574A-C460-93C6-CD68-CAFCDE9D22CF}"/>
              </a:ext>
            </a:extLst>
          </p:cNvPr>
          <p:cNvSpPr/>
          <p:nvPr/>
        </p:nvSpPr>
        <p:spPr bwMode="auto">
          <a:xfrm>
            <a:off x="6434051" y="1536418"/>
            <a:ext cx="299258" cy="32563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effectLst/>
              <a:latin typeface="Times New Roman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5B0B12F-0107-CD4C-AD99-B1C4934066D7}"/>
              </a:ext>
            </a:extLst>
          </p:cNvPr>
          <p:cNvSpPr txBox="1"/>
          <p:nvPr/>
        </p:nvSpPr>
        <p:spPr>
          <a:xfrm>
            <a:off x="0" y="6534835"/>
            <a:ext cx="659990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/>
              <a:t>Mesa R et al. </a:t>
            </a:r>
            <a:r>
              <a:rPr lang="en-US" sz="1500" i="1" dirty="0"/>
              <a:t>Leukemia</a:t>
            </a:r>
            <a:r>
              <a:rPr lang="en-US" sz="1500" dirty="0"/>
              <a:t> 2022;36(9):2261-8. </a:t>
            </a:r>
          </a:p>
        </p:txBody>
      </p:sp>
    </p:spTree>
    <p:extLst>
      <p:ext uri="{BB962C8B-B14F-4D97-AF65-F5344CB8AC3E}">
        <p14:creationId xmlns:p14="http://schemas.microsoft.com/office/powerpoint/2010/main" val="198524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4BC7DD-0F30-5A30-7E74-CF41B41B9F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8215" y="1363153"/>
            <a:ext cx="5651569" cy="4364449"/>
          </a:xfrm>
          <a:prstGeom prst="rect">
            <a:avLst/>
          </a:prstGeom>
        </p:spPr>
      </p:pic>
      <p:pic>
        <p:nvPicPr>
          <p:cNvPr id="4" name="Picture 3" descr="Chart, waterfall chart&#10;&#10;Description automatically generated">
            <a:extLst>
              <a:ext uri="{FF2B5EF4-FFF2-40B4-BE49-F238E27FC236}">
                <a16:creationId xmlns:a16="http://schemas.microsoft.com/office/drawing/2014/main" id="{7C78B8AC-136B-748A-5DC0-C5480B9A24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216" y="1363153"/>
            <a:ext cx="5684397" cy="436444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089ECC8-5448-46A4-86A8-66DF5F0B6EF0}"/>
              </a:ext>
            </a:extLst>
          </p:cNvPr>
          <p:cNvSpPr txBox="1"/>
          <p:nvPr/>
        </p:nvSpPr>
        <p:spPr>
          <a:xfrm>
            <a:off x="1047403" y="5727602"/>
            <a:ext cx="4597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432FF"/>
                </a:solidFill>
              </a:rPr>
              <a:t>Change in spleen volume/spleen response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D3B122-5D58-1B13-2BBA-AE8C6A67B234}"/>
              </a:ext>
            </a:extLst>
          </p:cNvPr>
          <p:cNvSpPr txBox="1"/>
          <p:nvPr/>
        </p:nvSpPr>
        <p:spPr>
          <a:xfrm>
            <a:off x="6331229" y="5727602"/>
            <a:ext cx="60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432FF"/>
                </a:solidFill>
              </a:rPr>
              <a:t>Change in TSS from baseline to week 24 and TSS response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636115-9A29-01D0-900A-AAD02CCD2412}"/>
              </a:ext>
            </a:extLst>
          </p:cNvPr>
          <p:cNvSpPr txBox="1"/>
          <p:nvPr/>
        </p:nvSpPr>
        <p:spPr>
          <a:xfrm>
            <a:off x="1512916" y="382385"/>
            <a:ext cx="97092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rgbClr val="0432FF"/>
                </a:solidFill>
              </a:rPr>
              <a:t>SIMPLIFY-2: Spleen Response and Total Symptom Sco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11F192-B435-A5D2-8489-980BD880DE19}"/>
              </a:ext>
            </a:extLst>
          </p:cNvPr>
          <p:cNvSpPr txBox="1"/>
          <p:nvPr/>
        </p:nvSpPr>
        <p:spPr>
          <a:xfrm>
            <a:off x="100295" y="6467435"/>
            <a:ext cx="62179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dirty="0"/>
              <a:t>Harrison CN et al. </a:t>
            </a:r>
            <a:r>
              <a:rPr lang="en-US" sz="1500" i="1" dirty="0"/>
              <a:t>Lancet </a:t>
            </a:r>
            <a:r>
              <a:rPr lang="en-US" sz="1500" i="1" dirty="0" err="1"/>
              <a:t>Haematol</a:t>
            </a:r>
            <a:r>
              <a:rPr lang="en-US" sz="1500" dirty="0"/>
              <a:t> 2018;5(2):e73-81. </a:t>
            </a:r>
          </a:p>
        </p:txBody>
      </p:sp>
    </p:spTree>
    <p:extLst>
      <p:ext uri="{BB962C8B-B14F-4D97-AF65-F5344CB8AC3E}">
        <p14:creationId xmlns:p14="http://schemas.microsoft.com/office/powerpoint/2010/main" val="347041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A661C51-C2AF-D088-BCFC-84D6B2CEC8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7037" y="776159"/>
            <a:ext cx="6217925" cy="566385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E6E3D1C-6F3B-23E0-C032-9758D79DA1C3}"/>
              </a:ext>
            </a:extLst>
          </p:cNvPr>
          <p:cNvSpPr txBox="1"/>
          <p:nvPr/>
        </p:nvSpPr>
        <p:spPr>
          <a:xfrm>
            <a:off x="1413163" y="142727"/>
            <a:ext cx="97092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rgbClr val="0432FF"/>
                </a:solidFill>
              </a:rPr>
              <a:t>SIMPLIFY-2: Treatment-Emergent </a:t>
            </a:r>
            <a:r>
              <a:rPr lang="en-US" sz="3200" b="1">
                <a:solidFill>
                  <a:srgbClr val="0432FF"/>
                </a:solidFill>
              </a:rPr>
              <a:t>Adverse Events </a:t>
            </a:r>
            <a:endParaRPr lang="en-US" sz="3200" b="1" dirty="0">
              <a:solidFill>
                <a:srgbClr val="0432FF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A82465-78DE-B042-A6BF-BD22F6EA68C6}"/>
              </a:ext>
            </a:extLst>
          </p:cNvPr>
          <p:cNvSpPr txBox="1"/>
          <p:nvPr/>
        </p:nvSpPr>
        <p:spPr>
          <a:xfrm>
            <a:off x="100295" y="6467435"/>
            <a:ext cx="621792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dirty="0"/>
              <a:t>Harrison CN et al. </a:t>
            </a:r>
            <a:r>
              <a:rPr lang="en-US" sz="1500" i="1" dirty="0"/>
              <a:t>Lancet </a:t>
            </a:r>
            <a:r>
              <a:rPr lang="en-US" sz="1500" i="1" dirty="0" err="1"/>
              <a:t>Haematol</a:t>
            </a:r>
            <a:r>
              <a:rPr lang="en-US" sz="1500" dirty="0"/>
              <a:t> 2018;5(2):e73-81. </a:t>
            </a:r>
          </a:p>
        </p:txBody>
      </p:sp>
    </p:spTree>
    <p:extLst>
      <p:ext uri="{BB962C8B-B14F-4D97-AF65-F5344CB8AC3E}">
        <p14:creationId xmlns:p14="http://schemas.microsoft.com/office/powerpoint/2010/main" val="2716274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B137141D-F8EC-4E78-9C18-F007EDC07219}"/>
              </a:ext>
            </a:extLst>
          </p:cNvPr>
          <p:cNvGrpSpPr/>
          <p:nvPr/>
        </p:nvGrpSpPr>
        <p:grpSpPr>
          <a:xfrm>
            <a:off x="2057544" y="1340531"/>
            <a:ext cx="6613581" cy="3716494"/>
            <a:chOff x="5124450" y="1457791"/>
            <a:chExt cx="8818108" cy="4955325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E6748D2-60E1-403C-B06A-CA7BF31043AC}"/>
                </a:ext>
              </a:extLst>
            </p:cNvPr>
            <p:cNvSpPr/>
            <p:nvPr/>
          </p:nvSpPr>
          <p:spPr bwMode="auto">
            <a:xfrm>
              <a:off x="5124450" y="1457792"/>
              <a:ext cx="8818108" cy="4955324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C00625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716756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25">
                <a:solidFill>
                  <a:srgbClr val="BC4800"/>
                </a:solidFill>
                <a:latin typeface="Arial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5381B53-A92C-4784-BFAF-729C48C71439}"/>
                </a:ext>
              </a:extLst>
            </p:cNvPr>
            <p:cNvSpPr txBox="1"/>
            <p:nvPr/>
          </p:nvSpPr>
          <p:spPr>
            <a:xfrm>
              <a:off x="5124450" y="1457791"/>
              <a:ext cx="8818108" cy="369332"/>
            </a:xfrm>
            <a:prstGeom prst="rect">
              <a:avLst/>
            </a:prstGeom>
            <a:solidFill>
              <a:srgbClr val="C00625"/>
            </a:solidFill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1200" b="1" dirty="0">
                  <a:solidFill>
                    <a:srgbClr val="FFFFFF"/>
                  </a:solidFill>
                  <a:latin typeface="Arial"/>
                  <a:ea typeface="Geneva" pitchFamily="37" charset="-128"/>
                  <a:cs typeface="Arial"/>
                </a:rPr>
                <a:t>MF survival ~ last decade</a:t>
              </a:r>
            </a:p>
          </p:txBody>
        </p:sp>
      </p:grp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8D6F157-0B1C-4C53-96CB-589B35B687D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049209" y="5129934"/>
            <a:ext cx="6435329" cy="215348"/>
          </a:xfrm>
        </p:spPr>
        <p:txBody>
          <a:bodyPr>
            <a:normAutofit fontScale="77500" lnSpcReduction="20000"/>
          </a:bodyPr>
          <a:lstStyle/>
          <a:p>
            <a:r>
              <a:rPr lang="en-US" noProof="0" dirty="0"/>
              <a:t>CI, confidence interval; </a:t>
            </a:r>
            <a:r>
              <a:rPr lang="en-US" noProof="0" dirty="0" err="1"/>
              <a:t>Ev</a:t>
            </a:r>
            <a:r>
              <a:rPr lang="en-US" noProof="0" dirty="0"/>
              <a:t>, event; HR, hazard ratio; MF, myelofibrosis; OS, overall survival; RUX, </a:t>
            </a:r>
            <a:r>
              <a:rPr lang="en-US" noProof="0" dirty="0" err="1"/>
              <a:t>ruxolitinib</a:t>
            </a:r>
            <a:r>
              <a:rPr lang="en-US" dirty="0"/>
              <a:t>.</a:t>
            </a:r>
            <a:endParaRPr lang="en-US" noProof="0" dirty="0"/>
          </a:p>
          <a:p>
            <a:r>
              <a:rPr lang="en-US" noProof="0" dirty="0" err="1"/>
              <a:t>Masarova</a:t>
            </a:r>
            <a:r>
              <a:rPr lang="en-US" dirty="0"/>
              <a:t> L </a:t>
            </a:r>
            <a:r>
              <a:rPr lang="en-US" noProof="0" dirty="0"/>
              <a:t>et. al. </a:t>
            </a:r>
            <a:r>
              <a:rPr lang="en-US" i="1" noProof="0" dirty="0"/>
              <a:t>ASH</a:t>
            </a:r>
            <a:r>
              <a:rPr lang="en-US" noProof="0" dirty="0"/>
              <a:t> </a:t>
            </a:r>
            <a:r>
              <a:rPr lang="en-US" i="1" noProof="0" dirty="0"/>
              <a:t>Annual Meeting and Exposition</a:t>
            </a:r>
            <a:r>
              <a:rPr lang="en-US" noProof="0" dirty="0"/>
              <a:t>. Abstract 2995. December 5–8 2020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2D6885-27C3-44AB-A510-79DEDF7C8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414" y="320424"/>
            <a:ext cx="7434315" cy="257058"/>
          </a:xfrm>
        </p:spPr>
        <p:txBody>
          <a:bodyPr/>
          <a:lstStyle/>
          <a:p>
            <a:r>
              <a:rPr lang="en-US" dirty="0"/>
              <a:t>Results: OS ~ </a:t>
            </a:r>
            <a:r>
              <a:rPr lang="en-US" dirty="0" err="1"/>
              <a:t>ruxolitinib</a:t>
            </a:r>
            <a:endParaRPr lang="en-US" dirty="0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B2A85A94-9D03-4957-A3F6-4C02094956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4252512"/>
              </p:ext>
            </p:extLst>
          </p:nvPr>
        </p:nvGraphicFramePr>
        <p:xfrm>
          <a:off x="6084475" y="1692903"/>
          <a:ext cx="2400062" cy="2033270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9348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76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76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98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04550"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Med OS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4550"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≤ 2010, RUX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C00625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 defTabSz="914400" rtl="0" eaLnBrk="1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7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38100" marR="38100" algn="ctr" defTabSz="914400" rtl="0" eaLnBrk="1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6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8 </a:t>
                      </a:r>
                      <a:r>
                        <a:rPr lang="en-US" sz="8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78–118)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855049787"/>
                  </a:ext>
                </a:extLst>
              </a:tr>
              <a:tr h="204550"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010, RUX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 defTabSz="914400" rtl="0" eaLnBrk="1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1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38100" marR="38100" algn="ctr" defTabSz="914400" rtl="0" eaLnBrk="1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1 </a:t>
                      </a:r>
                      <a:r>
                        <a:rPr lang="en-US" sz="8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73–109)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479797413"/>
                  </a:ext>
                </a:extLst>
              </a:tr>
              <a:tr h="204550"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 2010, NO RUX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 defTabSz="914400" rtl="0" eaLnBrk="1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65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38100" marR="38100" algn="ctr" defTabSz="914400" rtl="0" eaLnBrk="1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1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7 </a:t>
                      </a:r>
                      <a:r>
                        <a:rPr lang="en-US" sz="8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47–67)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976512181"/>
                  </a:ext>
                </a:extLst>
              </a:tr>
              <a:tr h="204550">
                <a:tc>
                  <a:txBody>
                    <a:bodyPr/>
                    <a:lstStyle/>
                    <a:p>
                      <a:pPr marL="38100" marR="3810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≤ 2010, NO RUX</a:t>
                      </a:r>
                      <a:endParaRPr lang="en-US" sz="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 defTabSz="914400" rtl="0" eaLnBrk="1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3</a:t>
                      </a:r>
                    </a:p>
                  </a:txBody>
                  <a:tcPr marL="68580" marR="68580" marT="34290" marB="34290"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 defTabSz="914400" rtl="0" eaLnBrk="1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3</a:t>
                      </a:r>
                    </a:p>
                  </a:txBody>
                  <a:tcPr marL="68580" marR="68580" marT="34290" marB="34290"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4 </a:t>
                      </a:r>
                      <a:r>
                        <a:rPr lang="en-US" sz="8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27–41)</a:t>
                      </a:r>
                    </a:p>
                  </a:txBody>
                  <a:tcPr marL="68580" marR="68580" marT="34290" marB="34290"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4204091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F56BB84C-9FA2-4341-90E0-338D122F4959}"/>
              </a:ext>
            </a:extLst>
          </p:cNvPr>
          <p:cNvSpPr txBox="1"/>
          <p:nvPr/>
        </p:nvSpPr>
        <p:spPr>
          <a:xfrm>
            <a:off x="4732239" y="2748257"/>
            <a:ext cx="761747" cy="369332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solidFill>
                  <a:srgbClr val="D65F00"/>
                </a:solidFill>
                <a:latin typeface="Arial" charset="0"/>
                <a:ea typeface="Geneva" charset="0"/>
              </a:rPr>
              <a:t>Yes RUX </a:t>
            </a:r>
          </a:p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solidFill>
                  <a:srgbClr val="D65F00"/>
                </a:solidFill>
                <a:latin typeface="Arial" charset="0"/>
                <a:ea typeface="Geneva" charset="0"/>
              </a:rPr>
              <a:t>2010–2020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830E0A1-77EC-4975-84FB-AC335466AA10}"/>
              </a:ext>
            </a:extLst>
          </p:cNvPr>
          <p:cNvSpPr txBox="1"/>
          <p:nvPr/>
        </p:nvSpPr>
        <p:spPr>
          <a:xfrm>
            <a:off x="6803571" y="3400727"/>
            <a:ext cx="697627" cy="369332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solidFill>
                  <a:srgbClr val="A70520"/>
                </a:solidFill>
                <a:latin typeface="Arial" charset="0"/>
                <a:ea typeface="Geneva" charset="0"/>
              </a:rPr>
              <a:t>Yes RUX </a:t>
            </a:r>
          </a:p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solidFill>
                  <a:srgbClr val="A70520"/>
                </a:solidFill>
                <a:latin typeface="Arial" charset="0"/>
                <a:ea typeface="Geneva" charset="0"/>
              </a:rPr>
              <a:t> ≤201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16DFBF4-2DBE-4711-A4C6-950D42E4E230}"/>
              </a:ext>
            </a:extLst>
          </p:cNvPr>
          <p:cNvSpPr txBox="1"/>
          <p:nvPr/>
        </p:nvSpPr>
        <p:spPr>
          <a:xfrm>
            <a:off x="4826291" y="3565297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solidFill>
                  <a:srgbClr val="4E7F71">
                    <a:lumMod val="60000"/>
                    <a:lumOff val="40000"/>
                  </a:srgbClr>
                </a:solidFill>
                <a:latin typeface="Arial" charset="0"/>
                <a:ea typeface="Geneva" charset="0"/>
              </a:rPr>
              <a:t>No RUX </a:t>
            </a:r>
          </a:p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solidFill>
                  <a:srgbClr val="4E7F71">
                    <a:lumMod val="60000"/>
                    <a:lumOff val="40000"/>
                  </a:srgbClr>
                </a:solidFill>
                <a:latin typeface="Arial" charset="0"/>
                <a:ea typeface="Geneva" charset="0"/>
              </a:rPr>
              <a:t>2010–202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5E08ADE-FEC8-4437-BA8F-6EBB07478A0B}"/>
              </a:ext>
            </a:extLst>
          </p:cNvPr>
          <p:cNvSpPr txBox="1"/>
          <p:nvPr/>
        </p:nvSpPr>
        <p:spPr>
          <a:xfrm>
            <a:off x="7116866" y="4080755"/>
            <a:ext cx="646331" cy="3693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solidFill>
                  <a:srgbClr val="007298">
                    <a:lumMod val="75000"/>
                  </a:srgbClr>
                </a:solidFill>
                <a:latin typeface="Arial" charset="0"/>
                <a:ea typeface="Geneva" charset="0"/>
              </a:rPr>
              <a:t>No RUX </a:t>
            </a:r>
          </a:p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solidFill>
                  <a:srgbClr val="007298">
                    <a:lumMod val="75000"/>
                  </a:srgbClr>
                </a:solidFill>
                <a:latin typeface="Arial" charset="0"/>
                <a:ea typeface="Geneva" charset="0"/>
              </a:rPr>
              <a:t> ≤2010</a:t>
            </a:r>
          </a:p>
        </p:txBody>
      </p:sp>
      <p:graphicFrame>
        <p:nvGraphicFramePr>
          <p:cNvPr id="11" name="Table 3">
            <a:extLst>
              <a:ext uri="{FF2B5EF4-FFF2-40B4-BE49-F238E27FC236}">
                <a16:creationId xmlns:a16="http://schemas.microsoft.com/office/drawing/2014/main" id="{C023FE2E-0646-4BA3-AE2A-D543D3EDD4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5018634"/>
              </p:ext>
            </p:extLst>
          </p:nvPr>
        </p:nvGraphicFramePr>
        <p:xfrm>
          <a:off x="7824464" y="3120390"/>
          <a:ext cx="2716458" cy="61722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7E9639D4-E3E2-4D34-9284-5A2195B3D0D7}</a:tableStyleId>
              </a:tblPr>
              <a:tblGrid>
                <a:gridCol w="2716458">
                  <a:extLst>
                    <a:ext uri="{9D8B030D-6E8A-4147-A177-3AD203B41FA5}">
                      <a16:colId xmlns:a16="http://schemas.microsoft.com/office/drawing/2014/main" val="1825546288"/>
                    </a:ext>
                  </a:extLst>
                </a:gridCol>
              </a:tblGrid>
              <a:tr h="205740"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 without and with RUX ~ years 2010</a:t>
                      </a:r>
                      <a:endParaRPr lang="en-US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6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0820662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≤Year 2010, </a:t>
                      </a:r>
                      <a:r>
                        <a:rPr lang="en-US" sz="900" b="1" i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en-US" sz="9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0.001, HR 0.46, 95% CI 0.35–0.59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287892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r>
                        <a:rPr lang="en-US" sz="9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Year 2010, </a:t>
                      </a:r>
                      <a:r>
                        <a:rPr lang="en-US" sz="900" b="1" i="1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en-US" sz="9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=0.001, HR 0.66, 95% CI 0.51–0.85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0179930"/>
                  </a:ext>
                </a:extLst>
              </a:tr>
            </a:tbl>
          </a:graphicData>
        </a:graphic>
      </p:graphicFrame>
      <p:sp>
        <p:nvSpPr>
          <p:cNvPr id="9" name="Freeform: Shape 8">
            <a:extLst>
              <a:ext uri="{FF2B5EF4-FFF2-40B4-BE49-F238E27FC236}">
                <a16:creationId xmlns:a16="http://schemas.microsoft.com/office/drawing/2014/main" id="{68B9503B-B26E-4C8F-8671-AEEA0448CFC4}"/>
              </a:ext>
            </a:extLst>
          </p:cNvPr>
          <p:cNvSpPr/>
          <p:nvPr/>
        </p:nvSpPr>
        <p:spPr bwMode="auto">
          <a:xfrm>
            <a:off x="2808103" y="1872952"/>
            <a:ext cx="5583306" cy="2646294"/>
          </a:xfrm>
          <a:custGeom>
            <a:avLst/>
            <a:gdLst>
              <a:gd name="connsiteX0" fmla="*/ 0 w 7444408"/>
              <a:gd name="connsiteY0" fmla="*/ 0 h 3528392"/>
              <a:gd name="connsiteX1" fmla="*/ 0 w 7444408"/>
              <a:gd name="connsiteY1" fmla="*/ 3528392 h 3528392"/>
              <a:gd name="connsiteX2" fmla="*/ 7444408 w 7444408"/>
              <a:gd name="connsiteY2" fmla="*/ 3528392 h 3528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44408" h="3528392">
                <a:moveTo>
                  <a:pt x="0" y="0"/>
                </a:moveTo>
                <a:lnTo>
                  <a:pt x="0" y="3528392"/>
                </a:lnTo>
                <a:lnTo>
                  <a:pt x="7444408" y="3528392"/>
                </a:lnTo>
              </a:path>
            </a:pathLst>
          </a:custGeom>
          <a:noFill/>
          <a:ln w="12700" cap="flat" cmpd="sng" algn="ctr">
            <a:solidFill>
              <a:srgbClr val="1F1A4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71675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425">
              <a:solidFill>
                <a:srgbClr val="BC4800"/>
              </a:solidFill>
              <a:latin typeface="Arial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C217307-4160-40E8-9E8E-03BDC9C01945}"/>
              </a:ext>
            </a:extLst>
          </p:cNvPr>
          <p:cNvGrpSpPr/>
          <p:nvPr/>
        </p:nvGrpSpPr>
        <p:grpSpPr>
          <a:xfrm>
            <a:off x="2427090" y="1765741"/>
            <a:ext cx="384148" cy="230832"/>
            <a:chOff x="1124530" y="3033121"/>
            <a:chExt cx="512197" cy="307776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2556670-DD7D-4892-BD12-B00D812A5B34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564727" y="3189046"/>
              <a:ext cx="72000" cy="0"/>
            </a:xfrm>
            <a:prstGeom prst="line">
              <a:avLst/>
            </a:prstGeom>
            <a:noFill/>
            <a:ln w="12700" cap="flat" cmpd="sng" algn="ctr">
              <a:solidFill>
                <a:srgbClr val="1F1A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6" name="Text Box 15">
              <a:extLst>
                <a:ext uri="{FF2B5EF4-FFF2-40B4-BE49-F238E27FC236}">
                  <a16:creationId xmlns:a16="http://schemas.microsoft.com/office/drawing/2014/main" id="{204254DB-CB92-4854-B18D-EF3AB149D85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24530" y="3033121"/>
              <a:ext cx="457904" cy="307776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defTabSz="514350">
                <a:defRPr/>
              </a:pPr>
              <a:r>
                <a:rPr lang="en-US" altLang="en-US" sz="900" b="0" spc="-4" dirty="0">
                  <a:solidFill>
                    <a:srgbClr val="1F1A45"/>
                  </a:solidFill>
                </a:rPr>
                <a:t>1.0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4694E7F-26F2-481B-8E92-773EE070C9DE}"/>
              </a:ext>
            </a:extLst>
          </p:cNvPr>
          <p:cNvGrpSpPr/>
          <p:nvPr/>
        </p:nvGrpSpPr>
        <p:grpSpPr>
          <a:xfrm>
            <a:off x="2963480" y="4511038"/>
            <a:ext cx="248274" cy="279959"/>
            <a:chOff x="8445950" y="5521120"/>
            <a:chExt cx="331032" cy="373279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66C860C-6B22-4742-BFC7-13138D4C608B}"/>
                </a:ext>
              </a:extLst>
            </p:cNvPr>
            <p:cNvCxnSpPr>
              <a:cxnSpLocks/>
            </p:cNvCxnSpPr>
            <p:nvPr/>
          </p:nvCxnSpPr>
          <p:spPr bwMode="auto">
            <a:xfrm rot="16200000" flipH="1">
              <a:off x="8574646" y="5557120"/>
              <a:ext cx="7200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9" name="Text Box 15">
              <a:extLst>
                <a:ext uri="{FF2B5EF4-FFF2-40B4-BE49-F238E27FC236}">
                  <a16:creationId xmlns:a16="http://schemas.microsoft.com/office/drawing/2014/main" id="{7BB6CE21-E6AC-4A39-B1BF-6D1C2980AD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445950" y="5586623"/>
              <a:ext cx="331032" cy="307776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t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514350">
                <a:defRPr/>
              </a:pPr>
              <a:r>
                <a:rPr lang="en-US" altLang="en-US" sz="900" b="0" spc="-4" dirty="0">
                  <a:solidFill>
                    <a:srgbClr val="1F1A45"/>
                  </a:solidFill>
                </a:rPr>
                <a:t>0</a:t>
              </a: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3805F3AD-611A-4518-A1AE-416A71E5E659}"/>
              </a:ext>
            </a:extLst>
          </p:cNvPr>
          <p:cNvSpPr txBox="1"/>
          <p:nvPr/>
        </p:nvSpPr>
        <p:spPr>
          <a:xfrm>
            <a:off x="5163770" y="4781689"/>
            <a:ext cx="877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GB" sz="900" b="1" dirty="0">
                <a:solidFill>
                  <a:srgbClr val="BC4800"/>
                </a:solidFill>
                <a:latin typeface="Goudy Old Style"/>
              </a:rPr>
              <a:t>Time </a:t>
            </a:r>
            <a:r>
              <a:rPr lang="en-GB" sz="900" dirty="0">
                <a:solidFill>
                  <a:srgbClr val="BC4800"/>
                </a:solidFill>
                <a:latin typeface="Goudy Old Style"/>
              </a:rPr>
              <a:t>(months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4FC1B06-F11A-4EB5-B366-2EFC71516AB9}"/>
              </a:ext>
            </a:extLst>
          </p:cNvPr>
          <p:cNvSpPr txBox="1"/>
          <p:nvPr/>
        </p:nvSpPr>
        <p:spPr>
          <a:xfrm rot="16200000">
            <a:off x="1781787" y="3146810"/>
            <a:ext cx="112082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GB" sz="900" b="1" dirty="0">
                <a:solidFill>
                  <a:srgbClr val="BC4800"/>
                </a:solidFill>
                <a:latin typeface="Goudy Old Style"/>
              </a:rPr>
              <a:t>Cumulative survival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B179DB6-1B98-4B21-A80E-D887686514D8}"/>
              </a:ext>
            </a:extLst>
          </p:cNvPr>
          <p:cNvGrpSpPr/>
          <p:nvPr/>
        </p:nvGrpSpPr>
        <p:grpSpPr>
          <a:xfrm>
            <a:off x="2427090" y="2260723"/>
            <a:ext cx="384148" cy="230832"/>
            <a:chOff x="1124530" y="3033121"/>
            <a:chExt cx="512197" cy="307776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C2BABA84-682D-4270-A675-5E492B7E699D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564727" y="3189046"/>
              <a:ext cx="72000" cy="0"/>
            </a:xfrm>
            <a:prstGeom prst="line">
              <a:avLst/>
            </a:prstGeom>
            <a:noFill/>
            <a:ln w="12700" cap="flat" cmpd="sng" algn="ctr">
              <a:solidFill>
                <a:srgbClr val="1F1A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4" name="Text Box 15">
              <a:extLst>
                <a:ext uri="{FF2B5EF4-FFF2-40B4-BE49-F238E27FC236}">
                  <a16:creationId xmlns:a16="http://schemas.microsoft.com/office/drawing/2014/main" id="{436560CB-1FC3-44FF-9802-ACFD797097A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24530" y="3033121"/>
              <a:ext cx="457904" cy="307776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defTabSz="514350">
                <a:defRPr/>
              </a:pPr>
              <a:r>
                <a:rPr lang="en-US" altLang="en-US" sz="900" b="0" spc="-4" dirty="0">
                  <a:solidFill>
                    <a:srgbClr val="1F1A45"/>
                  </a:solidFill>
                </a:rPr>
                <a:t>0.8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84BE7B4-2B99-4806-95D6-0010F8761EFD}"/>
              </a:ext>
            </a:extLst>
          </p:cNvPr>
          <p:cNvGrpSpPr/>
          <p:nvPr/>
        </p:nvGrpSpPr>
        <p:grpSpPr>
          <a:xfrm>
            <a:off x="2427090" y="2755704"/>
            <a:ext cx="384148" cy="230832"/>
            <a:chOff x="1124530" y="3033121"/>
            <a:chExt cx="512197" cy="307776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5C4FE16-A118-4349-8CA1-2973AFFBE15C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564727" y="3189046"/>
              <a:ext cx="72000" cy="0"/>
            </a:xfrm>
            <a:prstGeom prst="line">
              <a:avLst/>
            </a:prstGeom>
            <a:noFill/>
            <a:ln w="12700" cap="flat" cmpd="sng" algn="ctr">
              <a:solidFill>
                <a:srgbClr val="1F1A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7" name="Text Box 15">
              <a:extLst>
                <a:ext uri="{FF2B5EF4-FFF2-40B4-BE49-F238E27FC236}">
                  <a16:creationId xmlns:a16="http://schemas.microsoft.com/office/drawing/2014/main" id="{4D9F759F-F0EB-4DF5-B59F-872A0758B3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24530" y="3033121"/>
              <a:ext cx="457904" cy="307776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defTabSz="514350">
                <a:defRPr/>
              </a:pPr>
              <a:r>
                <a:rPr lang="en-US" altLang="en-US" sz="900" b="0" spc="-4" dirty="0">
                  <a:solidFill>
                    <a:srgbClr val="1F1A45"/>
                  </a:solidFill>
                </a:rPr>
                <a:t>0.6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5C56038-7CD7-47BD-8AF1-5843C3552DBC}"/>
              </a:ext>
            </a:extLst>
          </p:cNvPr>
          <p:cNvGrpSpPr/>
          <p:nvPr/>
        </p:nvGrpSpPr>
        <p:grpSpPr>
          <a:xfrm>
            <a:off x="2427090" y="3250685"/>
            <a:ext cx="384148" cy="230832"/>
            <a:chOff x="1124530" y="3033121"/>
            <a:chExt cx="512197" cy="307776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E754CB7F-FF9B-4AC6-8B64-0F927D650739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564727" y="3189046"/>
              <a:ext cx="72000" cy="0"/>
            </a:xfrm>
            <a:prstGeom prst="line">
              <a:avLst/>
            </a:prstGeom>
            <a:noFill/>
            <a:ln w="12700" cap="flat" cmpd="sng" algn="ctr">
              <a:solidFill>
                <a:srgbClr val="1F1A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0" name="Text Box 15">
              <a:extLst>
                <a:ext uri="{FF2B5EF4-FFF2-40B4-BE49-F238E27FC236}">
                  <a16:creationId xmlns:a16="http://schemas.microsoft.com/office/drawing/2014/main" id="{F4AA3E7B-7384-46FE-AD8E-4D761AC641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24530" y="3033121"/>
              <a:ext cx="457904" cy="307776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defTabSz="514350">
                <a:defRPr/>
              </a:pPr>
              <a:r>
                <a:rPr lang="en-US" altLang="en-US" sz="900" b="0" spc="-4" dirty="0">
                  <a:solidFill>
                    <a:srgbClr val="1F1A45"/>
                  </a:solidFill>
                </a:rPr>
                <a:t>0.4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5391F2D-3250-4914-B89F-444E6E08E165}"/>
              </a:ext>
            </a:extLst>
          </p:cNvPr>
          <p:cNvGrpSpPr/>
          <p:nvPr/>
        </p:nvGrpSpPr>
        <p:grpSpPr>
          <a:xfrm>
            <a:off x="2427090" y="3745666"/>
            <a:ext cx="384148" cy="230832"/>
            <a:chOff x="1124530" y="3033121"/>
            <a:chExt cx="512197" cy="307776"/>
          </a:xfrm>
        </p:grpSpPr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AB445E7E-DA62-4B25-BCF1-39CACA42BA0A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564727" y="3189046"/>
              <a:ext cx="72000" cy="0"/>
            </a:xfrm>
            <a:prstGeom prst="line">
              <a:avLst/>
            </a:prstGeom>
            <a:noFill/>
            <a:ln w="12700" cap="flat" cmpd="sng" algn="ctr">
              <a:solidFill>
                <a:srgbClr val="1F1A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7" name="Text Box 15">
              <a:extLst>
                <a:ext uri="{FF2B5EF4-FFF2-40B4-BE49-F238E27FC236}">
                  <a16:creationId xmlns:a16="http://schemas.microsoft.com/office/drawing/2014/main" id="{3AE06B1E-3D8C-4960-945F-4AD78E4B4EF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24530" y="3033121"/>
              <a:ext cx="457904" cy="307776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defTabSz="514350">
                <a:defRPr/>
              </a:pPr>
              <a:r>
                <a:rPr lang="en-US" altLang="en-US" sz="900" b="0" spc="-4" dirty="0">
                  <a:solidFill>
                    <a:srgbClr val="1F1A45"/>
                  </a:solidFill>
                </a:rPr>
                <a:t>0.2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35A9857-0651-48E9-9A87-4C2F54D0EC58}"/>
              </a:ext>
            </a:extLst>
          </p:cNvPr>
          <p:cNvGrpSpPr/>
          <p:nvPr/>
        </p:nvGrpSpPr>
        <p:grpSpPr>
          <a:xfrm>
            <a:off x="2427090" y="4240646"/>
            <a:ext cx="384148" cy="230832"/>
            <a:chOff x="1124530" y="3033121"/>
            <a:chExt cx="512197" cy="307776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D7DB2256-4C8D-4A1B-9517-667647B18C00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564727" y="3189046"/>
              <a:ext cx="72000" cy="0"/>
            </a:xfrm>
            <a:prstGeom prst="line">
              <a:avLst/>
            </a:prstGeom>
            <a:noFill/>
            <a:ln w="12700" cap="flat" cmpd="sng" algn="ctr">
              <a:solidFill>
                <a:srgbClr val="1F1A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0" name="Text Box 15">
              <a:extLst>
                <a:ext uri="{FF2B5EF4-FFF2-40B4-BE49-F238E27FC236}">
                  <a16:creationId xmlns:a16="http://schemas.microsoft.com/office/drawing/2014/main" id="{E37EBD92-3AA3-4365-B98F-58364A8606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24530" y="3033121"/>
              <a:ext cx="457904" cy="307776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defTabSz="514350">
                <a:defRPr/>
              </a:pPr>
              <a:r>
                <a:rPr lang="en-US" altLang="en-US" sz="900" b="0" spc="-4" dirty="0">
                  <a:solidFill>
                    <a:srgbClr val="1F1A45"/>
                  </a:solidFill>
                </a:rPr>
                <a:t>0.0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07DA9D5-271F-425B-A0AD-DD3548288C4A}"/>
              </a:ext>
            </a:extLst>
          </p:cNvPr>
          <p:cNvGrpSpPr/>
          <p:nvPr/>
        </p:nvGrpSpPr>
        <p:grpSpPr>
          <a:xfrm>
            <a:off x="3773777" y="4511038"/>
            <a:ext cx="311880" cy="279959"/>
            <a:chOff x="8403546" y="5521120"/>
            <a:chExt cx="415840" cy="373279"/>
          </a:xfrm>
        </p:grpSpPr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17D69369-C983-46EB-A4E0-AA6463B77560}"/>
                </a:ext>
              </a:extLst>
            </p:cNvPr>
            <p:cNvCxnSpPr>
              <a:cxnSpLocks/>
            </p:cNvCxnSpPr>
            <p:nvPr/>
          </p:nvCxnSpPr>
          <p:spPr bwMode="auto">
            <a:xfrm rot="16200000" flipH="1">
              <a:off x="8574646" y="5557120"/>
              <a:ext cx="7200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3" name="Text Box 15">
              <a:extLst>
                <a:ext uri="{FF2B5EF4-FFF2-40B4-BE49-F238E27FC236}">
                  <a16:creationId xmlns:a16="http://schemas.microsoft.com/office/drawing/2014/main" id="{37752BE0-9250-4D84-93BF-23AB6E00FD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403546" y="5586623"/>
              <a:ext cx="415840" cy="307776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t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514350">
                <a:defRPr/>
              </a:pPr>
              <a:r>
                <a:rPr lang="en-US" altLang="en-US" sz="900" b="0" spc="-4" dirty="0">
                  <a:solidFill>
                    <a:srgbClr val="1F1A45"/>
                  </a:solidFill>
                </a:rPr>
                <a:t>50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56B82FC-3F64-443A-86EC-432E05E51A24}"/>
              </a:ext>
            </a:extLst>
          </p:cNvPr>
          <p:cNvGrpSpPr/>
          <p:nvPr/>
        </p:nvGrpSpPr>
        <p:grpSpPr>
          <a:xfrm>
            <a:off x="4584068" y="4511038"/>
            <a:ext cx="375488" cy="279959"/>
            <a:chOff x="8361141" y="5521120"/>
            <a:chExt cx="500651" cy="373279"/>
          </a:xfrm>
        </p:grpSpPr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400761BC-5BCA-454A-B47D-288A1EA93426}"/>
                </a:ext>
              </a:extLst>
            </p:cNvPr>
            <p:cNvCxnSpPr>
              <a:cxnSpLocks/>
            </p:cNvCxnSpPr>
            <p:nvPr/>
          </p:nvCxnSpPr>
          <p:spPr bwMode="auto">
            <a:xfrm rot="16200000" flipH="1">
              <a:off x="8574646" y="5557120"/>
              <a:ext cx="7200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6" name="Text Box 15">
              <a:extLst>
                <a:ext uri="{FF2B5EF4-FFF2-40B4-BE49-F238E27FC236}">
                  <a16:creationId xmlns:a16="http://schemas.microsoft.com/office/drawing/2014/main" id="{99E8C830-121F-4AE8-A814-6B8BD51FA4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61141" y="5586623"/>
              <a:ext cx="500651" cy="307776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t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514350">
                <a:defRPr/>
              </a:pPr>
              <a:r>
                <a:rPr lang="en-US" altLang="en-US" sz="900" b="0" spc="-4" dirty="0">
                  <a:solidFill>
                    <a:srgbClr val="1F1A45"/>
                  </a:solidFill>
                </a:rPr>
                <a:t>100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6E69076-9E8E-4FCC-AB13-4F492F6AE80A}"/>
              </a:ext>
            </a:extLst>
          </p:cNvPr>
          <p:cNvGrpSpPr/>
          <p:nvPr/>
        </p:nvGrpSpPr>
        <p:grpSpPr>
          <a:xfrm>
            <a:off x="5426159" y="4511038"/>
            <a:ext cx="375488" cy="279959"/>
            <a:chOff x="8361141" y="5521120"/>
            <a:chExt cx="500651" cy="373279"/>
          </a:xfrm>
        </p:grpSpPr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DB1B5D5D-B070-4665-80A1-54D47A914CE4}"/>
                </a:ext>
              </a:extLst>
            </p:cNvPr>
            <p:cNvCxnSpPr>
              <a:cxnSpLocks/>
            </p:cNvCxnSpPr>
            <p:nvPr/>
          </p:nvCxnSpPr>
          <p:spPr bwMode="auto">
            <a:xfrm rot="16200000" flipH="1">
              <a:off x="8574646" y="5557120"/>
              <a:ext cx="7200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9" name="Text Box 15">
              <a:extLst>
                <a:ext uri="{FF2B5EF4-FFF2-40B4-BE49-F238E27FC236}">
                  <a16:creationId xmlns:a16="http://schemas.microsoft.com/office/drawing/2014/main" id="{CC1B78E1-CBF3-4B53-9CDA-AC32F9C8EF0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61141" y="5586623"/>
              <a:ext cx="500651" cy="307776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t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514350">
                <a:defRPr/>
              </a:pPr>
              <a:r>
                <a:rPr lang="en-US" altLang="en-US" sz="900" b="0" spc="-4" dirty="0">
                  <a:solidFill>
                    <a:srgbClr val="1F1A45"/>
                  </a:solidFill>
                </a:rPr>
                <a:t>150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2C24BC1B-3C37-493E-A758-93A8009BFB33}"/>
              </a:ext>
            </a:extLst>
          </p:cNvPr>
          <p:cNvGrpSpPr/>
          <p:nvPr/>
        </p:nvGrpSpPr>
        <p:grpSpPr>
          <a:xfrm>
            <a:off x="6268251" y="4511038"/>
            <a:ext cx="375488" cy="279959"/>
            <a:chOff x="8361141" y="5521120"/>
            <a:chExt cx="500651" cy="373279"/>
          </a:xfrm>
        </p:grpSpPr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0F20EF9A-9286-40DD-A1BC-E273DB2716DF}"/>
                </a:ext>
              </a:extLst>
            </p:cNvPr>
            <p:cNvCxnSpPr>
              <a:cxnSpLocks/>
            </p:cNvCxnSpPr>
            <p:nvPr/>
          </p:nvCxnSpPr>
          <p:spPr bwMode="auto">
            <a:xfrm rot="16200000" flipH="1">
              <a:off x="8574646" y="5557120"/>
              <a:ext cx="7200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2" name="Text Box 15">
              <a:extLst>
                <a:ext uri="{FF2B5EF4-FFF2-40B4-BE49-F238E27FC236}">
                  <a16:creationId xmlns:a16="http://schemas.microsoft.com/office/drawing/2014/main" id="{DFEBCBE6-62B9-46B5-92DE-FFBD63FC105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61141" y="5586623"/>
              <a:ext cx="500651" cy="307776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t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514350">
                <a:defRPr/>
              </a:pPr>
              <a:r>
                <a:rPr lang="en-US" altLang="en-US" sz="900" b="0" spc="-4" dirty="0">
                  <a:solidFill>
                    <a:srgbClr val="1F1A45"/>
                  </a:solidFill>
                </a:rPr>
                <a:t>200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C66E35FB-324E-4446-8AA8-7FDC893936F3}"/>
              </a:ext>
            </a:extLst>
          </p:cNvPr>
          <p:cNvGrpSpPr/>
          <p:nvPr/>
        </p:nvGrpSpPr>
        <p:grpSpPr>
          <a:xfrm>
            <a:off x="7110343" y="4511038"/>
            <a:ext cx="375488" cy="279959"/>
            <a:chOff x="8361141" y="5521120"/>
            <a:chExt cx="500651" cy="373279"/>
          </a:xfrm>
        </p:grpSpPr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E5C2D789-4A17-4E4A-93CD-EDBAEB2D1896}"/>
                </a:ext>
              </a:extLst>
            </p:cNvPr>
            <p:cNvCxnSpPr>
              <a:cxnSpLocks/>
            </p:cNvCxnSpPr>
            <p:nvPr/>
          </p:nvCxnSpPr>
          <p:spPr bwMode="auto">
            <a:xfrm rot="16200000" flipH="1">
              <a:off x="8574646" y="5557120"/>
              <a:ext cx="7200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5" name="Text Box 15">
              <a:extLst>
                <a:ext uri="{FF2B5EF4-FFF2-40B4-BE49-F238E27FC236}">
                  <a16:creationId xmlns:a16="http://schemas.microsoft.com/office/drawing/2014/main" id="{4E345E0E-D8F7-42ED-AF9F-8A99DD8C98E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61141" y="5586623"/>
              <a:ext cx="500651" cy="307776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t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514350">
                <a:defRPr/>
              </a:pPr>
              <a:r>
                <a:rPr lang="en-US" altLang="en-US" sz="900" b="0" spc="-4" dirty="0">
                  <a:solidFill>
                    <a:srgbClr val="1F1A45"/>
                  </a:solidFill>
                </a:rPr>
                <a:t>250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3230FF6-2B79-4DB3-81F2-C2A0AFA4CF18}"/>
              </a:ext>
            </a:extLst>
          </p:cNvPr>
          <p:cNvGrpSpPr/>
          <p:nvPr/>
        </p:nvGrpSpPr>
        <p:grpSpPr>
          <a:xfrm>
            <a:off x="7952436" y="4511038"/>
            <a:ext cx="375488" cy="279959"/>
            <a:chOff x="8361141" y="5521120"/>
            <a:chExt cx="500651" cy="373279"/>
          </a:xfrm>
        </p:grpSpPr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CECBB4F-511D-4E95-835C-A15C453A7E77}"/>
                </a:ext>
              </a:extLst>
            </p:cNvPr>
            <p:cNvCxnSpPr>
              <a:cxnSpLocks/>
            </p:cNvCxnSpPr>
            <p:nvPr/>
          </p:nvCxnSpPr>
          <p:spPr bwMode="auto">
            <a:xfrm rot="16200000" flipH="1">
              <a:off x="8574646" y="5557120"/>
              <a:ext cx="72000" cy="0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8" name="Text Box 15">
              <a:extLst>
                <a:ext uri="{FF2B5EF4-FFF2-40B4-BE49-F238E27FC236}">
                  <a16:creationId xmlns:a16="http://schemas.microsoft.com/office/drawing/2014/main" id="{47F0AC45-8181-47F5-B25A-43389A05A9A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61141" y="5586623"/>
              <a:ext cx="500651" cy="307776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t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514350">
                <a:defRPr/>
              </a:pPr>
              <a:r>
                <a:rPr lang="en-US" altLang="en-US" sz="900" b="0" spc="-4" dirty="0">
                  <a:solidFill>
                    <a:srgbClr val="1F1A45"/>
                  </a:solidFill>
                </a:rPr>
                <a:t>300</a:t>
              </a:r>
            </a:p>
          </p:txBody>
        </p:sp>
      </p:grp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527BCD9-83B3-42C5-ADC0-2053C0BD8280}"/>
              </a:ext>
            </a:extLst>
          </p:cNvPr>
          <p:cNvSpPr/>
          <p:nvPr/>
        </p:nvSpPr>
        <p:spPr bwMode="auto">
          <a:xfrm>
            <a:off x="3073147" y="1860322"/>
            <a:ext cx="4486275" cy="1928813"/>
          </a:xfrm>
          <a:custGeom>
            <a:avLst/>
            <a:gdLst>
              <a:gd name="connsiteX0" fmla="*/ 0 w 5981700"/>
              <a:gd name="connsiteY0" fmla="*/ 0 h 2571750"/>
              <a:gd name="connsiteX1" fmla="*/ 63500 w 5981700"/>
              <a:gd name="connsiteY1" fmla="*/ 0 h 2571750"/>
              <a:gd name="connsiteX2" fmla="*/ 63500 w 5981700"/>
              <a:gd name="connsiteY2" fmla="*/ 44450 h 2571750"/>
              <a:gd name="connsiteX3" fmla="*/ 273050 w 5981700"/>
              <a:gd name="connsiteY3" fmla="*/ 44450 h 2571750"/>
              <a:gd name="connsiteX4" fmla="*/ 273050 w 5981700"/>
              <a:gd name="connsiteY4" fmla="*/ 88900 h 2571750"/>
              <a:gd name="connsiteX5" fmla="*/ 342900 w 5981700"/>
              <a:gd name="connsiteY5" fmla="*/ 88900 h 2571750"/>
              <a:gd name="connsiteX6" fmla="*/ 342900 w 5981700"/>
              <a:gd name="connsiteY6" fmla="*/ 196850 h 2571750"/>
              <a:gd name="connsiteX7" fmla="*/ 476250 w 5981700"/>
              <a:gd name="connsiteY7" fmla="*/ 196850 h 2571750"/>
              <a:gd name="connsiteX8" fmla="*/ 476250 w 5981700"/>
              <a:gd name="connsiteY8" fmla="*/ 260350 h 2571750"/>
              <a:gd name="connsiteX9" fmla="*/ 596900 w 5981700"/>
              <a:gd name="connsiteY9" fmla="*/ 260350 h 2571750"/>
              <a:gd name="connsiteX10" fmla="*/ 628650 w 5981700"/>
              <a:gd name="connsiteY10" fmla="*/ 292100 h 2571750"/>
              <a:gd name="connsiteX11" fmla="*/ 660400 w 5981700"/>
              <a:gd name="connsiteY11" fmla="*/ 323850 h 2571750"/>
              <a:gd name="connsiteX12" fmla="*/ 660400 w 5981700"/>
              <a:gd name="connsiteY12" fmla="*/ 488950 h 2571750"/>
              <a:gd name="connsiteX13" fmla="*/ 781050 w 5981700"/>
              <a:gd name="connsiteY13" fmla="*/ 488950 h 2571750"/>
              <a:gd name="connsiteX14" fmla="*/ 781050 w 5981700"/>
              <a:gd name="connsiteY14" fmla="*/ 520700 h 2571750"/>
              <a:gd name="connsiteX15" fmla="*/ 844550 w 5981700"/>
              <a:gd name="connsiteY15" fmla="*/ 520700 h 2571750"/>
              <a:gd name="connsiteX16" fmla="*/ 844550 w 5981700"/>
              <a:gd name="connsiteY16" fmla="*/ 622300 h 2571750"/>
              <a:gd name="connsiteX17" fmla="*/ 895350 w 5981700"/>
              <a:gd name="connsiteY17" fmla="*/ 622300 h 2571750"/>
              <a:gd name="connsiteX18" fmla="*/ 895350 w 5981700"/>
              <a:gd name="connsiteY18" fmla="*/ 723900 h 2571750"/>
              <a:gd name="connsiteX19" fmla="*/ 1022350 w 5981700"/>
              <a:gd name="connsiteY19" fmla="*/ 723900 h 2571750"/>
              <a:gd name="connsiteX20" fmla="*/ 1022350 w 5981700"/>
              <a:gd name="connsiteY20" fmla="*/ 793750 h 2571750"/>
              <a:gd name="connsiteX21" fmla="*/ 1079500 w 5981700"/>
              <a:gd name="connsiteY21" fmla="*/ 793750 h 2571750"/>
              <a:gd name="connsiteX22" fmla="*/ 1079500 w 5981700"/>
              <a:gd name="connsiteY22" fmla="*/ 882650 h 2571750"/>
              <a:gd name="connsiteX23" fmla="*/ 1123950 w 5981700"/>
              <a:gd name="connsiteY23" fmla="*/ 882650 h 2571750"/>
              <a:gd name="connsiteX24" fmla="*/ 1123950 w 5981700"/>
              <a:gd name="connsiteY24" fmla="*/ 939800 h 2571750"/>
              <a:gd name="connsiteX25" fmla="*/ 1206500 w 5981700"/>
              <a:gd name="connsiteY25" fmla="*/ 939800 h 2571750"/>
              <a:gd name="connsiteX26" fmla="*/ 1206500 w 5981700"/>
              <a:gd name="connsiteY26" fmla="*/ 1054100 h 2571750"/>
              <a:gd name="connsiteX27" fmla="*/ 1346200 w 5981700"/>
              <a:gd name="connsiteY27" fmla="*/ 1054100 h 2571750"/>
              <a:gd name="connsiteX28" fmla="*/ 1346200 w 5981700"/>
              <a:gd name="connsiteY28" fmla="*/ 1098550 h 2571750"/>
              <a:gd name="connsiteX29" fmla="*/ 1416050 w 5981700"/>
              <a:gd name="connsiteY29" fmla="*/ 1098550 h 2571750"/>
              <a:gd name="connsiteX30" fmla="*/ 1416050 w 5981700"/>
              <a:gd name="connsiteY30" fmla="*/ 1143000 h 2571750"/>
              <a:gd name="connsiteX31" fmla="*/ 1460500 w 5981700"/>
              <a:gd name="connsiteY31" fmla="*/ 1143000 h 2571750"/>
              <a:gd name="connsiteX32" fmla="*/ 1460500 w 5981700"/>
              <a:gd name="connsiteY32" fmla="*/ 1231900 h 2571750"/>
              <a:gd name="connsiteX33" fmla="*/ 1492250 w 5981700"/>
              <a:gd name="connsiteY33" fmla="*/ 1231900 h 2571750"/>
              <a:gd name="connsiteX34" fmla="*/ 1492250 w 5981700"/>
              <a:gd name="connsiteY34" fmla="*/ 1270000 h 2571750"/>
              <a:gd name="connsiteX35" fmla="*/ 1568450 w 5981700"/>
              <a:gd name="connsiteY35" fmla="*/ 1270000 h 2571750"/>
              <a:gd name="connsiteX36" fmla="*/ 1568450 w 5981700"/>
              <a:gd name="connsiteY36" fmla="*/ 1346200 h 2571750"/>
              <a:gd name="connsiteX37" fmla="*/ 1631950 w 5981700"/>
              <a:gd name="connsiteY37" fmla="*/ 1346200 h 2571750"/>
              <a:gd name="connsiteX38" fmla="*/ 1631950 w 5981700"/>
              <a:gd name="connsiteY38" fmla="*/ 1422400 h 2571750"/>
              <a:gd name="connsiteX39" fmla="*/ 1739900 w 5981700"/>
              <a:gd name="connsiteY39" fmla="*/ 1422400 h 2571750"/>
              <a:gd name="connsiteX40" fmla="*/ 1739900 w 5981700"/>
              <a:gd name="connsiteY40" fmla="*/ 1460500 h 2571750"/>
              <a:gd name="connsiteX41" fmla="*/ 1860550 w 5981700"/>
              <a:gd name="connsiteY41" fmla="*/ 1460500 h 2571750"/>
              <a:gd name="connsiteX42" fmla="*/ 1860550 w 5981700"/>
              <a:gd name="connsiteY42" fmla="*/ 1492250 h 2571750"/>
              <a:gd name="connsiteX43" fmla="*/ 1955800 w 5981700"/>
              <a:gd name="connsiteY43" fmla="*/ 1492250 h 2571750"/>
              <a:gd name="connsiteX44" fmla="*/ 1955800 w 5981700"/>
              <a:gd name="connsiteY44" fmla="*/ 1549400 h 2571750"/>
              <a:gd name="connsiteX45" fmla="*/ 2044700 w 5981700"/>
              <a:gd name="connsiteY45" fmla="*/ 1549400 h 2571750"/>
              <a:gd name="connsiteX46" fmla="*/ 2044700 w 5981700"/>
              <a:gd name="connsiteY46" fmla="*/ 1644650 h 2571750"/>
              <a:gd name="connsiteX47" fmla="*/ 2178050 w 5981700"/>
              <a:gd name="connsiteY47" fmla="*/ 1644650 h 2571750"/>
              <a:gd name="connsiteX48" fmla="*/ 2178050 w 5981700"/>
              <a:gd name="connsiteY48" fmla="*/ 1689100 h 2571750"/>
              <a:gd name="connsiteX49" fmla="*/ 2241550 w 5981700"/>
              <a:gd name="connsiteY49" fmla="*/ 1689100 h 2571750"/>
              <a:gd name="connsiteX50" fmla="*/ 2241550 w 5981700"/>
              <a:gd name="connsiteY50" fmla="*/ 1746250 h 2571750"/>
              <a:gd name="connsiteX51" fmla="*/ 2292350 w 5981700"/>
              <a:gd name="connsiteY51" fmla="*/ 1746250 h 2571750"/>
              <a:gd name="connsiteX52" fmla="*/ 2292350 w 5981700"/>
              <a:gd name="connsiteY52" fmla="*/ 1816100 h 2571750"/>
              <a:gd name="connsiteX53" fmla="*/ 2520950 w 5981700"/>
              <a:gd name="connsiteY53" fmla="*/ 1816100 h 2571750"/>
              <a:gd name="connsiteX54" fmla="*/ 2520950 w 5981700"/>
              <a:gd name="connsiteY54" fmla="*/ 1847850 h 2571750"/>
              <a:gd name="connsiteX55" fmla="*/ 2552700 w 5981700"/>
              <a:gd name="connsiteY55" fmla="*/ 1847850 h 2571750"/>
              <a:gd name="connsiteX56" fmla="*/ 2552700 w 5981700"/>
              <a:gd name="connsiteY56" fmla="*/ 2006600 h 2571750"/>
              <a:gd name="connsiteX57" fmla="*/ 2667000 w 5981700"/>
              <a:gd name="connsiteY57" fmla="*/ 2006600 h 2571750"/>
              <a:gd name="connsiteX58" fmla="*/ 2667000 w 5981700"/>
              <a:gd name="connsiteY58" fmla="*/ 2159000 h 2571750"/>
              <a:gd name="connsiteX59" fmla="*/ 2736850 w 5981700"/>
              <a:gd name="connsiteY59" fmla="*/ 2159000 h 2571750"/>
              <a:gd name="connsiteX60" fmla="*/ 2736850 w 5981700"/>
              <a:gd name="connsiteY60" fmla="*/ 2209800 h 2571750"/>
              <a:gd name="connsiteX61" fmla="*/ 2940050 w 5981700"/>
              <a:gd name="connsiteY61" fmla="*/ 2209800 h 2571750"/>
              <a:gd name="connsiteX62" fmla="*/ 2940050 w 5981700"/>
              <a:gd name="connsiteY62" fmla="*/ 2266950 h 2571750"/>
              <a:gd name="connsiteX63" fmla="*/ 3257550 w 5981700"/>
              <a:gd name="connsiteY63" fmla="*/ 2266950 h 2571750"/>
              <a:gd name="connsiteX64" fmla="*/ 3257550 w 5981700"/>
              <a:gd name="connsiteY64" fmla="*/ 2298700 h 2571750"/>
              <a:gd name="connsiteX65" fmla="*/ 3365500 w 5981700"/>
              <a:gd name="connsiteY65" fmla="*/ 2298700 h 2571750"/>
              <a:gd name="connsiteX66" fmla="*/ 3365500 w 5981700"/>
              <a:gd name="connsiteY66" fmla="*/ 2374900 h 2571750"/>
              <a:gd name="connsiteX67" fmla="*/ 3606800 w 5981700"/>
              <a:gd name="connsiteY67" fmla="*/ 2374900 h 2571750"/>
              <a:gd name="connsiteX68" fmla="*/ 3606800 w 5981700"/>
              <a:gd name="connsiteY68" fmla="*/ 2444750 h 2571750"/>
              <a:gd name="connsiteX69" fmla="*/ 4013200 w 5981700"/>
              <a:gd name="connsiteY69" fmla="*/ 2444750 h 2571750"/>
              <a:gd name="connsiteX70" fmla="*/ 4013200 w 5981700"/>
              <a:gd name="connsiteY70" fmla="*/ 2571750 h 2571750"/>
              <a:gd name="connsiteX71" fmla="*/ 5981700 w 5981700"/>
              <a:gd name="connsiteY71" fmla="*/ 2571750 h 257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5981700" h="2571750">
                <a:moveTo>
                  <a:pt x="0" y="0"/>
                </a:moveTo>
                <a:lnTo>
                  <a:pt x="63500" y="0"/>
                </a:lnTo>
                <a:lnTo>
                  <a:pt x="63500" y="44450"/>
                </a:lnTo>
                <a:lnTo>
                  <a:pt x="273050" y="44450"/>
                </a:lnTo>
                <a:lnTo>
                  <a:pt x="273050" y="88900"/>
                </a:lnTo>
                <a:lnTo>
                  <a:pt x="342900" y="88900"/>
                </a:lnTo>
                <a:lnTo>
                  <a:pt x="342900" y="196850"/>
                </a:lnTo>
                <a:lnTo>
                  <a:pt x="476250" y="196850"/>
                </a:lnTo>
                <a:lnTo>
                  <a:pt x="476250" y="260350"/>
                </a:lnTo>
                <a:lnTo>
                  <a:pt x="596900" y="260350"/>
                </a:lnTo>
                <a:lnTo>
                  <a:pt x="628650" y="292100"/>
                </a:lnTo>
                <a:lnTo>
                  <a:pt x="660400" y="323850"/>
                </a:lnTo>
                <a:lnTo>
                  <a:pt x="660400" y="488950"/>
                </a:lnTo>
                <a:lnTo>
                  <a:pt x="781050" y="488950"/>
                </a:lnTo>
                <a:lnTo>
                  <a:pt x="781050" y="520700"/>
                </a:lnTo>
                <a:lnTo>
                  <a:pt x="844550" y="520700"/>
                </a:lnTo>
                <a:lnTo>
                  <a:pt x="844550" y="622300"/>
                </a:lnTo>
                <a:lnTo>
                  <a:pt x="895350" y="622300"/>
                </a:lnTo>
                <a:lnTo>
                  <a:pt x="895350" y="723900"/>
                </a:lnTo>
                <a:lnTo>
                  <a:pt x="1022350" y="723900"/>
                </a:lnTo>
                <a:lnTo>
                  <a:pt x="1022350" y="793750"/>
                </a:lnTo>
                <a:lnTo>
                  <a:pt x="1079500" y="793750"/>
                </a:lnTo>
                <a:lnTo>
                  <a:pt x="1079500" y="882650"/>
                </a:lnTo>
                <a:lnTo>
                  <a:pt x="1123950" y="882650"/>
                </a:lnTo>
                <a:lnTo>
                  <a:pt x="1123950" y="939800"/>
                </a:lnTo>
                <a:lnTo>
                  <a:pt x="1206500" y="939800"/>
                </a:lnTo>
                <a:lnTo>
                  <a:pt x="1206500" y="1054100"/>
                </a:lnTo>
                <a:lnTo>
                  <a:pt x="1346200" y="1054100"/>
                </a:lnTo>
                <a:lnTo>
                  <a:pt x="1346200" y="1098550"/>
                </a:lnTo>
                <a:lnTo>
                  <a:pt x="1416050" y="1098550"/>
                </a:lnTo>
                <a:lnTo>
                  <a:pt x="1416050" y="1143000"/>
                </a:lnTo>
                <a:lnTo>
                  <a:pt x="1460500" y="1143000"/>
                </a:lnTo>
                <a:lnTo>
                  <a:pt x="1460500" y="1231900"/>
                </a:lnTo>
                <a:lnTo>
                  <a:pt x="1492250" y="1231900"/>
                </a:lnTo>
                <a:lnTo>
                  <a:pt x="1492250" y="1270000"/>
                </a:lnTo>
                <a:lnTo>
                  <a:pt x="1568450" y="1270000"/>
                </a:lnTo>
                <a:lnTo>
                  <a:pt x="1568450" y="1346200"/>
                </a:lnTo>
                <a:lnTo>
                  <a:pt x="1631950" y="1346200"/>
                </a:lnTo>
                <a:lnTo>
                  <a:pt x="1631950" y="1422400"/>
                </a:lnTo>
                <a:lnTo>
                  <a:pt x="1739900" y="1422400"/>
                </a:lnTo>
                <a:lnTo>
                  <a:pt x="1739900" y="1460500"/>
                </a:lnTo>
                <a:lnTo>
                  <a:pt x="1860550" y="1460500"/>
                </a:lnTo>
                <a:lnTo>
                  <a:pt x="1860550" y="1492250"/>
                </a:lnTo>
                <a:lnTo>
                  <a:pt x="1955800" y="1492250"/>
                </a:lnTo>
                <a:lnTo>
                  <a:pt x="1955800" y="1549400"/>
                </a:lnTo>
                <a:lnTo>
                  <a:pt x="2044700" y="1549400"/>
                </a:lnTo>
                <a:lnTo>
                  <a:pt x="2044700" y="1644650"/>
                </a:lnTo>
                <a:lnTo>
                  <a:pt x="2178050" y="1644650"/>
                </a:lnTo>
                <a:lnTo>
                  <a:pt x="2178050" y="1689100"/>
                </a:lnTo>
                <a:lnTo>
                  <a:pt x="2241550" y="1689100"/>
                </a:lnTo>
                <a:lnTo>
                  <a:pt x="2241550" y="1746250"/>
                </a:lnTo>
                <a:lnTo>
                  <a:pt x="2292350" y="1746250"/>
                </a:lnTo>
                <a:lnTo>
                  <a:pt x="2292350" y="1816100"/>
                </a:lnTo>
                <a:lnTo>
                  <a:pt x="2520950" y="1816100"/>
                </a:lnTo>
                <a:lnTo>
                  <a:pt x="2520950" y="1847850"/>
                </a:lnTo>
                <a:lnTo>
                  <a:pt x="2552700" y="1847850"/>
                </a:lnTo>
                <a:lnTo>
                  <a:pt x="2552700" y="2006600"/>
                </a:lnTo>
                <a:lnTo>
                  <a:pt x="2667000" y="2006600"/>
                </a:lnTo>
                <a:lnTo>
                  <a:pt x="2667000" y="2159000"/>
                </a:lnTo>
                <a:lnTo>
                  <a:pt x="2736850" y="2159000"/>
                </a:lnTo>
                <a:lnTo>
                  <a:pt x="2736850" y="2209800"/>
                </a:lnTo>
                <a:lnTo>
                  <a:pt x="2940050" y="2209800"/>
                </a:lnTo>
                <a:lnTo>
                  <a:pt x="2940050" y="2266950"/>
                </a:lnTo>
                <a:lnTo>
                  <a:pt x="3257550" y="2266950"/>
                </a:lnTo>
                <a:lnTo>
                  <a:pt x="3257550" y="2298700"/>
                </a:lnTo>
                <a:lnTo>
                  <a:pt x="3365500" y="2298700"/>
                </a:lnTo>
                <a:lnTo>
                  <a:pt x="3365500" y="2374900"/>
                </a:lnTo>
                <a:lnTo>
                  <a:pt x="3606800" y="2374900"/>
                </a:lnTo>
                <a:lnTo>
                  <a:pt x="3606800" y="2444750"/>
                </a:lnTo>
                <a:lnTo>
                  <a:pt x="4013200" y="2444750"/>
                </a:lnTo>
                <a:lnTo>
                  <a:pt x="4013200" y="2571750"/>
                </a:lnTo>
                <a:lnTo>
                  <a:pt x="5981700" y="2571750"/>
                </a:lnTo>
              </a:path>
            </a:pathLst>
          </a:custGeom>
          <a:noFill/>
          <a:ln w="28575" cap="flat" cmpd="sng" algn="ctr">
            <a:solidFill>
              <a:srgbClr val="A7052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71675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425">
              <a:solidFill>
                <a:srgbClr val="BC4800"/>
              </a:solidFill>
              <a:latin typeface="Arial" charset="0"/>
            </a:endParaRPr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1F29B4AF-37E4-40CD-AFF2-C214536458FC}"/>
              </a:ext>
            </a:extLst>
          </p:cNvPr>
          <p:cNvSpPr/>
          <p:nvPr/>
        </p:nvSpPr>
        <p:spPr bwMode="auto">
          <a:xfrm>
            <a:off x="3068384" y="1865085"/>
            <a:ext cx="2095500" cy="1643063"/>
          </a:xfrm>
          <a:custGeom>
            <a:avLst/>
            <a:gdLst>
              <a:gd name="connsiteX0" fmla="*/ 0 w 2794000"/>
              <a:gd name="connsiteY0" fmla="*/ 0 h 2190750"/>
              <a:gd name="connsiteX1" fmla="*/ 114300 w 2794000"/>
              <a:gd name="connsiteY1" fmla="*/ 0 h 2190750"/>
              <a:gd name="connsiteX2" fmla="*/ 114300 w 2794000"/>
              <a:gd name="connsiteY2" fmla="*/ 63500 h 2190750"/>
              <a:gd name="connsiteX3" fmla="*/ 222250 w 2794000"/>
              <a:gd name="connsiteY3" fmla="*/ 63500 h 2190750"/>
              <a:gd name="connsiteX4" fmla="*/ 222250 w 2794000"/>
              <a:gd name="connsiteY4" fmla="*/ 158750 h 2190750"/>
              <a:gd name="connsiteX5" fmla="*/ 304800 w 2794000"/>
              <a:gd name="connsiteY5" fmla="*/ 158750 h 2190750"/>
              <a:gd name="connsiteX6" fmla="*/ 304800 w 2794000"/>
              <a:gd name="connsiteY6" fmla="*/ 279400 h 2190750"/>
              <a:gd name="connsiteX7" fmla="*/ 342900 w 2794000"/>
              <a:gd name="connsiteY7" fmla="*/ 279400 h 2190750"/>
              <a:gd name="connsiteX8" fmla="*/ 342900 w 2794000"/>
              <a:gd name="connsiteY8" fmla="*/ 374650 h 2190750"/>
              <a:gd name="connsiteX9" fmla="*/ 444500 w 2794000"/>
              <a:gd name="connsiteY9" fmla="*/ 374650 h 2190750"/>
              <a:gd name="connsiteX10" fmla="*/ 444500 w 2794000"/>
              <a:gd name="connsiteY10" fmla="*/ 476250 h 2190750"/>
              <a:gd name="connsiteX11" fmla="*/ 527050 w 2794000"/>
              <a:gd name="connsiteY11" fmla="*/ 476250 h 2190750"/>
              <a:gd name="connsiteX12" fmla="*/ 527050 w 2794000"/>
              <a:gd name="connsiteY12" fmla="*/ 546100 h 2190750"/>
              <a:gd name="connsiteX13" fmla="*/ 641350 w 2794000"/>
              <a:gd name="connsiteY13" fmla="*/ 546100 h 2190750"/>
              <a:gd name="connsiteX14" fmla="*/ 641350 w 2794000"/>
              <a:gd name="connsiteY14" fmla="*/ 609600 h 2190750"/>
              <a:gd name="connsiteX15" fmla="*/ 723900 w 2794000"/>
              <a:gd name="connsiteY15" fmla="*/ 609600 h 2190750"/>
              <a:gd name="connsiteX16" fmla="*/ 723900 w 2794000"/>
              <a:gd name="connsiteY16" fmla="*/ 685800 h 2190750"/>
              <a:gd name="connsiteX17" fmla="*/ 793750 w 2794000"/>
              <a:gd name="connsiteY17" fmla="*/ 685800 h 2190750"/>
              <a:gd name="connsiteX18" fmla="*/ 793750 w 2794000"/>
              <a:gd name="connsiteY18" fmla="*/ 812800 h 2190750"/>
              <a:gd name="connsiteX19" fmla="*/ 889000 w 2794000"/>
              <a:gd name="connsiteY19" fmla="*/ 812800 h 2190750"/>
              <a:gd name="connsiteX20" fmla="*/ 889000 w 2794000"/>
              <a:gd name="connsiteY20" fmla="*/ 869950 h 2190750"/>
              <a:gd name="connsiteX21" fmla="*/ 971550 w 2794000"/>
              <a:gd name="connsiteY21" fmla="*/ 869950 h 2190750"/>
              <a:gd name="connsiteX22" fmla="*/ 971550 w 2794000"/>
              <a:gd name="connsiteY22" fmla="*/ 1041400 h 2190750"/>
              <a:gd name="connsiteX23" fmla="*/ 1047750 w 2794000"/>
              <a:gd name="connsiteY23" fmla="*/ 1041400 h 2190750"/>
              <a:gd name="connsiteX24" fmla="*/ 1047750 w 2794000"/>
              <a:gd name="connsiteY24" fmla="*/ 1111250 h 2190750"/>
              <a:gd name="connsiteX25" fmla="*/ 1149350 w 2794000"/>
              <a:gd name="connsiteY25" fmla="*/ 1111250 h 2190750"/>
              <a:gd name="connsiteX26" fmla="*/ 1149350 w 2794000"/>
              <a:gd name="connsiteY26" fmla="*/ 1187450 h 2190750"/>
              <a:gd name="connsiteX27" fmla="*/ 1320800 w 2794000"/>
              <a:gd name="connsiteY27" fmla="*/ 1187450 h 2190750"/>
              <a:gd name="connsiteX28" fmla="*/ 1320800 w 2794000"/>
              <a:gd name="connsiteY28" fmla="*/ 1282700 h 2190750"/>
              <a:gd name="connsiteX29" fmla="*/ 1422400 w 2794000"/>
              <a:gd name="connsiteY29" fmla="*/ 1282700 h 2190750"/>
              <a:gd name="connsiteX30" fmla="*/ 1422400 w 2794000"/>
              <a:gd name="connsiteY30" fmla="*/ 1352550 h 2190750"/>
              <a:gd name="connsiteX31" fmla="*/ 1466850 w 2794000"/>
              <a:gd name="connsiteY31" fmla="*/ 1352550 h 2190750"/>
              <a:gd name="connsiteX32" fmla="*/ 1466850 w 2794000"/>
              <a:gd name="connsiteY32" fmla="*/ 1454150 h 2190750"/>
              <a:gd name="connsiteX33" fmla="*/ 1581150 w 2794000"/>
              <a:gd name="connsiteY33" fmla="*/ 1454150 h 2190750"/>
              <a:gd name="connsiteX34" fmla="*/ 1581150 w 2794000"/>
              <a:gd name="connsiteY34" fmla="*/ 1517650 h 2190750"/>
              <a:gd name="connsiteX35" fmla="*/ 1746250 w 2794000"/>
              <a:gd name="connsiteY35" fmla="*/ 1517650 h 2190750"/>
              <a:gd name="connsiteX36" fmla="*/ 1746250 w 2794000"/>
              <a:gd name="connsiteY36" fmla="*/ 1562100 h 2190750"/>
              <a:gd name="connsiteX37" fmla="*/ 1898650 w 2794000"/>
              <a:gd name="connsiteY37" fmla="*/ 1562100 h 2190750"/>
              <a:gd name="connsiteX38" fmla="*/ 1898650 w 2794000"/>
              <a:gd name="connsiteY38" fmla="*/ 1638300 h 2190750"/>
              <a:gd name="connsiteX39" fmla="*/ 2038350 w 2794000"/>
              <a:gd name="connsiteY39" fmla="*/ 1638300 h 2190750"/>
              <a:gd name="connsiteX40" fmla="*/ 2038350 w 2794000"/>
              <a:gd name="connsiteY40" fmla="*/ 1714500 h 2190750"/>
              <a:gd name="connsiteX41" fmla="*/ 2108200 w 2794000"/>
              <a:gd name="connsiteY41" fmla="*/ 1714500 h 2190750"/>
              <a:gd name="connsiteX42" fmla="*/ 2108200 w 2794000"/>
              <a:gd name="connsiteY42" fmla="*/ 1746250 h 2190750"/>
              <a:gd name="connsiteX43" fmla="*/ 2298700 w 2794000"/>
              <a:gd name="connsiteY43" fmla="*/ 1746250 h 2190750"/>
              <a:gd name="connsiteX44" fmla="*/ 2298700 w 2794000"/>
              <a:gd name="connsiteY44" fmla="*/ 2057400 h 2190750"/>
              <a:gd name="connsiteX45" fmla="*/ 2463800 w 2794000"/>
              <a:gd name="connsiteY45" fmla="*/ 2057400 h 2190750"/>
              <a:gd name="connsiteX46" fmla="*/ 2463800 w 2794000"/>
              <a:gd name="connsiteY46" fmla="*/ 2190750 h 2190750"/>
              <a:gd name="connsiteX47" fmla="*/ 2794000 w 2794000"/>
              <a:gd name="connsiteY47" fmla="*/ 2190750 h 219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794000" h="2190750">
                <a:moveTo>
                  <a:pt x="0" y="0"/>
                </a:moveTo>
                <a:lnTo>
                  <a:pt x="114300" y="0"/>
                </a:lnTo>
                <a:lnTo>
                  <a:pt x="114300" y="63500"/>
                </a:lnTo>
                <a:lnTo>
                  <a:pt x="222250" y="63500"/>
                </a:lnTo>
                <a:lnTo>
                  <a:pt x="222250" y="158750"/>
                </a:lnTo>
                <a:lnTo>
                  <a:pt x="304800" y="158750"/>
                </a:lnTo>
                <a:lnTo>
                  <a:pt x="304800" y="279400"/>
                </a:lnTo>
                <a:lnTo>
                  <a:pt x="342900" y="279400"/>
                </a:lnTo>
                <a:lnTo>
                  <a:pt x="342900" y="374650"/>
                </a:lnTo>
                <a:lnTo>
                  <a:pt x="444500" y="374650"/>
                </a:lnTo>
                <a:lnTo>
                  <a:pt x="444500" y="476250"/>
                </a:lnTo>
                <a:lnTo>
                  <a:pt x="527050" y="476250"/>
                </a:lnTo>
                <a:lnTo>
                  <a:pt x="527050" y="546100"/>
                </a:lnTo>
                <a:lnTo>
                  <a:pt x="641350" y="546100"/>
                </a:lnTo>
                <a:lnTo>
                  <a:pt x="641350" y="609600"/>
                </a:lnTo>
                <a:lnTo>
                  <a:pt x="723900" y="609600"/>
                </a:lnTo>
                <a:lnTo>
                  <a:pt x="723900" y="685800"/>
                </a:lnTo>
                <a:lnTo>
                  <a:pt x="793750" y="685800"/>
                </a:lnTo>
                <a:lnTo>
                  <a:pt x="793750" y="812800"/>
                </a:lnTo>
                <a:lnTo>
                  <a:pt x="889000" y="812800"/>
                </a:lnTo>
                <a:lnTo>
                  <a:pt x="889000" y="869950"/>
                </a:lnTo>
                <a:lnTo>
                  <a:pt x="971550" y="869950"/>
                </a:lnTo>
                <a:lnTo>
                  <a:pt x="971550" y="1041400"/>
                </a:lnTo>
                <a:lnTo>
                  <a:pt x="1047750" y="1041400"/>
                </a:lnTo>
                <a:lnTo>
                  <a:pt x="1047750" y="1111250"/>
                </a:lnTo>
                <a:lnTo>
                  <a:pt x="1149350" y="1111250"/>
                </a:lnTo>
                <a:lnTo>
                  <a:pt x="1149350" y="1187450"/>
                </a:lnTo>
                <a:lnTo>
                  <a:pt x="1320800" y="1187450"/>
                </a:lnTo>
                <a:lnTo>
                  <a:pt x="1320800" y="1282700"/>
                </a:lnTo>
                <a:lnTo>
                  <a:pt x="1422400" y="1282700"/>
                </a:lnTo>
                <a:lnTo>
                  <a:pt x="1422400" y="1352550"/>
                </a:lnTo>
                <a:lnTo>
                  <a:pt x="1466850" y="1352550"/>
                </a:lnTo>
                <a:lnTo>
                  <a:pt x="1466850" y="1454150"/>
                </a:lnTo>
                <a:lnTo>
                  <a:pt x="1581150" y="1454150"/>
                </a:lnTo>
                <a:lnTo>
                  <a:pt x="1581150" y="1517650"/>
                </a:lnTo>
                <a:lnTo>
                  <a:pt x="1746250" y="1517650"/>
                </a:lnTo>
                <a:lnTo>
                  <a:pt x="1746250" y="1562100"/>
                </a:lnTo>
                <a:lnTo>
                  <a:pt x="1898650" y="1562100"/>
                </a:lnTo>
                <a:lnTo>
                  <a:pt x="1898650" y="1638300"/>
                </a:lnTo>
                <a:lnTo>
                  <a:pt x="2038350" y="1638300"/>
                </a:lnTo>
                <a:lnTo>
                  <a:pt x="2038350" y="1714500"/>
                </a:lnTo>
                <a:lnTo>
                  <a:pt x="2108200" y="1714500"/>
                </a:lnTo>
                <a:lnTo>
                  <a:pt x="2108200" y="1746250"/>
                </a:lnTo>
                <a:lnTo>
                  <a:pt x="2298700" y="1746250"/>
                </a:lnTo>
                <a:lnTo>
                  <a:pt x="2298700" y="2057400"/>
                </a:lnTo>
                <a:lnTo>
                  <a:pt x="2463800" y="2057400"/>
                </a:lnTo>
                <a:lnTo>
                  <a:pt x="2463800" y="2190750"/>
                </a:lnTo>
                <a:lnTo>
                  <a:pt x="2794000" y="2190750"/>
                </a:lnTo>
              </a:path>
            </a:pathLst>
          </a:custGeom>
          <a:noFill/>
          <a:ln w="2857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71675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425">
              <a:solidFill>
                <a:srgbClr val="BC4800"/>
              </a:solidFill>
              <a:latin typeface="Arial" charset="0"/>
            </a:endParaRPr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DE3628DC-F9B6-4DE0-B191-5330AB52D59F}"/>
              </a:ext>
            </a:extLst>
          </p:cNvPr>
          <p:cNvSpPr/>
          <p:nvPr/>
        </p:nvSpPr>
        <p:spPr bwMode="auto">
          <a:xfrm>
            <a:off x="3077908" y="1860322"/>
            <a:ext cx="2090738" cy="1681163"/>
          </a:xfrm>
          <a:custGeom>
            <a:avLst/>
            <a:gdLst>
              <a:gd name="connsiteX0" fmla="*/ 0 w 2787650"/>
              <a:gd name="connsiteY0" fmla="*/ 0 h 2241550"/>
              <a:gd name="connsiteX1" fmla="*/ 0 w 2787650"/>
              <a:gd name="connsiteY1" fmla="*/ 69850 h 2241550"/>
              <a:gd name="connsiteX2" fmla="*/ 95250 w 2787650"/>
              <a:gd name="connsiteY2" fmla="*/ 69850 h 2241550"/>
              <a:gd name="connsiteX3" fmla="*/ 95250 w 2787650"/>
              <a:gd name="connsiteY3" fmla="*/ 171450 h 2241550"/>
              <a:gd name="connsiteX4" fmla="*/ 146050 w 2787650"/>
              <a:gd name="connsiteY4" fmla="*/ 171450 h 2241550"/>
              <a:gd name="connsiteX5" fmla="*/ 146050 w 2787650"/>
              <a:gd name="connsiteY5" fmla="*/ 323850 h 2241550"/>
              <a:gd name="connsiteX6" fmla="*/ 222250 w 2787650"/>
              <a:gd name="connsiteY6" fmla="*/ 323850 h 2241550"/>
              <a:gd name="connsiteX7" fmla="*/ 222250 w 2787650"/>
              <a:gd name="connsiteY7" fmla="*/ 463550 h 2241550"/>
              <a:gd name="connsiteX8" fmla="*/ 292100 w 2787650"/>
              <a:gd name="connsiteY8" fmla="*/ 463550 h 2241550"/>
              <a:gd name="connsiteX9" fmla="*/ 292100 w 2787650"/>
              <a:gd name="connsiteY9" fmla="*/ 558800 h 2241550"/>
              <a:gd name="connsiteX10" fmla="*/ 323850 w 2787650"/>
              <a:gd name="connsiteY10" fmla="*/ 590550 h 2241550"/>
              <a:gd name="connsiteX11" fmla="*/ 323850 w 2787650"/>
              <a:gd name="connsiteY11" fmla="*/ 685800 h 2241550"/>
              <a:gd name="connsiteX12" fmla="*/ 419100 w 2787650"/>
              <a:gd name="connsiteY12" fmla="*/ 685800 h 2241550"/>
              <a:gd name="connsiteX13" fmla="*/ 419100 w 2787650"/>
              <a:gd name="connsiteY13" fmla="*/ 812800 h 2241550"/>
              <a:gd name="connsiteX14" fmla="*/ 514350 w 2787650"/>
              <a:gd name="connsiteY14" fmla="*/ 812800 h 2241550"/>
              <a:gd name="connsiteX15" fmla="*/ 514350 w 2787650"/>
              <a:gd name="connsiteY15" fmla="*/ 952500 h 2241550"/>
              <a:gd name="connsiteX16" fmla="*/ 571500 w 2787650"/>
              <a:gd name="connsiteY16" fmla="*/ 952500 h 2241550"/>
              <a:gd name="connsiteX17" fmla="*/ 571500 w 2787650"/>
              <a:gd name="connsiteY17" fmla="*/ 1035050 h 2241550"/>
              <a:gd name="connsiteX18" fmla="*/ 692150 w 2787650"/>
              <a:gd name="connsiteY18" fmla="*/ 1035050 h 2241550"/>
              <a:gd name="connsiteX19" fmla="*/ 692150 w 2787650"/>
              <a:gd name="connsiteY19" fmla="*/ 1123950 h 2241550"/>
              <a:gd name="connsiteX20" fmla="*/ 800100 w 2787650"/>
              <a:gd name="connsiteY20" fmla="*/ 1123950 h 2241550"/>
              <a:gd name="connsiteX21" fmla="*/ 800100 w 2787650"/>
              <a:gd name="connsiteY21" fmla="*/ 1219200 h 2241550"/>
              <a:gd name="connsiteX22" fmla="*/ 901700 w 2787650"/>
              <a:gd name="connsiteY22" fmla="*/ 1219200 h 2241550"/>
              <a:gd name="connsiteX23" fmla="*/ 901700 w 2787650"/>
              <a:gd name="connsiteY23" fmla="*/ 1333500 h 2241550"/>
              <a:gd name="connsiteX24" fmla="*/ 1054100 w 2787650"/>
              <a:gd name="connsiteY24" fmla="*/ 1333500 h 2241550"/>
              <a:gd name="connsiteX25" fmla="*/ 1066800 w 2787650"/>
              <a:gd name="connsiteY25" fmla="*/ 1524000 h 2241550"/>
              <a:gd name="connsiteX26" fmla="*/ 1168400 w 2787650"/>
              <a:gd name="connsiteY26" fmla="*/ 1524000 h 2241550"/>
              <a:gd name="connsiteX27" fmla="*/ 1168400 w 2787650"/>
              <a:gd name="connsiteY27" fmla="*/ 1606550 h 2241550"/>
              <a:gd name="connsiteX28" fmla="*/ 1244600 w 2787650"/>
              <a:gd name="connsiteY28" fmla="*/ 1606550 h 2241550"/>
              <a:gd name="connsiteX29" fmla="*/ 1244600 w 2787650"/>
              <a:gd name="connsiteY29" fmla="*/ 1708150 h 2241550"/>
              <a:gd name="connsiteX30" fmla="*/ 1346200 w 2787650"/>
              <a:gd name="connsiteY30" fmla="*/ 1708150 h 2241550"/>
              <a:gd name="connsiteX31" fmla="*/ 1346200 w 2787650"/>
              <a:gd name="connsiteY31" fmla="*/ 1784350 h 2241550"/>
              <a:gd name="connsiteX32" fmla="*/ 1454150 w 2787650"/>
              <a:gd name="connsiteY32" fmla="*/ 1784350 h 2241550"/>
              <a:gd name="connsiteX33" fmla="*/ 1454150 w 2787650"/>
              <a:gd name="connsiteY33" fmla="*/ 1885950 h 2241550"/>
              <a:gd name="connsiteX34" fmla="*/ 1562100 w 2787650"/>
              <a:gd name="connsiteY34" fmla="*/ 1885950 h 2241550"/>
              <a:gd name="connsiteX35" fmla="*/ 1562100 w 2787650"/>
              <a:gd name="connsiteY35" fmla="*/ 1993900 h 2241550"/>
              <a:gd name="connsiteX36" fmla="*/ 1746250 w 2787650"/>
              <a:gd name="connsiteY36" fmla="*/ 1993900 h 2241550"/>
              <a:gd name="connsiteX37" fmla="*/ 1746250 w 2787650"/>
              <a:gd name="connsiteY37" fmla="*/ 2063750 h 2241550"/>
              <a:gd name="connsiteX38" fmla="*/ 1809750 w 2787650"/>
              <a:gd name="connsiteY38" fmla="*/ 2070100 h 2241550"/>
              <a:gd name="connsiteX39" fmla="*/ 2209800 w 2787650"/>
              <a:gd name="connsiteY39" fmla="*/ 2070100 h 2241550"/>
              <a:gd name="connsiteX40" fmla="*/ 2209800 w 2787650"/>
              <a:gd name="connsiteY40" fmla="*/ 2241550 h 2241550"/>
              <a:gd name="connsiteX41" fmla="*/ 2787650 w 2787650"/>
              <a:gd name="connsiteY41" fmla="*/ 2241550 h 2241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2787650" h="2241550">
                <a:moveTo>
                  <a:pt x="0" y="0"/>
                </a:moveTo>
                <a:lnTo>
                  <a:pt x="0" y="69850"/>
                </a:lnTo>
                <a:lnTo>
                  <a:pt x="95250" y="69850"/>
                </a:lnTo>
                <a:lnTo>
                  <a:pt x="95250" y="171450"/>
                </a:lnTo>
                <a:lnTo>
                  <a:pt x="146050" y="171450"/>
                </a:lnTo>
                <a:lnTo>
                  <a:pt x="146050" y="323850"/>
                </a:lnTo>
                <a:lnTo>
                  <a:pt x="222250" y="323850"/>
                </a:lnTo>
                <a:lnTo>
                  <a:pt x="222250" y="463550"/>
                </a:lnTo>
                <a:lnTo>
                  <a:pt x="292100" y="463550"/>
                </a:lnTo>
                <a:lnTo>
                  <a:pt x="292100" y="558800"/>
                </a:lnTo>
                <a:lnTo>
                  <a:pt x="323850" y="590550"/>
                </a:lnTo>
                <a:lnTo>
                  <a:pt x="323850" y="685800"/>
                </a:lnTo>
                <a:lnTo>
                  <a:pt x="419100" y="685800"/>
                </a:lnTo>
                <a:lnTo>
                  <a:pt x="419100" y="812800"/>
                </a:lnTo>
                <a:lnTo>
                  <a:pt x="514350" y="812800"/>
                </a:lnTo>
                <a:lnTo>
                  <a:pt x="514350" y="952500"/>
                </a:lnTo>
                <a:lnTo>
                  <a:pt x="571500" y="952500"/>
                </a:lnTo>
                <a:lnTo>
                  <a:pt x="571500" y="1035050"/>
                </a:lnTo>
                <a:lnTo>
                  <a:pt x="692150" y="1035050"/>
                </a:lnTo>
                <a:lnTo>
                  <a:pt x="692150" y="1123950"/>
                </a:lnTo>
                <a:lnTo>
                  <a:pt x="800100" y="1123950"/>
                </a:lnTo>
                <a:lnTo>
                  <a:pt x="800100" y="1219200"/>
                </a:lnTo>
                <a:lnTo>
                  <a:pt x="901700" y="1219200"/>
                </a:lnTo>
                <a:lnTo>
                  <a:pt x="901700" y="1333500"/>
                </a:lnTo>
                <a:lnTo>
                  <a:pt x="1054100" y="1333500"/>
                </a:lnTo>
                <a:lnTo>
                  <a:pt x="1066800" y="1524000"/>
                </a:lnTo>
                <a:lnTo>
                  <a:pt x="1168400" y="1524000"/>
                </a:lnTo>
                <a:lnTo>
                  <a:pt x="1168400" y="1606550"/>
                </a:lnTo>
                <a:lnTo>
                  <a:pt x="1244600" y="1606550"/>
                </a:lnTo>
                <a:lnTo>
                  <a:pt x="1244600" y="1708150"/>
                </a:lnTo>
                <a:lnTo>
                  <a:pt x="1346200" y="1708150"/>
                </a:lnTo>
                <a:lnTo>
                  <a:pt x="1346200" y="1784350"/>
                </a:lnTo>
                <a:lnTo>
                  <a:pt x="1454150" y="1784350"/>
                </a:lnTo>
                <a:lnTo>
                  <a:pt x="1454150" y="1885950"/>
                </a:lnTo>
                <a:lnTo>
                  <a:pt x="1562100" y="1885950"/>
                </a:lnTo>
                <a:lnTo>
                  <a:pt x="1562100" y="1993900"/>
                </a:lnTo>
                <a:lnTo>
                  <a:pt x="1746250" y="1993900"/>
                </a:lnTo>
                <a:lnTo>
                  <a:pt x="1746250" y="2063750"/>
                </a:lnTo>
                <a:lnTo>
                  <a:pt x="1809750" y="2070100"/>
                </a:lnTo>
                <a:lnTo>
                  <a:pt x="2209800" y="2070100"/>
                </a:lnTo>
                <a:lnTo>
                  <a:pt x="2209800" y="2241550"/>
                </a:lnTo>
                <a:lnTo>
                  <a:pt x="2787650" y="2241550"/>
                </a:lnTo>
              </a:path>
            </a:pathLst>
          </a:custGeom>
          <a:noFill/>
          <a:ln w="28575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71675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425">
              <a:solidFill>
                <a:srgbClr val="BC4800"/>
              </a:solidFill>
              <a:latin typeface="Arial" charset="0"/>
            </a:endParaRP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F52E4C6D-4D7F-4156-9D7F-1F9370365F25}"/>
              </a:ext>
            </a:extLst>
          </p:cNvPr>
          <p:cNvSpPr/>
          <p:nvPr/>
        </p:nvSpPr>
        <p:spPr bwMode="auto">
          <a:xfrm>
            <a:off x="3087790" y="1836509"/>
            <a:ext cx="4029075" cy="2419350"/>
          </a:xfrm>
          <a:custGeom>
            <a:avLst/>
            <a:gdLst>
              <a:gd name="connsiteX0" fmla="*/ 0 w 5372100"/>
              <a:gd name="connsiteY0" fmla="*/ 0 h 3225800"/>
              <a:gd name="connsiteX1" fmla="*/ 0 w 5372100"/>
              <a:gd name="connsiteY1" fmla="*/ 177800 h 3225800"/>
              <a:gd name="connsiteX2" fmla="*/ 69850 w 5372100"/>
              <a:gd name="connsiteY2" fmla="*/ 203200 h 3225800"/>
              <a:gd name="connsiteX3" fmla="*/ 69850 w 5372100"/>
              <a:gd name="connsiteY3" fmla="*/ 292100 h 3225800"/>
              <a:gd name="connsiteX4" fmla="*/ 69850 w 5372100"/>
              <a:gd name="connsiteY4" fmla="*/ 292100 h 3225800"/>
              <a:gd name="connsiteX5" fmla="*/ 152400 w 5372100"/>
              <a:gd name="connsiteY5" fmla="*/ 323850 h 3225800"/>
              <a:gd name="connsiteX6" fmla="*/ 152400 w 5372100"/>
              <a:gd name="connsiteY6" fmla="*/ 476250 h 3225800"/>
              <a:gd name="connsiteX7" fmla="*/ 196850 w 5372100"/>
              <a:gd name="connsiteY7" fmla="*/ 476250 h 3225800"/>
              <a:gd name="connsiteX8" fmla="*/ 196850 w 5372100"/>
              <a:gd name="connsiteY8" fmla="*/ 590550 h 3225800"/>
              <a:gd name="connsiteX9" fmla="*/ 266700 w 5372100"/>
              <a:gd name="connsiteY9" fmla="*/ 590550 h 3225800"/>
              <a:gd name="connsiteX10" fmla="*/ 266700 w 5372100"/>
              <a:gd name="connsiteY10" fmla="*/ 768350 h 3225800"/>
              <a:gd name="connsiteX11" fmla="*/ 330200 w 5372100"/>
              <a:gd name="connsiteY11" fmla="*/ 768350 h 3225800"/>
              <a:gd name="connsiteX12" fmla="*/ 330200 w 5372100"/>
              <a:gd name="connsiteY12" fmla="*/ 1028700 h 3225800"/>
              <a:gd name="connsiteX13" fmla="*/ 412750 w 5372100"/>
              <a:gd name="connsiteY13" fmla="*/ 1028700 h 3225800"/>
              <a:gd name="connsiteX14" fmla="*/ 412750 w 5372100"/>
              <a:gd name="connsiteY14" fmla="*/ 1104900 h 3225800"/>
              <a:gd name="connsiteX15" fmla="*/ 520700 w 5372100"/>
              <a:gd name="connsiteY15" fmla="*/ 1282700 h 3225800"/>
              <a:gd name="connsiteX16" fmla="*/ 596900 w 5372100"/>
              <a:gd name="connsiteY16" fmla="*/ 1333500 h 3225800"/>
              <a:gd name="connsiteX17" fmla="*/ 596900 w 5372100"/>
              <a:gd name="connsiteY17" fmla="*/ 1454150 h 3225800"/>
              <a:gd name="connsiteX18" fmla="*/ 647700 w 5372100"/>
              <a:gd name="connsiteY18" fmla="*/ 1454150 h 3225800"/>
              <a:gd name="connsiteX19" fmla="*/ 749300 w 5372100"/>
              <a:gd name="connsiteY19" fmla="*/ 1631950 h 3225800"/>
              <a:gd name="connsiteX20" fmla="*/ 793750 w 5372100"/>
              <a:gd name="connsiteY20" fmla="*/ 1765300 h 3225800"/>
              <a:gd name="connsiteX21" fmla="*/ 850900 w 5372100"/>
              <a:gd name="connsiteY21" fmla="*/ 1822450 h 3225800"/>
              <a:gd name="connsiteX22" fmla="*/ 939800 w 5372100"/>
              <a:gd name="connsiteY22" fmla="*/ 1841500 h 3225800"/>
              <a:gd name="connsiteX23" fmla="*/ 939800 w 5372100"/>
              <a:gd name="connsiteY23" fmla="*/ 1879600 h 3225800"/>
              <a:gd name="connsiteX24" fmla="*/ 1016000 w 5372100"/>
              <a:gd name="connsiteY24" fmla="*/ 1879600 h 3225800"/>
              <a:gd name="connsiteX25" fmla="*/ 1016000 w 5372100"/>
              <a:gd name="connsiteY25" fmla="*/ 2000250 h 3225800"/>
              <a:gd name="connsiteX26" fmla="*/ 1117600 w 5372100"/>
              <a:gd name="connsiteY26" fmla="*/ 2000250 h 3225800"/>
              <a:gd name="connsiteX27" fmla="*/ 1257300 w 5372100"/>
              <a:gd name="connsiteY27" fmla="*/ 2159000 h 3225800"/>
              <a:gd name="connsiteX28" fmla="*/ 1504950 w 5372100"/>
              <a:gd name="connsiteY28" fmla="*/ 2336800 h 3225800"/>
              <a:gd name="connsiteX29" fmla="*/ 1651000 w 5372100"/>
              <a:gd name="connsiteY29" fmla="*/ 2438400 h 3225800"/>
              <a:gd name="connsiteX30" fmla="*/ 1968500 w 5372100"/>
              <a:gd name="connsiteY30" fmla="*/ 2654300 h 3225800"/>
              <a:gd name="connsiteX31" fmla="*/ 2127250 w 5372100"/>
              <a:gd name="connsiteY31" fmla="*/ 2711450 h 3225800"/>
              <a:gd name="connsiteX32" fmla="*/ 2425700 w 5372100"/>
              <a:gd name="connsiteY32" fmla="*/ 2730500 h 3225800"/>
              <a:gd name="connsiteX33" fmla="*/ 2425700 w 5372100"/>
              <a:gd name="connsiteY33" fmla="*/ 2781300 h 3225800"/>
              <a:gd name="connsiteX34" fmla="*/ 2641600 w 5372100"/>
              <a:gd name="connsiteY34" fmla="*/ 2781300 h 3225800"/>
              <a:gd name="connsiteX35" fmla="*/ 3028950 w 5372100"/>
              <a:gd name="connsiteY35" fmla="*/ 2927350 h 3225800"/>
              <a:gd name="connsiteX36" fmla="*/ 3206750 w 5372100"/>
              <a:gd name="connsiteY36" fmla="*/ 2940050 h 3225800"/>
              <a:gd name="connsiteX37" fmla="*/ 3206750 w 5372100"/>
              <a:gd name="connsiteY37" fmla="*/ 3022600 h 3225800"/>
              <a:gd name="connsiteX38" fmla="*/ 3467100 w 5372100"/>
              <a:gd name="connsiteY38" fmla="*/ 3022600 h 3225800"/>
              <a:gd name="connsiteX39" fmla="*/ 3467100 w 5372100"/>
              <a:gd name="connsiteY39" fmla="*/ 3073400 h 3225800"/>
              <a:gd name="connsiteX40" fmla="*/ 3962400 w 5372100"/>
              <a:gd name="connsiteY40" fmla="*/ 3073400 h 3225800"/>
              <a:gd name="connsiteX41" fmla="*/ 3962400 w 5372100"/>
              <a:gd name="connsiteY41" fmla="*/ 3136900 h 3225800"/>
              <a:gd name="connsiteX42" fmla="*/ 4800600 w 5372100"/>
              <a:gd name="connsiteY42" fmla="*/ 3136900 h 3225800"/>
              <a:gd name="connsiteX43" fmla="*/ 4800600 w 5372100"/>
              <a:gd name="connsiteY43" fmla="*/ 3225800 h 3225800"/>
              <a:gd name="connsiteX44" fmla="*/ 5372100 w 5372100"/>
              <a:gd name="connsiteY44" fmla="*/ 3225800 h 322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5372100" h="3225800">
                <a:moveTo>
                  <a:pt x="0" y="0"/>
                </a:moveTo>
                <a:lnTo>
                  <a:pt x="0" y="177800"/>
                </a:lnTo>
                <a:lnTo>
                  <a:pt x="69850" y="203200"/>
                </a:lnTo>
                <a:lnTo>
                  <a:pt x="69850" y="292100"/>
                </a:lnTo>
                <a:lnTo>
                  <a:pt x="69850" y="292100"/>
                </a:lnTo>
                <a:lnTo>
                  <a:pt x="152400" y="323850"/>
                </a:lnTo>
                <a:lnTo>
                  <a:pt x="152400" y="476250"/>
                </a:lnTo>
                <a:lnTo>
                  <a:pt x="196850" y="476250"/>
                </a:lnTo>
                <a:lnTo>
                  <a:pt x="196850" y="590550"/>
                </a:lnTo>
                <a:lnTo>
                  <a:pt x="266700" y="590550"/>
                </a:lnTo>
                <a:lnTo>
                  <a:pt x="266700" y="768350"/>
                </a:lnTo>
                <a:lnTo>
                  <a:pt x="330200" y="768350"/>
                </a:lnTo>
                <a:lnTo>
                  <a:pt x="330200" y="1028700"/>
                </a:lnTo>
                <a:lnTo>
                  <a:pt x="412750" y="1028700"/>
                </a:lnTo>
                <a:lnTo>
                  <a:pt x="412750" y="1104900"/>
                </a:lnTo>
                <a:lnTo>
                  <a:pt x="520700" y="1282700"/>
                </a:lnTo>
                <a:lnTo>
                  <a:pt x="596900" y="1333500"/>
                </a:lnTo>
                <a:lnTo>
                  <a:pt x="596900" y="1454150"/>
                </a:lnTo>
                <a:lnTo>
                  <a:pt x="647700" y="1454150"/>
                </a:lnTo>
                <a:lnTo>
                  <a:pt x="749300" y="1631950"/>
                </a:lnTo>
                <a:lnTo>
                  <a:pt x="793750" y="1765300"/>
                </a:lnTo>
                <a:lnTo>
                  <a:pt x="850900" y="1822450"/>
                </a:lnTo>
                <a:lnTo>
                  <a:pt x="939800" y="1841500"/>
                </a:lnTo>
                <a:lnTo>
                  <a:pt x="939800" y="1879600"/>
                </a:lnTo>
                <a:lnTo>
                  <a:pt x="1016000" y="1879600"/>
                </a:lnTo>
                <a:lnTo>
                  <a:pt x="1016000" y="2000250"/>
                </a:lnTo>
                <a:lnTo>
                  <a:pt x="1117600" y="2000250"/>
                </a:lnTo>
                <a:lnTo>
                  <a:pt x="1257300" y="2159000"/>
                </a:lnTo>
                <a:lnTo>
                  <a:pt x="1504950" y="2336800"/>
                </a:lnTo>
                <a:lnTo>
                  <a:pt x="1651000" y="2438400"/>
                </a:lnTo>
                <a:lnTo>
                  <a:pt x="1968500" y="2654300"/>
                </a:lnTo>
                <a:lnTo>
                  <a:pt x="2127250" y="2711450"/>
                </a:lnTo>
                <a:lnTo>
                  <a:pt x="2425700" y="2730500"/>
                </a:lnTo>
                <a:lnTo>
                  <a:pt x="2425700" y="2781300"/>
                </a:lnTo>
                <a:lnTo>
                  <a:pt x="2641600" y="2781300"/>
                </a:lnTo>
                <a:lnTo>
                  <a:pt x="3028950" y="2927350"/>
                </a:lnTo>
                <a:lnTo>
                  <a:pt x="3206750" y="2940050"/>
                </a:lnTo>
                <a:lnTo>
                  <a:pt x="3206750" y="3022600"/>
                </a:lnTo>
                <a:lnTo>
                  <a:pt x="3467100" y="3022600"/>
                </a:lnTo>
                <a:lnTo>
                  <a:pt x="3467100" y="3073400"/>
                </a:lnTo>
                <a:lnTo>
                  <a:pt x="3962400" y="3073400"/>
                </a:lnTo>
                <a:lnTo>
                  <a:pt x="3962400" y="3136900"/>
                </a:lnTo>
                <a:lnTo>
                  <a:pt x="4800600" y="3136900"/>
                </a:lnTo>
                <a:lnTo>
                  <a:pt x="4800600" y="3225800"/>
                </a:lnTo>
                <a:lnTo>
                  <a:pt x="5372100" y="3225800"/>
                </a:lnTo>
              </a:path>
            </a:pathLst>
          </a:cu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71675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425">
              <a:solidFill>
                <a:srgbClr val="BC4800"/>
              </a:solidFill>
              <a:latin typeface="Arial" charset="0"/>
            </a:endParaRPr>
          </a:p>
        </p:txBody>
      </p:sp>
      <p:grpSp>
        <p:nvGrpSpPr>
          <p:cNvPr id="1640" name="Group 1639">
            <a:extLst>
              <a:ext uri="{FF2B5EF4-FFF2-40B4-BE49-F238E27FC236}">
                <a16:creationId xmlns:a16="http://schemas.microsoft.com/office/drawing/2014/main" id="{587405C9-B2DD-4B98-9FE7-060B563F1B85}"/>
              </a:ext>
            </a:extLst>
          </p:cNvPr>
          <p:cNvGrpSpPr/>
          <p:nvPr/>
        </p:nvGrpSpPr>
        <p:grpSpPr>
          <a:xfrm>
            <a:off x="3220949" y="1869072"/>
            <a:ext cx="4208687" cy="1947863"/>
            <a:chOff x="2051270" y="2151616"/>
            <a:chExt cx="5611582" cy="2597150"/>
          </a:xfrm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B157F7A0-CDEB-4FCD-A642-833325565D99}"/>
                </a:ext>
              </a:extLst>
            </p:cNvPr>
            <p:cNvGrpSpPr/>
            <p:nvPr/>
          </p:nvGrpSpPr>
          <p:grpSpPr>
            <a:xfrm>
              <a:off x="2051270" y="2151616"/>
              <a:ext cx="70461" cy="72000"/>
              <a:chOff x="5800094" y="2078182"/>
              <a:chExt cx="70461" cy="72000"/>
            </a:xfrm>
          </p:grpSpPr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5E706D82-F252-4A38-B0D1-D7B5042C1E0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AF435FE7-BF30-4AC5-A766-8394404200A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60778271-22AF-4002-913E-4C26C1AC8B18}"/>
                </a:ext>
              </a:extLst>
            </p:cNvPr>
            <p:cNvGrpSpPr/>
            <p:nvPr/>
          </p:nvGrpSpPr>
          <p:grpSpPr>
            <a:xfrm>
              <a:off x="2102070" y="2198770"/>
              <a:ext cx="70461" cy="72000"/>
              <a:chOff x="5800094" y="2078182"/>
              <a:chExt cx="70461" cy="72000"/>
            </a:xfrm>
          </p:grpSpPr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82025BF8-A0AE-4530-AE07-C6F96098FD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855E09A0-0E3D-48DA-A6DA-86915BCC0B6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491ADDC4-9613-4ED3-B051-9EABD8312B74}"/>
                </a:ext>
              </a:extLst>
            </p:cNvPr>
            <p:cNvGrpSpPr/>
            <p:nvPr/>
          </p:nvGrpSpPr>
          <p:grpSpPr>
            <a:xfrm>
              <a:off x="2154992" y="2236032"/>
              <a:ext cx="70461" cy="72000"/>
              <a:chOff x="5800094" y="2078182"/>
              <a:chExt cx="70461" cy="72000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F5387995-B5E2-4061-BEDC-17FAEE8A6A9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F7AA9A12-9601-4039-A1B0-D7915D009EA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56F9D891-181B-4D14-B4B9-30A57B6634CA}"/>
                </a:ext>
              </a:extLst>
            </p:cNvPr>
            <p:cNvGrpSpPr/>
            <p:nvPr/>
          </p:nvGrpSpPr>
          <p:grpSpPr>
            <a:xfrm>
              <a:off x="2504242" y="2597923"/>
              <a:ext cx="70461" cy="72000"/>
              <a:chOff x="5800094" y="2078182"/>
              <a:chExt cx="70461" cy="72000"/>
            </a:xfrm>
          </p:grpSpPr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32413436-631E-4BA6-969A-45EEC1D91EC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ECDE377D-6E74-417A-8CF5-831383EC89D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10E80FFC-A760-40A5-946A-50E2624951BF}"/>
                </a:ext>
              </a:extLst>
            </p:cNvPr>
            <p:cNvGrpSpPr/>
            <p:nvPr/>
          </p:nvGrpSpPr>
          <p:grpSpPr>
            <a:xfrm>
              <a:off x="2729926" y="2830619"/>
              <a:ext cx="70461" cy="72000"/>
              <a:chOff x="5800094" y="2078182"/>
              <a:chExt cx="70461" cy="72000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5DB754F3-539B-4AE8-8DC3-693D616B369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93098108-13BB-48A9-B78F-6A5F96D1026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1FE534DA-7174-4816-A9B4-06B091D646F1}"/>
                </a:ext>
              </a:extLst>
            </p:cNvPr>
            <p:cNvGrpSpPr/>
            <p:nvPr/>
          </p:nvGrpSpPr>
          <p:grpSpPr>
            <a:xfrm>
              <a:off x="3114390" y="3169502"/>
              <a:ext cx="70461" cy="72000"/>
              <a:chOff x="5800094" y="2078182"/>
              <a:chExt cx="70461" cy="72000"/>
            </a:xfrm>
          </p:grpSpPr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3E3F7007-2F88-473D-B9FC-51E8771C759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4ECD601A-90DD-49E0-A1B2-ABB13AB842C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AA920748-36AD-498D-B0BA-01E1BF19F45A}"/>
                </a:ext>
              </a:extLst>
            </p:cNvPr>
            <p:cNvGrpSpPr/>
            <p:nvPr/>
          </p:nvGrpSpPr>
          <p:grpSpPr>
            <a:xfrm>
              <a:off x="3514440" y="3534178"/>
              <a:ext cx="70461" cy="72000"/>
              <a:chOff x="5800094" y="2078182"/>
              <a:chExt cx="70461" cy="72000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4A95F50D-D468-4FCF-96DD-49FAB8B5AAB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5AEB0534-0FCA-45E0-A83D-D64E7F2D991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5AEAC6ED-238A-4077-809A-7ED028CE2794}"/>
                </a:ext>
              </a:extLst>
            </p:cNvPr>
            <p:cNvGrpSpPr/>
            <p:nvPr/>
          </p:nvGrpSpPr>
          <p:grpSpPr>
            <a:xfrm>
              <a:off x="3673984" y="3595497"/>
              <a:ext cx="70461" cy="72000"/>
              <a:chOff x="5800094" y="2078182"/>
              <a:chExt cx="70461" cy="72000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10BCB813-F76B-4F17-A360-48E6D0D972E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4CAA4DF5-1385-4F86-BF00-E62B66F8691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2B79060F-6C63-4432-A88E-B5B3C3333FEF}"/>
                </a:ext>
              </a:extLst>
            </p:cNvPr>
            <p:cNvGrpSpPr/>
            <p:nvPr/>
          </p:nvGrpSpPr>
          <p:grpSpPr>
            <a:xfrm>
              <a:off x="3705964" y="3595497"/>
              <a:ext cx="70461" cy="72000"/>
              <a:chOff x="5800094" y="2078182"/>
              <a:chExt cx="70461" cy="72000"/>
            </a:xfrm>
          </p:grpSpPr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242917C7-8E19-4AA9-BE08-F44D077773F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1" name="Straight Connector 100">
                <a:extLst>
                  <a:ext uri="{FF2B5EF4-FFF2-40B4-BE49-F238E27FC236}">
                    <a16:creationId xmlns:a16="http://schemas.microsoft.com/office/drawing/2014/main" id="{59392C0A-3E2E-434C-A90E-2B481696A7B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412C8A20-0ADD-462A-ADA7-2BDB48CF5AFC}"/>
                </a:ext>
              </a:extLst>
            </p:cNvPr>
            <p:cNvGrpSpPr/>
            <p:nvPr/>
          </p:nvGrpSpPr>
          <p:grpSpPr>
            <a:xfrm>
              <a:off x="3863125" y="3690416"/>
              <a:ext cx="70461" cy="72000"/>
              <a:chOff x="5800094" y="2078182"/>
              <a:chExt cx="70461" cy="72000"/>
            </a:xfrm>
          </p:grpSpPr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972B8D5C-BFDF-47B5-AF4D-BEA85D6FFC8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A611AD3D-7732-4FEE-A05A-5D873F0B8AE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1627C32F-5643-47E2-B582-DF60C689B0BB}"/>
                </a:ext>
              </a:extLst>
            </p:cNvPr>
            <p:cNvGrpSpPr/>
            <p:nvPr/>
          </p:nvGrpSpPr>
          <p:grpSpPr>
            <a:xfrm>
              <a:off x="3871972" y="3757604"/>
              <a:ext cx="70461" cy="72000"/>
              <a:chOff x="5800094" y="2078182"/>
              <a:chExt cx="70461" cy="72000"/>
            </a:xfrm>
          </p:grpSpPr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6BD15CAB-7596-44D8-9135-A418E497ABF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1FDBCEA1-A568-480C-B757-D6454A90EC2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057923ED-3328-43E7-A59E-668E14DD2527}"/>
                </a:ext>
              </a:extLst>
            </p:cNvPr>
            <p:cNvGrpSpPr/>
            <p:nvPr/>
          </p:nvGrpSpPr>
          <p:grpSpPr>
            <a:xfrm>
              <a:off x="3901230" y="3757604"/>
              <a:ext cx="70461" cy="72000"/>
              <a:chOff x="5800094" y="2078182"/>
              <a:chExt cx="70461" cy="72000"/>
            </a:xfrm>
          </p:grpSpPr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FD8FD6F4-8C49-4112-92EA-311CE676828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56A28875-B946-44C9-996D-F30F56D732D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C7038C61-956E-4797-8C79-C22FD68D7B92}"/>
                </a:ext>
              </a:extLst>
            </p:cNvPr>
            <p:cNvGrpSpPr/>
            <p:nvPr/>
          </p:nvGrpSpPr>
          <p:grpSpPr>
            <a:xfrm>
              <a:off x="4060198" y="3813615"/>
              <a:ext cx="70461" cy="72000"/>
              <a:chOff x="5800094" y="2078182"/>
              <a:chExt cx="70461" cy="72000"/>
            </a:xfrm>
          </p:grpSpPr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E3791A49-9246-41E9-B9DC-1F8D3D135B7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4079E32F-E02C-4280-9F5E-75F6132CF72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54369940-E95B-4F8E-88B1-1F522CC2C2D2}"/>
                </a:ext>
              </a:extLst>
            </p:cNvPr>
            <p:cNvGrpSpPr/>
            <p:nvPr/>
          </p:nvGrpSpPr>
          <p:grpSpPr>
            <a:xfrm>
              <a:off x="4260504" y="3926303"/>
              <a:ext cx="70461" cy="72000"/>
              <a:chOff x="5800094" y="2078182"/>
              <a:chExt cx="70461" cy="72000"/>
            </a:xfrm>
          </p:grpSpPr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D663B46F-5B27-453B-9B17-07C8E1BCA4E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A4B9455-8367-4631-A469-171E70F56C8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9BFD84BA-4A13-4723-928D-15B257AAB5B4}"/>
                </a:ext>
              </a:extLst>
            </p:cNvPr>
            <p:cNvGrpSpPr/>
            <p:nvPr/>
          </p:nvGrpSpPr>
          <p:grpSpPr>
            <a:xfrm>
              <a:off x="4441479" y="4116972"/>
              <a:ext cx="70461" cy="72000"/>
              <a:chOff x="5800094" y="2078182"/>
              <a:chExt cx="70461" cy="72000"/>
            </a:xfrm>
          </p:grpSpPr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65C4E3ED-A147-4FEA-89FF-3CCD89375A4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53E4C2B5-9858-4035-8056-01ABB66168F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BDB976A5-4E8B-4A09-846B-1276BE7BA83A}"/>
                </a:ext>
              </a:extLst>
            </p:cNvPr>
            <p:cNvGrpSpPr/>
            <p:nvPr/>
          </p:nvGrpSpPr>
          <p:grpSpPr>
            <a:xfrm>
              <a:off x="4489632" y="4242209"/>
              <a:ext cx="70461" cy="72000"/>
              <a:chOff x="5800094" y="2078182"/>
              <a:chExt cx="70461" cy="72000"/>
            </a:xfrm>
          </p:grpSpPr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2DB0157A-BCA3-48D6-B645-BC60ECE8B21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AC9ADBB8-51B0-49EA-9B03-70937A7C96B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19657DE7-5916-4B29-8A63-7B7B8BFCA80F}"/>
                </a:ext>
              </a:extLst>
            </p:cNvPr>
            <p:cNvGrpSpPr/>
            <p:nvPr/>
          </p:nvGrpSpPr>
          <p:grpSpPr>
            <a:xfrm>
              <a:off x="4683498" y="4326721"/>
              <a:ext cx="70461" cy="72000"/>
              <a:chOff x="5800094" y="2078182"/>
              <a:chExt cx="70461" cy="72000"/>
            </a:xfrm>
          </p:grpSpPr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BD9B7D19-1744-4D54-9305-651DB71F470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798B8153-D5E8-49AF-BF31-7EAB469931C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46D5C20E-6B46-4D3C-8670-A86794F7613E}"/>
                </a:ext>
              </a:extLst>
            </p:cNvPr>
            <p:cNvGrpSpPr/>
            <p:nvPr/>
          </p:nvGrpSpPr>
          <p:grpSpPr>
            <a:xfrm>
              <a:off x="4760303" y="4377292"/>
              <a:ext cx="70461" cy="72000"/>
              <a:chOff x="5800094" y="2078182"/>
              <a:chExt cx="70461" cy="72000"/>
            </a:xfrm>
          </p:grpSpPr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774CD3F3-4A23-4CBF-A7D7-610ECC16799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B4B1755E-D17F-46A7-BC4F-CCE473CE8EA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37AE6869-D1D6-48BA-8DD8-2615FDA352E4}"/>
                </a:ext>
              </a:extLst>
            </p:cNvPr>
            <p:cNvGrpSpPr/>
            <p:nvPr/>
          </p:nvGrpSpPr>
          <p:grpSpPr>
            <a:xfrm>
              <a:off x="4862685" y="4377292"/>
              <a:ext cx="70461" cy="72000"/>
              <a:chOff x="5800094" y="2078182"/>
              <a:chExt cx="70461" cy="72000"/>
            </a:xfrm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E8EE23F4-E2CC-41EC-A3D3-CA00FC6C04A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76C3864-8153-4CB3-BA36-6F4C6ADEA4C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B2BD7816-20FB-439C-9BED-04A7E988156D}"/>
                </a:ext>
              </a:extLst>
            </p:cNvPr>
            <p:cNvGrpSpPr/>
            <p:nvPr/>
          </p:nvGrpSpPr>
          <p:grpSpPr>
            <a:xfrm>
              <a:off x="4974881" y="4377292"/>
              <a:ext cx="70461" cy="72000"/>
              <a:chOff x="5800094" y="2078182"/>
              <a:chExt cx="70461" cy="72000"/>
            </a:xfrm>
          </p:grpSpPr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46EE8CF1-2AA5-44EC-A39B-A8FA6173CBC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461817FF-51B3-4816-800D-7AF13A524EA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3AEEFDC8-9882-40D9-8EFD-7EE00F12F5E7}"/>
                </a:ext>
              </a:extLst>
            </p:cNvPr>
            <p:cNvGrpSpPr/>
            <p:nvPr/>
          </p:nvGrpSpPr>
          <p:grpSpPr>
            <a:xfrm>
              <a:off x="5010180" y="4377292"/>
              <a:ext cx="70461" cy="72000"/>
              <a:chOff x="5800094" y="2078182"/>
              <a:chExt cx="70461" cy="72000"/>
            </a:xfrm>
          </p:grpSpPr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9F596264-819C-446D-A2C4-7340D5446C9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B328A82A-1E12-4EE9-8838-9E299CC84BA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CD29FBFA-ABA6-4255-AB77-F1CE44CFCFA6}"/>
                </a:ext>
              </a:extLst>
            </p:cNvPr>
            <p:cNvGrpSpPr/>
            <p:nvPr/>
          </p:nvGrpSpPr>
          <p:grpSpPr>
            <a:xfrm>
              <a:off x="5078603" y="4406891"/>
              <a:ext cx="70461" cy="72000"/>
              <a:chOff x="5800094" y="2078182"/>
              <a:chExt cx="70461" cy="72000"/>
            </a:xfrm>
          </p:grpSpPr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57357445-9BCA-486F-AC0A-62EE43659CF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8" name="Straight Connector 147">
                <a:extLst>
                  <a:ext uri="{FF2B5EF4-FFF2-40B4-BE49-F238E27FC236}">
                    <a16:creationId xmlns:a16="http://schemas.microsoft.com/office/drawing/2014/main" id="{E27A982B-8AD7-4ABD-8FBC-E275A5F08D1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DCBA2C90-BAF6-44CA-A07E-008AA4264965}"/>
                </a:ext>
              </a:extLst>
            </p:cNvPr>
            <p:cNvGrpSpPr/>
            <p:nvPr/>
          </p:nvGrpSpPr>
          <p:grpSpPr>
            <a:xfrm>
              <a:off x="5113694" y="4406891"/>
              <a:ext cx="70461" cy="72000"/>
              <a:chOff x="5800094" y="2078182"/>
              <a:chExt cx="70461" cy="72000"/>
            </a:xfrm>
          </p:grpSpPr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F409C82E-F980-44E5-AFDE-38882D5C073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8F03AEB4-16FE-4957-8A77-06E39ED626D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CACF0BCE-C8E1-4865-AB9D-3AACD7D9C054}"/>
                </a:ext>
              </a:extLst>
            </p:cNvPr>
            <p:cNvGrpSpPr/>
            <p:nvPr/>
          </p:nvGrpSpPr>
          <p:grpSpPr>
            <a:xfrm>
              <a:off x="5137686" y="4406891"/>
              <a:ext cx="70461" cy="72000"/>
              <a:chOff x="5800094" y="2078182"/>
              <a:chExt cx="70461" cy="72000"/>
            </a:xfrm>
          </p:grpSpPr>
          <p:cxnSp>
            <p:nvCxnSpPr>
              <p:cNvPr id="153" name="Straight Connector 152">
                <a:extLst>
                  <a:ext uri="{FF2B5EF4-FFF2-40B4-BE49-F238E27FC236}">
                    <a16:creationId xmlns:a16="http://schemas.microsoft.com/office/drawing/2014/main" id="{4C89F346-4093-4877-BDDB-A96E55B64D2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4" name="Straight Connector 153">
                <a:extLst>
                  <a:ext uri="{FF2B5EF4-FFF2-40B4-BE49-F238E27FC236}">
                    <a16:creationId xmlns:a16="http://schemas.microsoft.com/office/drawing/2014/main" id="{9A6D181F-447C-4E0C-859C-7B8B7796D75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CE0F689E-54FE-48B1-8600-02DD1B97F92F}"/>
                </a:ext>
              </a:extLst>
            </p:cNvPr>
            <p:cNvGrpSpPr/>
            <p:nvPr/>
          </p:nvGrpSpPr>
          <p:grpSpPr>
            <a:xfrm>
              <a:off x="5220291" y="4478891"/>
              <a:ext cx="70461" cy="72000"/>
              <a:chOff x="5800094" y="2078182"/>
              <a:chExt cx="70461" cy="72000"/>
            </a:xfrm>
          </p:grpSpPr>
          <p:cxnSp>
            <p:nvCxnSpPr>
              <p:cNvPr id="156" name="Straight Connector 155">
                <a:extLst>
                  <a:ext uri="{FF2B5EF4-FFF2-40B4-BE49-F238E27FC236}">
                    <a16:creationId xmlns:a16="http://schemas.microsoft.com/office/drawing/2014/main" id="{8AA78B9C-090F-435C-AB6F-41281DAFFFE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12B73EBF-C676-48BE-83FA-0AE0DF75DC5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769AF6FB-8D0E-45AC-B322-C18585B1BD78}"/>
                </a:ext>
              </a:extLst>
            </p:cNvPr>
            <p:cNvGrpSpPr/>
            <p:nvPr/>
          </p:nvGrpSpPr>
          <p:grpSpPr>
            <a:xfrm>
              <a:off x="5305357" y="4478891"/>
              <a:ext cx="70461" cy="72000"/>
              <a:chOff x="5800094" y="2078182"/>
              <a:chExt cx="70461" cy="72000"/>
            </a:xfrm>
          </p:grpSpPr>
          <p:cxnSp>
            <p:nvCxnSpPr>
              <p:cNvPr id="159" name="Straight Connector 158">
                <a:extLst>
                  <a:ext uri="{FF2B5EF4-FFF2-40B4-BE49-F238E27FC236}">
                    <a16:creationId xmlns:a16="http://schemas.microsoft.com/office/drawing/2014/main" id="{16353242-B552-4CE9-BE88-F6686CFE818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0" name="Straight Connector 159">
                <a:extLst>
                  <a:ext uri="{FF2B5EF4-FFF2-40B4-BE49-F238E27FC236}">
                    <a16:creationId xmlns:a16="http://schemas.microsoft.com/office/drawing/2014/main" id="{B6FB8BB1-1FD1-4E1C-B49A-39661A94B70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D29BEDF6-9EB7-46BD-A8D7-3C1D1262B8A7}"/>
                </a:ext>
              </a:extLst>
            </p:cNvPr>
            <p:cNvGrpSpPr/>
            <p:nvPr/>
          </p:nvGrpSpPr>
          <p:grpSpPr>
            <a:xfrm>
              <a:off x="5425432" y="4478891"/>
              <a:ext cx="70461" cy="72000"/>
              <a:chOff x="5800094" y="2078182"/>
              <a:chExt cx="70461" cy="72000"/>
            </a:xfrm>
          </p:grpSpPr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AD9BF00B-79C2-416E-9703-0843633B05A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3" name="Straight Connector 162">
                <a:extLst>
                  <a:ext uri="{FF2B5EF4-FFF2-40B4-BE49-F238E27FC236}">
                    <a16:creationId xmlns:a16="http://schemas.microsoft.com/office/drawing/2014/main" id="{4AFA349D-0673-402E-BF7E-5EC1B3129FA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68" name="Group 167">
              <a:extLst>
                <a:ext uri="{FF2B5EF4-FFF2-40B4-BE49-F238E27FC236}">
                  <a16:creationId xmlns:a16="http://schemas.microsoft.com/office/drawing/2014/main" id="{5E422708-A704-414E-BCDF-1C96D6EB553A}"/>
                </a:ext>
              </a:extLst>
            </p:cNvPr>
            <p:cNvGrpSpPr/>
            <p:nvPr/>
          </p:nvGrpSpPr>
          <p:grpSpPr>
            <a:xfrm>
              <a:off x="5508037" y="4550891"/>
              <a:ext cx="70461" cy="72000"/>
              <a:chOff x="5800094" y="2078182"/>
              <a:chExt cx="70461" cy="72000"/>
            </a:xfrm>
          </p:grpSpPr>
          <p:cxnSp>
            <p:nvCxnSpPr>
              <p:cNvPr id="169" name="Straight Connector 168">
                <a:extLst>
                  <a:ext uri="{FF2B5EF4-FFF2-40B4-BE49-F238E27FC236}">
                    <a16:creationId xmlns:a16="http://schemas.microsoft.com/office/drawing/2014/main" id="{B98DAFED-46D3-470D-A573-EF37859C5A9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70" name="Straight Connector 169">
                <a:extLst>
                  <a:ext uri="{FF2B5EF4-FFF2-40B4-BE49-F238E27FC236}">
                    <a16:creationId xmlns:a16="http://schemas.microsoft.com/office/drawing/2014/main" id="{8BCAB68A-E062-4CA6-B948-309AA8FEC0F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F2AC7DD5-C69A-4B53-A73C-DEDF0CB2AF1D}"/>
                </a:ext>
              </a:extLst>
            </p:cNvPr>
            <p:cNvGrpSpPr/>
            <p:nvPr/>
          </p:nvGrpSpPr>
          <p:grpSpPr>
            <a:xfrm>
              <a:off x="5543615" y="4550891"/>
              <a:ext cx="70461" cy="72000"/>
              <a:chOff x="5800094" y="2078182"/>
              <a:chExt cx="70461" cy="72000"/>
            </a:xfrm>
          </p:grpSpPr>
          <p:cxnSp>
            <p:nvCxnSpPr>
              <p:cNvPr id="172" name="Straight Connector 171">
                <a:extLst>
                  <a:ext uri="{FF2B5EF4-FFF2-40B4-BE49-F238E27FC236}">
                    <a16:creationId xmlns:a16="http://schemas.microsoft.com/office/drawing/2014/main" id="{52FEDEE9-2F79-4C92-88D8-0DF61D69916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73" name="Straight Connector 172">
                <a:extLst>
                  <a:ext uri="{FF2B5EF4-FFF2-40B4-BE49-F238E27FC236}">
                    <a16:creationId xmlns:a16="http://schemas.microsoft.com/office/drawing/2014/main" id="{DB606EE3-7F53-44FA-8767-A62CA8B31CA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5E8D92D0-647A-4600-8DE1-297486E3F1D8}"/>
                </a:ext>
              </a:extLst>
            </p:cNvPr>
            <p:cNvGrpSpPr/>
            <p:nvPr/>
          </p:nvGrpSpPr>
          <p:grpSpPr>
            <a:xfrm>
              <a:off x="5573682" y="4550891"/>
              <a:ext cx="70461" cy="72000"/>
              <a:chOff x="5800094" y="2078182"/>
              <a:chExt cx="70461" cy="72000"/>
            </a:xfrm>
          </p:grpSpPr>
          <p:cxnSp>
            <p:nvCxnSpPr>
              <p:cNvPr id="175" name="Straight Connector 174">
                <a:extLst>
                  <a:ext uri="{FF2B5EF4-FFF2-40B4-BE49-F238E27FC236}">
                    <a16:creationId xmlns:a16="http://schemas.microsoft.com/office/drawing/2014/main" id="{85226339-2268-4955-9E47-9311E383340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6944874E-057C-4D6A-9963-F67381FEF26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F079729C-6C5C-4F21-8B6F-AA6EE9A1F23D}"/>
                </a:ext>
              </a:extLst>
            </p:cNvPr>
            <p:cNvGrpSpPr/>
            <p:nvPr/>
          </p:nvGrpSpPr>
          <p:grpSpPr>
            <a:xfrm>
              <a:off x="5616583" y="4550891"/>
              <a:ext cx="70461" cy="72000"/>
              <a:chOff x="5800094" y="2078182"/>
              <a:chExt cx="70461" cy="72000"/>
            </a:xfrm>
          </p:grpSpPr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A6576070-AF9E-4813-B81E-AC6C185BA96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79" name="Straight Connector 178">
                <a:extLst>
                  <a:ext uri="{FF2B5EF4-FFF2-40B4-BE49-F238E27FC236}">
                    <a16:creationId xmlns:a16="http://schemas.microsoft.com/office/drawing/2014/main" id="{28F4A017-51FC-4549-BC09-9426CC7D81A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CDA64AF5-6488-4CBD-B8E2-18E75EF96286}"/>
                </a:ext>
              </a:extLst>
            </p:cNvPr>
            <p:cNvGrpSpPr/>
            <p:nvPr/>
          </p:nvGrpSpPr>
          <p:grpSpPr>
            <a:xfrm>
              <a:off x="5737483" y="4550891"/>
              <a:ext cx="70461" cy="72000"/>
              <a:chOff x="5800094" y="2078182"/>
              <a:chExt cx="70461" cy="72000"/>
            </a:xfrm>
          </p:grpSpPr>
          <p:cxnSp>
            <p:nvCxnSpPr>
              <p:cNvPr id="181" name="Straight Connector 180">
                <a:extLst>
                  <a:ext uri="{FF2B5EF4-FFF2-40B4-BE49-F238E27FC236}">
                    <a16:creationId xmlns:a16="http://schemas.microsoft.com/office/drawing/2014/main" id="{03E268BF-740C-4B23-84FF-6A5BC0F84A6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82" name="Straight Connector 181">
                <a:extLst>
                  <a:ext uri="{FF2B5EF4-FFF2-40B4-BE49-F238E27FC236}">
                    <a16:creationId xmlns:a16="http://schemas.microsoft.com/office/drawing/2014/main" id="{98AB6681-2BB2-4D60-8AE5-7664CFB7F14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E38782C5-68AB-414D-AC92-7B87C52585CD}"/>
                </a:ext>
              </a:extLst>
            </p:cNvPr>
            <p:cNvGrpSpPr/>
            <p:nvPr/>
          </p:nvGrpSpPr>
          <p:grpSpPr>
            <a:xfrm>
              <a:off x="6152780" y="4676766"/>
              <a:ext cx="70461" cy="72000"/>
              <a:chOff x="5800094" y="2078182"/>
              <a:chExt cx="70461" cy="72000"/>
            </a:xfrm>
          </p:grpSpPr>
          <p:cxnSp>
            <p:nvCxnSpPr>
              <p:cNvPr id="184" name="Straight Connector 183">
                <a:extLst>
                  <a:ext uri="{FF2B5EF4-FFF2-40B4-BE49-F238E27FC236}">
                    <a16:creationId xmlns:a16="http://schemas.microsoft.com/office/drawing/2014/main" id="{4E2DF9F1-2F0B-4496-9C35-37DF4A9B1DE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85" name="Straight Connector 184">
                <a:extLst>
                  <a:ext uri="{FF2B5EF4-FFF2-40B4-BE49-F238E27FC236}">
                    <a16:creationId xmlns:a16="http://schemas.microsoft.com/office/drawing/2014/main" id="{BA9A56A5-CA4B-452B-86D6-C2EF056AF36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712E9691-C96A-4909-B5AA-2226CE47FED0}"/>
                </a:ext>
              </a:extLst>
            </p:cNvPr>
            <p:cNvGrpSpPr/>
            <p:nvPr/>
          </p:nvGrpSpPr>
          <p:grpSpPr>
            <a:xfrm>
              <a:off x="6481900" y="4676766"/>
              <a:ext cx="70461" cy="72000"/>
              <a:chOff x="5800094" y="2078182"/>
              <a:chExt cx="70461" cy="72000"/>
            </a:xfrm>
          </p:grpSpPr>
          <p:cxnSp>
            <p:nvCxnSpPr>
              <p:cNvPr id="187" name="Straight Connector 186">
                <a:extLst>
                  <a:ext uri="{FF2B5EF4-FFF2-40B4-BE49-F238E27FC236}">
                    <a16:creationId xmlns:a16="http://schemas.microsoft.com/office/drawing/2014/main" id="{04694FA7-E849-437D-9898-76229885F2C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88" name="Straight Connector 187">
                <a:extLst>
                  <a:ext uri="{FF2B5EF4-FFF2-40B4-BE49-F238E27FC236}">
                    <a16:creationId xmlns:a16="http://schemas.microsoft.com/office/drawing/2014/main" id="{B31C9E6E-2FB0-47F7-974B-6437E47B7D3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93" name="Group 192">
              <a:extLst>
                <a:ext uri="{FF2B5EF4-FFF2-40B4-BE49-F238E27FC236}">
                  <a16:creationId xmlns:a16="http://schemas.microsoft.com/office/drawing/2014/main" id="{523FDC77-45AE-41DF-A46D-10E4B218D0C4}"/>
                </a:ext>
              </a:extLst>
            </p:cNvPr>
            <p:cNvGrpSpPr/>
            <p:nvPr/>
          </p:nvGrpSpPr>
          <p:grpSpPr>
            <a:xfrm>
              <a:off x="6568985" y="4676766"/>
              <a:ext cx="70461" cy="72000"/>
              <a:chOff x="5800094" y="2078182"/>
              <a:chExt cx="70461" cy="72000"/>
            </a:xfrm>
          </p:grpSpPr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C0A1EDB5-D569-432C-A96F-EEF6F830DFC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95" name="Straight Connector 194">
                <a:extLst>
                  <a:ext uri="{FF2B5EF4-FFF2-40B4-BE49-F238E27FC236}">
                    <a16:creationId xmlns:a16="http://schemas.microsoft.com/office/drawing/2014/main" id="{07269501-6370-4745-8017-1221EB86D6A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E8CC4830-0FB6-48F7-82BA-9D106B8DF7FC}"/>
                </a:ext>
              </a:extLst>
            </p:cNvPr>
            <p:cNvGrpSpPr/>
            <p:nvPr/>
          </p:nvGrpSpPr>
          <p:grpSpPr>
            <a:xfrm>
              <a:off x="6639446" y="4676766"/>
              <a:ext cx="70461" cy="72000"/>
              <a:chOff x="5800094" y="2078182"/>
              <a:chExt cx="70461" cy="72000"/>
            </a:xfrm>
          </p:grpSpPr>
          <p:cxnSp>
            <p:nvCxnSpPr>
              <p:cNvPr id="197" name="Straight Connector 196">
                <a:extLst>
                  <a:ext uri="{FF2B5EF4-FFF2-40B4-BE49-F238E27FC236}">
                    <a16:creationId xmlns:a16="http://schemas.microsoft.com/office/drawing/2014/main" id="{288701B2-9D20-496F-8C40-4EA4BD8F3FB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98" name="Straight Connector 197">
                <a:extLst>
                  <a:ext uri="{FF2B5EF4-FFF2-40B4-BE49-F238E27FC236}">
                    <a16:creationId xmlns:a16="http://schemas.microsoft.com/office/drawing/2014/main" id="{4B922ACC-488B-4671-9135-64BD57F6D87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32B29855-A66B-4F82-928C-E0AE142CB36C}"/>
                </a:ext>
              </a:extLst>
            </p:cNvPr>
            <p:cNvGrpSpPr/>
            <p:nvPr/>
          </p:nvGrpSpPr>
          <p:grpSpPr>
            <a:xfrm>
              <a:off x="7592391" y="4676766"/>
              <a:ext cx="70461" cy="72000"/>
              <a:chOff x="5800094" y="2078182"/>
              <a:chExt cx="70461" cy="72000"/>
            </a:xfrm>
          </p:grpSpPr>
          <p:cxnSp>
            <p:nvCxnSpPr>
              <p:cNvPr id="200" name="Straight Connector 199">
                <a:extLst>
                  <a:ext uri="{FF2B5EF4-FFF2-40B4-BE49-F238E27FC236}">
                    <a16:creationId xmlns:a16="http://schemas.microsoft.com/office/drawing/2014/main" id="{4B17A2A5-5DB6-43FA-A654-6F45C7685A3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01" name="Straight Connector 200">
                <a:extLst>
                  <a:ext uri="{FF2B5EF4-FFF2-40B4-BE49-F238E27FC236}">
                    <a16:creationId xmlns:a16="http://schemas.microsoft.com/office/drawing/2014/main" id="{40953C4A-2A01-42BB-A512-2FBB45A83EC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31625D15-9AC4-45F0-B38C-3E1DAD13109E}"/>
              </a:ext>
            </a:extLst>
          </p:cNvPr>
          <p:cNvGrpSpPr/>
          <p:nvPr/>
        </p:nvGrpSpPr>
        <p:grpSpPr>
          <a:xfrm>
            <a:off x="7503611" y="3762934"/>
            <a:ext cx="52846" cy="54000"/>
            <a:chOff x="5800094" y="2078182"/>
            <a:chExt cx="70461" cy="72000"/>
          </a:xfrm>
        </p:grpSpPr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0F379367-1715-4046-93C0-8C7745781CA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35324" y="2078182"/>
              <a:ext cx="0" cy="720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A7052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03FDE40E-EBCC-4005-83FB-9524C792629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00094" y="2114182"/>
              <a:ext cx="70461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A7052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689" name="Group 688">
            <a:extLst>
              <a:ext uri="{FF2B5EF4-FFF2-40B4-BE49-F238E27FC236}">
                <a16:creationId xmlns:a16="http://schemas.microsoft.com/office/drawing/2014/main" id="{3D9FA91F-A565-4446-9493-92285E8ABD84}"/>
              </a:ext>
            </a:extLst>
          </p:cNvPr>
          <p:cNvGrpSpPr/>
          <p:nvPr/>
        </p:nvGrpSpPr>
        <p:grpSpPr>
          <a:xfrm>
            <a:off x="3056258" y="1829389"/>
            <a:ext cx="2124359" cy="1705759"/>
            <a:chOff x="1831682" y="2098705"/>
            <a:chExt cx="2832478" cy="2274345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388D6911-04FA-4007-9AF0-0681A3829FFA}"/>
                </a:ext>
              </a:extLst>
            </p:cNvPr>
            <p:cNvGrpSpPr/>
            <p:nvPr/>
          </p:nvGrpSpPr>
          <p:grpSpPr>
            <a:xfrm>
              <a:off x="1831682" y="2098705"/>
              <a:ext cx="70461" cy="72000"/>
              <a:chOff x="5800094" y="2078182"/>
              <a:chExt cx="70461" cy="72000"/>
            </a:xfrm>
          </p:grpSpPr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C79FAE86-CA06-4780-8F08-4FE4A5B0A64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D729B4A6-7986-4E80-8870-C8881EC46E3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rgbClr val="A7052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8F4BA723-D27F-4364-A61A-5AF851921A37}"/>
                </a:ext>
              </a:extLst>
            </p:cNvPr>
            <p:cNvGrpSpPr/>
            <p:nvPr/>
          </p:nvGrpSpPr>
          <p:grpSpPr>
            <a:xfrm>
              <a:off x="4593699" y="4301050"/>
              <a:ext cx="70461" cy="72000"/>
              <a:chOff x="5800094" y="2078182"/>
              <a:chExt cx="70461" cy="72000"/>
            </a:xfrm>
          </p:grpSpPr>
          <p:cxnSp>
            <p:nvCxnSpPr>
              <p:cNvPr id="210" name="Straight Connector 209">
                <a:extLst>
                  <a:ext uri="{FF2B5EF4-FFF2-40B4-BE49-F238E27FC236}">
                    <a16:creationId xmlns:a16="http://schemas.microsoft.com/office/drawing/2014/main" id="{E983ECB3-92C1-42E9-B99D-A56A190DBF0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11" name="Straight Connector 210">
                <a:extLst>
                  <a:ext uri="{FF2B5EF4-FFF2-40B4-BE49-F238E27FC236}">
                    <a16:creationId xmlns:a16="http://schemas.microsoft.com/office/drawing/2014/main" id="{2DAEF23B-8281-4925-94CA-DB79E60FF3E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12" name="Group 211">
              <a:extLst>
                <a:ext uri="{FF2B5EF4-FFF2-40B4-BE49-F238E27FC236}">
                  <a16:creationId xmlns:a16="http://schemas.microsoft.com/office/drawing/2014/main" id="{38C47276-9B2C-404F-AC01-FB2635DF624A}"/>
                </a:ext>
              </a:extLst>
            </p:cNvPr>
            <p:cNvGrpSpPr/>
            <p:nvPr/>
          </p:nvGrpSpPr>
          <p:grpSpPr>
            <a:xfrm>
              <a:off x="4440165" y="4301050"/>
              <a:ext cx="70461" cy="72000"/>
              <a:chOff x="5800094" y="2078182"/>
              <a:chExt cx="70461" cy="72000"/>
            </a:xfrm>
          </p:grpSpPr>
          <p:cxnSp>
            <p:nvCxnSpPr>
              <p:cNvPr id="213" name="Straight Connector 212">
                <a:extLst>
                  <a:ext uri="{FF2B5EF4-FFF2-40B4-BE49-F238E27FC236}">
                    <a16:creationId xmlns:a16="http://schemas.microsoft.com/office/drawing/2014/main" id="{3CF5AE77-33C9-4BA7-AA19-087873A4925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14" name="Straight Connector 213">
                <a:extLst>
                  <a:ext uri="{FF2B5EF4-FFF2-40B4-BE49-F238E27FC236}">
                    <a16:creationId xmlns:a16="http://schemas.microsoft.com/office/drawing/2014/main" id="{62B3CF3A-D7C3-4AA8-8362-0737A41873F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15" name="Group 214">
              <a:extLst>
                <a:ext uri="{FF2B5EF4-FFF2-40B4-BE49-F238E27FC236}">
                  <a16:creationId xmlns:a16="http://schemas.microsoft.com/office/drawing/2014/main" id="{99E5A86F-D4BF-4ED9-8C39-2670A2B12645}"/>
                </a:ext>
              </a:extLst>
            </p:cNvPr>
            <p:cNvGrpSpPr/>
            <p:nvPr/>
          </p:nvGrpSpPr>
          <p:grpSpPr>
            <a:xfrm>
              <a:off x="4376054" y="4301050"/>
              <a:ext cx="70461" cy="72000"/>
              <a:chOff x="5800094" y="2078182"/>
              <a:chExt cx="70461" cy="72000"/>
            </a:xfrm>
          </p:grpSpPr>
          <p:cxnSp>
            <p:nvCxnSpPr>
              <p:cNvPr id="216" name="Straight Connector 215">
                <a:extLst>
                  <a:ext uri="{FF2B5EF4-FFF2-40B4-BE49-F238E27FC236}">
                    <a16:creationId xmlns:a16="http://schemas.microsoft.com/office/drawing/2014/main" id="{97100E47-9941-44AE-83E0-A8865908D8D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17" name="Straight Connector 216">
                <a:extLst>
                  <a:ext uri="{FF2B5EF4-FFF2-40B4-BE49-F238E27FC236}">
                    <a16:creationId xmlns:a16="http://schemas.microsoft.com/office/drawing/2014/main" id="{2B4F52FE-2974-488F-9FEE-6EA1199393C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68276A50-D1ED-40A6-AC1C-6CB8EDA8AD8D}"/>
                </a:ext>
              </a:extLst>
            </p:cNvPr>
            <p:cNvGrpSpPr/>
            <p:nvPr/>
          </p:nvGrpSpPr>
          <p:grpSpPr>
            <a:xfrm>
              <a:off x="4236125" y="4165524"/>
              <a:ext cx="70461" cy="72000"/>
              <a:chOff x="5800094" y="2078182"/>
              <a:chExt cx="70461" cy="72000"/>
            </a:xfrm>
          </p:grpSpPr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2BF0EC8A-16AB-45C1-8325-72E235E63E2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D126752E-4C4D-4D25-B06D-31CEB5ED2D4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21" name="Group 220">
              <a:extLst>
                <a:ext uri="{FF2B5EF4-FFF2-40B4-BE49-F238E27FC236}">
                  <a16:creationId xmlns:a16="http://schemas.microsoft.com/office/drawing/2014/main" id="{DFC86FBA-48E7-4AA3-BC54-00A323A90251}"/>
                </a:ext>
              </a:extLst>
            </p:cNvPr>
            <p:cNvGrpSpPr/>
            <p:nvPr/>
          </p:nvGrpSpPr>
          <p:grpSpPr>
            <a:xfrm>
              <a:off x="4171919" y="4165524"/>
              <a:ext cx="70461" cy="72000"/>
              <a:chOff x="5800094" y="2078182"/>
              <a:chExt cx="70461" cy="72000"/>
            </a:xfrm>
          </p:grpSpPr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989FB28C-0E31-468D-8AE7-DB80D83FE9D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F61C34FB-F313-4AA5-9444-0BD9DA3459A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38D265EF-D5AC-4537-99C5-4D553A437DD6}"/>
                </a:ext>
              </a:extLst>
            </p:cNvPr>
            <p:cNvGrpSpPr/>
            <p:nvPr/>
          </p:nvGrpSpPr>
          <p:grpSpPr>
            <a:xfrm>
              <a:off x="3980714" y="3853467"/>
              <a:ext cx="70461" cy="72000"/>
              <a:chOff x="5800094" y="2078182"/>
              <a:chExt cx="70461" cy="72000"/>
            </a:xfrm>
          </p:grpSpPr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186F3DBB-BF5F-4707-8B64-E56626A3A22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4D7692C9-F31A-4C05-977F-0616F26768C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27" name="Group 226">
              <a:extLst>
                <a:ext uri="{FF2B5EF4-FFF2-40B4-BE49-F238E27FC236}">
                  <a16:creationId xmlns:a16="http://schemas.microsoft.com/office/drawing/2014/main" id="{216968C6-9084-43B1-B1D4-FA7BEF73EC56}"/>
                </a:ext>
              </a:extLst>
            </p:cNvPr>
            <p:cNvGrpSpPr/>
            <p:nvPr/>
          </p:nvGrpSpPr>
          <p:grpSpPr>
            <a:xfrm>
              <a:off x="3954439" y="3853467"/>
              <a:ext cx="70461" cy="72000"/>
              <a:chOff x="5800094" y="2078182"/>
              <a:chExt cx="70461" cy="72000"/>
            </a:xfrm>
          </p:grpSpPr>
          <p:cxnSp>
            <p:nvCxnSpPr>
              <p:cNvPr id="228" name="Straight Connector 227">
                <a:extLst>
                  <a:ext uri="{FF2B5EF4-FFF2-40B4-BE49-F238E27FC236}">
                    <a16:creationId xmlns:a16="http://schemas.microsoft.com/office/drawing/2014/main" id="{B4674752-D3A5-440A-9AA6-04A67220210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29" name="Straight Connector 228">
                <a:extLst>
                  <a:ext uri="{FF2B5EF4-FFF2-40B4-BE49-F238E27FC236}">
                    <a16:creationId xmlns:a16="http://schemas.microsoft.com/office/drawing/2014/main" id="{1C7394B7-D4DD-42D2-985D-484FA01454E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420662A3-56BE-4F4B-A02A-6382D6E48EA5}"/>
                </a:ext>
              </a:extLst>
            </p:cNvPr>
            <p:cNvGrpSpPr/>
            <p:nvPr/>
          </p:nvGrpSpPr>
          <p:grpSpPr>
            <a:xfrm>
              <a:off x="3880887" y="3822731"/>
              <a:ext cx="70461" cy="72000"/>
              <a:chOff x="5800094" y="2078182"/>
              <a:chExt cx="70461" cy="72000"/>
            </a:xfrm>
          </p:grpSpPr>
          <p:cxnSp>
            <p:nvCxnSpPr>
              <p:cNvPr id="231" name="Straight Connector 230">
                <a:extLst>
                  <a:ext uri="{FF2B5EF4-FFF2-40B4-BE49-F238E27FC236}">
                    <a16:creationId xmlns:a16="http://schemas.microsoft.com/office/drawing/2014/main" id="{FBA652D2-7D04-48A2-B8C8-7D0448CFEC4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32" name="Straight Connector 231">
                <a:extLst>
                  <a:ext uri="{FF2B5EF4-FFF2-40B4-BE49-F238E27FC236}">
                    <a16:creationId xmlns:a16="http://schemas.microsoft.com/office/drawing/2014/main" id="{B968A350-4429-42A7-BE15-5DEFE53BBA3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A254423D-4B10-47F8-8708-4720271A5232}"/>
                </a:ext>
              </a:extLst>
            </p:cNvPr>
            <p:cNvGrpSpPr/>
            <p:nvPr/>
          </p:nvGrpSpPr>
          <p:grpSpPr>
            <a:xfrm>
              <a:off x="3817523" y="3747526"/>
              <a:ext cx="70461" cy="72000"/>
              <a:chOff x="5800094" y="2078182"/>
              <a:chExt cx="70461" cy="72000"/>
            </a:xfrm>
          </p:grpSpPr>
          <p:cxnSp>
            <p:nvCxnSpPr>
              <p:cNvPr id="234" name="Straight Connector 233">
                <a:extLst>
                  <a:ext uri="{FF2B5EF4-FFF2-40B4-BE49-F238E27FC236}">
                    <a16:creationId xmlns:a16="http://schemas.microsoft.com/office/drawing/2014/main" id="{270A4B14-983D-4F66-9CC9-0A75FC7FE76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35" name="Straight Connector 234">
                <a:extLst>
                  <a:ext uri="{FF2B5EF4-FFF2-40B4-BE49-F238E27FC236}">
                    <a16:creationId xmlns:a16="http://schemas.microsoft.com/office/drawing/2014/main" id="{71BFE5CB-C50B-476A-97DF-38ED821DE31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36" name="Group 235">
              <a:extLst>
                <a:ext uri="{FF2B5EF4-FFF2-40B4-BE49-F238E27FC236}">
                  <a16:creationId xmlns:a16="http://schemas.microsoft.com/office/drawing/2014/main" id="{CBACFB84-4E41-4B28-8C89-B6F0FDDA1620}"/>
                </a:ext>
              </a:extLst>
            </p:cNvPr>
            <p:cNvGrpSpPr/>
            <p:nvPr/>
          </p:nvGrpSpPr>
          <p:grpSpPr>
            <a:xfrm>
              <a:off x="3798246" y="3747526"/>
              <a:ext cx="70461" cy="72000"/>
              <a:chOff x="5800094" y="2078182"/>
              <a:chExt cx="70461" cy="72000"/>
            </a:xfrm>
          </p:grpSpPr>
          <p:cxnSp>
            <p:nvCxnSpPr>
              <p:cNvPr id="237" name="Straight Connector 236">
                <a:extLst>
                  <a:ext uri="{FF2B5EF4-FFF2-40B4-BE49-F238E27FC236}">
                    <a16:creationId xmlns:a16="http://schemas.microsoft.com/office/drawing/2014/main" id="{9D8C4143-F0C1-4DF5-8C3B-FC79CD942B8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38" name="Straight Connector 237">
                <a:extLst>
                  <a:ext uri="{FF2B5EF4-FFF2-40B4-BE49-F238E27FC236}">
                    <a16:creationId xmlns:a16="http://schemas.microsoft.com/office/drawing/2014/main" id="{41BFD6FE-4679-4C7D-93DD-5EFBEEB23DD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39" name="Group 238">
              <a:extLst>
                <a:ext uri="{FF2B5EF4-FFF2-40B4-BE49-F238E27FC236}">
                  <a16:creationId xmlns:a16="http://schemas.microsoft.com/office/drawing/2014/main" id="{BEB8B728-2C62-4D71-84C9-114391BABD5A}"/>
                </a:ext>
              </a:extLst>
            </p:cNvPr>
            <p:cNvGrpSpPr/>
            <p:nvPr/>
          </p:nvGrpSpPr>
          <p:grpSpPr>
            <a:xfrm>
              <a:off x="3769046" y="3747526"/>
              <a:ext cx="70461" cy="72000"/>
              <a:chOff x="5800094" y="2078182"/>
              <a:chExt cx="70461" cy="72000"/>
            </a:xfrm>
          </p:grpSpPr>
          <p:cxnSp>
            <p:nvCxnSpPr>
              <p:cNvPr id="240" name="Straight Connector 239">
                <a:extLst>
                  <a:ext uri="{FF2B5EF4-FFF2-40B4-BE49-F238E27FC236}">
                    <a16:creationId xmlns:a16="http://schemas.microsoft.com/office/drawing/2014/main" id="{EB1433F5-B68B-46A4-B4FB-560155658F3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41" name="Straight Connector 240">
                <a:extLst>
                  <a:ext uri="{FF2B5EF4-FFF2-40B4-BE49-F238E27FC236}">
                    <a16:creationId xmlns:a16="http://schemas.microsoft.com/office/drawing/2014/main" id="{00EABD06-9E31-47CB-8BAB-342D5166C17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446776C4-3328-4046-B982-5079389D5E58}"/>
                </a:ext>
              </a:extLst>
            </p:cNvPr>
            <p:cNvGrpSpPr/>
            <p:nvPr/>
          </p:nvGrpSpPr>
          <p:grpSpPr>
            <a:xfrm>
              <a:off x="3735791" y="3747526"/>
              <a:ext cx="70461" cy="72000"/>
              <a:chOff x="5800094" y="2078182"/>
              <a:chExt cx="70461" cy="72000"/>
            </a:xfrm>
          </p:grpSpPr>
          <p:cxnSp>
            <p:nvCxnSpPr>
              <p:cNvPr id="243" name="Straight Connector 242">
                <a:extLst>
                  <a:ext uri="{FF2B5EF4-FFF2-40B4-BE49-F238E27FC236}">
                    <a16:creationId xmlns:a16="http://schemas.microsoft.com/office/drawing/2014/main" id="{D6DFECBB-3921-4B33-9EA9-A8840F806AA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44" name="Straight Connector 243">
                <a:extLst>
                  <a:ext uri="{FF2B5EF4-FFF2-40B4-BE49-F238E27FC236}">
                    <a16:creationId xmlns:a16="http://schemas.microsoft.com/office/drawing/2014/main" id="{FBE663B9-5E08-414E-9B0F-0268AB466E4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45" name="Group 244">
              <a:extLst>
                <a:ext uri="{FF2B5EF4-FFF2-40B4-BE49-F238E27FC236}">
                  <a16:creationId xmlns:a16="http://schemas.microsoft.com/office/drawing/2014/main" id="{AC61914D-8009-4C9E-A5CB-02AB4E8342F3}"/>
                </a:ext>
              </a:extLst>
            </p:cNvPr>
            <p:cNvGrpSpPr/>
            <p:nvPr/>
          </p:nvGrpSpPr>
          <p:grpSpPr>
            <a:xfrm>
              <a:off x="3711014" y="3668318"/>
              <a:ext cx="70461" cy="72000"/>
              <a:chOff x="5800094" y="2078182"/>
              <a:chExt cx="70461" cy="72000"/>
            </a:xfrm>
          </p:grpSpPr>
          <p:cxnSp>
            <p:nvCxnSpPr>
              <p:cNvPr id="246" name="Straight Connector 245">
                <a:extLst>
                  <a:ext uri="{FF2B5EF4-FFF2-40B4-BE49-F238E27FC236}">
                    <a16:creationId xmlns:a16="http://schemas.microsoft.com/office/drawing/2014/main" id="{B16619D9-B7FD-4D4F-AABC-9B0F4DE7B82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47" name="Straight Connector 246">
                <a:extLst>
                  <a:ext uri="{FF2B5EF4-FFF2-40B4-BE49-F238E27FC236}">
                    <a16:creationId xmlns:a16="http://schemas.microsoft.com/office/drawing/2014/main" id="{C09C5706-04B7-4F4F-9CCA-4DFE7B57994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48" name="Group 247">
              <a:extLst>
                <a:ext uri="{FF2B5EF4-FFF2-40B4-BE49-F238E27FC236}">
                  <a16:creationId xmlns:a16="http://schemas.microsoft.com/office/drawing/2014/main" id="{14A6C6CA-AE2A-48CA-87AB-43095960BD93}"/>
                </a:ext>
              </a:extLst>
            </p:cNvPr>
            <p:cNvGrpSpPr/>
            <p:nvPr/>
          </p:nvGrpSpPr>
          <p:grpSpPr>
            <a:xfrm>
              <a:off x="3689604" y="3668318"/>
              <a:ext cx="70461" cy="72000"/>
              <a:chOff x="5800094" y="2078182"/>
              <a:chExt cx="70461" cy="72000"/>
            </a:xfrm>
          </p:grpSpPr>
          <p:cxnSp>
            <p:nvCxnSpPr>
              <p:cNvPr id="249" name="Straight Connector 248">
                <a:extLst>
                  <a:ext uri="{FF2B5EF4-FFF2-40B4-BE49-F238E27FC236}">
                    <a16:creationId xmlns:a16="http://schemas.microsoft.com/office/drawing/2014/main" id="{2CCC8535-B4B7-4D93-BE43-95268F642C8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0" name="Straight Connector 249">
                <a:extLst>
                  <a:ext uri="{FF2B5EF4-FFF2-40B4-BE49-F238E27FC236}">
                    <a16:creationId xmlns:a16="http://schemas.microsoft.com/office/drawing/2014/main" id="{ED5DC489-4FAE-4C00-BE4D-1C4D854E7F0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51" name="Group 250">
              <a:extLst>
                <a:ext uri="{FF2B5EF4-FFF2-40B4-BE49-F238E27FC236}">
                  <a16:creationId xmlns:a16="http://schemas.microsoft.com/office/drawing/2014/main" id="{D6DD3874-8A18-4604-9EE9-C6454D7842F6}"/>
                </a:ext>
              </a:extLst>
            </p:cNvPr>
            <p:cNvGrpSpPr/>
            <p:nvPr/>
          </p:nvGrpSpPr>
          <p:grpSpPr>
            <a:xfrm>
              <a:off x="3654228" y="3668318"/>
              <a:ext cx="70461" cy="72000"/>
              <a:chOff x="5800094" y="2078182"/>
              <a:chExt cx="70461" cy="72000"/>
            </a:xfrm>
          </p:grpSpPr>
          <p:cxnSp>
            <p:nvCxnSpPr>
              <p:cNvPr id="252" name="Straight Connector 251">
                <a:extLst>
                  <a:ext uri="{FF2B5EF4-FFF2-40B4-BE49-F238E27FC236}">
                    <a16:creationId xmlns:a16="http://schemas.microsoft.com/office/drawing/2014/main" id="{B1991CF1-DEBD-4B5D-B729-4CF95F69B6F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3" name="Straight Connector 252">
                <a:extLst>
                  <a:ext uri="{FF2B5EF4-FFF2-40B4-BE49-F238E27FC236}">
                    <a16:creationId xmlns:a16="http://schemas.microsoft.com/office/drawing/2014/main" id="{52EB3D7F-0550-4B5F-A3F0-B856C084556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54" name="Group 253">
              <a:extLst>
                <a:ext uri="{FF2B5EF4-FFF2-40B4-BE49-F238E27FC236}">
                  <a16:creationId xmlns:a16="http://schemas.microsoft.com/office/drawing/2014/main" id="{416B3A7C-94BA-4EC5-BD3F-9B94926AEF40}"/>
                </a:ext>
              </a:extLst>
            </p:cNvPr>
            <p:cNvGrpSpPr/>
            <p:nvPr/>
          </p:nvGrpSpPr>
          <p:grpSpPr>
            <a:xfrm>
              <a:off x="3618158" y="3668318"/>
              <a:ext cx="70461" cy="72000"/>
              <a:chOff x="5800094" y="2078182"/>
              <a:chExt cx="70461" cy="72000"/>
            </a:xfrm>
          </p:grpSpPr>
          <p:cxnSp>
            <p:nvCxnSpPr>
              <p:cNvPr id="255" name="Straight Connector 254">
                <a:extLst>
                  <a:ext uri="{FF2B5EF4-FFF2-40B4-BE49-F238E27FC236}">
                    <a16:creationId xmlns:a16="http://schemas.microsoft.com/office/drawing/2014/main" id="{D12ACB5E-B5D8-4AFF-BAC8-1CCCB193502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6" name="Straight Connector 255">
                <a:extLst>
                  <a:ext uri="{FF2B5EF4-FFF2-40B4-BE49-F238E27FC236}">
                    <a16:creationId xmlns:a16="http://schemas.microsoft.com/office/drawing/2014/main" id="{14209EF1-8B40-4852-BED2-3A38DE61E16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57" name="Group 256">
              <a:extLst>
                <a:ext uri="{FF2B5EF4-FFF2-40B4-BE49-F238E27FC236}">
                  <a16:creationId xmlns:a16="http://schemas.microsoft.com/office/drawing/2014/main" id="{A0AF229B-1237-4226-AF94-620F03C0E6D5}"/>
                </a:ext>
              </a:extLst>
            </p:cNvPr>
            <p:cNvGrpSpPr/>
            <p:nvPr/>
          </p:nvGrpSpPr>
          <p:grpSpPr>
            <a:xfrm>
              <a:off x="3583622" y="3668318"/>
              <a:ext cx="70461" cy="72000"/>
              <a:chOff x="5800094" y="2078182"/>
              <a:chExt cx="70461" cy="72000"/>
            </a:xfrm>
          </p:grpSpPr>
          <p:cxnSp>
            <p:nvCxnSpPr>
              <p:cNvPr id="258" name="Straight Connector 257">
                <a:extLst>
                  <a:ext uri="{FF2B5EF4-FFF2-40B4-BE49-F238E27FC236}">
                    <a16:creationId xmlns:a16="http://schemas.microsoft.com/office/drawing/2014/main" id="{5EDF0B91-2476-4930-ADF6-E6245CBEA00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9" name="Straight Connector 258">
                <a:extLst>
                  <a:ext uri="{FF2B5EF4-FFF2-40B4-BE49-F238E27FC236}">
                    <a16:creationId xmlns:a16="http://schemas.microsoft.com/office/drawing/2014/main" id="{7110D3C2-D517-48A6-910A-80C40613546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60" name="Group 259">
              <a:extLst>
                <a:ext uri="{FF2B5EF4-FFF2-40B4-BE49-F238E27FC236}">
                  <a16:creationId xmlns:a16="http://schemas.microsoft.com/office/drawing/2014/main" id="{C07ACE11-34C4-4458-913A-4DE151F0A1BA}"/>
                </a:ext>
              </a:extLst>
            </p:cNvPr>
            <p:cNvGrpSpPr/>
            <p:nvPr/>
          </p:nvGrpSpPr>
          <p:grpSpPr>
            <a:xfrm>
              <a:off x="3557000" y="3628811"/>
              <a:ext cx="70461" cy="72000"/>
              <a:chOff x="5800094" y="2078182"/>
              <a:chExt cx="70461" cy="72000"/>
            </a:xfrm>
          </p:grpSpPr>
          <p:cxnSp>
            <p:nvCxnSpPr>
              <p:cNvPr id="261" name="Straight Connector 260">
                <a:extLst>
                  <a:ext uri="{FF2B5EF4-FFF2-40B4-BE49-F238E27FC236}">
                    <a16:creationId xmlns:a16="http://schemas.microsoft.com/office/drawing/2014/main" id="{10334985-2D98-43E6-AB5C-1A747F9D27B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2" name="Straight Connector 261">
                <a:extLst>
                  <a:ext uri="{FF2B5EF4-FFF2-40B4-BE49-F238E27FC236}">
                    <a16:creationId xmlns:a16="http://schemas.microsoft.com/office/drawing/2014/main" id="{99B2BE19-A14B-43E7-B752-C946412498A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63" name="Group 262">
              <a:extLst>
                <a:ext uri="{FF2B5EF4-FFF2-40B4-BE49-F238E27FC236}">
                  <a16:creationId xmlns:a16="http://schemas.microsoft.com/office/drawing/2014/main" id="{A8D6DA6B-F078-4E9B-AEDC-49D02294AAFB}"/>
                </a:ext>
              </a:extLst>
            </p:cNvPr>
            <p:cNvGrpSpPr/>
            <p:nvPr/>
          </p:nvGrpSpPr>
          <p:grpSpPr>
            <a:xfrm>
              <a:off x="3533539" y="3628811"/>
              <a:ext cx="70461" cy="72000"/>
              <a:chOff x="5800094" y="2078182"/>
              <a:chExt cx="70461" cy="72000"/>
            </a:xfrm>
          </p:grpSpPr>
          <p:cxnSp>
            <p:nvCxnSpPr>
              <p:cNvPr id="264" name="Straight Connector 263">
                <a:extLst>
                  <a:ext uri="{FF2B5EF4-FFF2-40B4-BE49-F238E27FC236}">
                    <a16:creationId xmlns:a16="http://schemas.microsoft.com/office/drawing/2014/main" id="{7BD5B089-8132-431B-8A3C-A21601B8FA1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5" name="Straight Connector 264">
                <a:extLst>
                  <a:ext uri="{FF2B5EF4-FFF2-40B4-BE49-F238E27FC236}">
                    <a16:creationId xmlns:a16="http://schemas.microsoft.com/office/drawing/2014/main" id="{DB683D54-0BF9-4774-852B-7CF203F6DB7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66" name="Group 265">
              <a:extLst>
                <a:ext uri="{FF2B5EF4-FFF2-40B4-BE49-F238E27FC236}">
                  <a16:creationId xmlns:a16="http://schemas.microsoft.com/office/drawing/2014/main" id="{677848EA-C9DA-4053-9F83-26F68594C566}"/>
                </a:ext>
              </a:extLst>
            </p:cNvPr>
            <p:cNvGrpSpPr/>
            <p:nvPr/>
          </p:nvGrpSpPr>
          <p:grpSpPr>
            <a:xfrm>
              <a:off x="3444637" y="3628811"/>
              <a:ext cx="70461" cy="72000"/>
              <a:chOff x="5800094" y="2078182"/>
              <a:chExt cx="70461" cy="72000"/>
            </a:xfrm>
          </p:grpSpPr>
          <p:cxnSp>
            <p:nvCxnSpPr>
              <p:cNvPr id="267" name="Straight Connector 266">
                <a:extLst>
                  <a:ext uri="{FF2B5EF4-FFF2-40B4-BE49-F238E27FC236}">
                    <a16:creationId xmlns:a16="http://schemas.microsoft.com/office/drawing/2014/main" id="{DB70C68C-F2F3-4709-B46F-07B16C079B8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8" name="Straight Connector 267">
                <a:extLst>
                  <a:ext uri="{FF2B5EF4-FFF2-40B4-BE49-F238E27FC236}">
                    <a16:creationId xmlns:a16="http://schemas.microsoft.com/office/drawing/2014/main" id="{97AC58AD-2618-447E-B58A-EDAC11C54FB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69" name="Group 268">
              <a:extLst>
                <a:ext uri="{FF2B5EF4-FFF2-40B4-BE49-F238E27FC236}">
                  <a16:creationId xmlns:a16="http://schemas.microsoft.com/office/drawing/2014/main" id="{6165F135-370C-4501-AE94-5C8455D31C8C}"/>
                </a:ext>
              </a:extLst>
            </p:cNvPr>
            <p:cNvGrpSpPr/>
            <p:nvPr/>
          </p:nvGrpSpPr>
          <p:grpSpPr>
            <a:xfrm>
              <a:off x="3393897" y="3565542"/>
              <a:ext cx="70461" cy="72000"/>
              <a:chOff x="5800094" y="2078182"/>
              <a:chExt cx="70461" cy="72000"/>
            </a:xfrm>
          </p:grpSpPr>
          <p:cxnSp>
            <p:nvCxnSpPr>
              <p:cNvPr id="270" name="Straight Connector 269">
                <a:extLst>
                  <a:ext uri="{FF2B5EF4-FFF2-40B4-BE49-F238E27FC236}">
                    <a16:creationId xmlns:a16="http://schemas.microsoft.com/office/drawing/2014/main" id="{AA2783E3-96DC-48B7-9B60-6E094190FC4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1" name="Straight Connector 270">
                <a:extLst>
                  <a:ext uri="{FF2B5EF4-FFF2-40B4-BE49-F238E27FC236}">
                    <a16:creationId xmlns:a16="http://schemas.microsoft.com/office/drawing/2014/main" id="{B2D2903C-340C-417C-B01A-FDC7C262B03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72" name="Group 271">
              <a:extLst>
                <a:ext uri="{FF2B5EF4-FFF2-40B4-BE49-F238E27FC236}">
                  <a16:creationId xmlns:a16="http://schemas.microsoft.com/office/drawing/2014/main" id="{805D71F3-11CA-4310-853A-CA9227F529E7}"/>
                </a:ext>
              </a:extLst>
            </p:cNvPr>
            <p:cNvGrpSpPr/>
            <p:nvPr/>
          </p:nvGrpSpPr>
          <p:grpSpPr>
            <a:xfrm>
              <a:off x="3374108" y="3565542"/>
              <a:ext cx="70461" cy="72000"/>
              <a:chOff x="5800094" y="2078182"/>
              <a:chExt cx="70461" cy="72000"/>
            </a:xfrm>
          </p:grpSpPr>
          <p:cxnSp>
            <p:nvCxnSpPr>
              <p:cNvPr id="273" name="Straight Connector 272">
                <a:extLst>
                  <a:ext uri="{FF2B5EF4-FFF2-40B4-BE49-F238E27FC236}">
                    <a16:creationId xmlns:a16="http://schemas.microsoft.com/office/drawing/2014/main" id="{4337BA03-21B8-45BA-9AE5-31E4EFE3AF1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2E895A71-C680-416F-9742-D639DB922E4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75" name="Group 274">
              <a:extLst>
                <a:ext uri="{FF2B5EF4-FFF2-40B4-BE49-F238E27FC236}">
                  <a16:creationId xmlns:a16="http://schemas.microsoft.com/office/drawing/2014/main" id="{D0A1ABA2-EEF9-48F9-9803-DFB156B00FEB}"/>
                </a:ext>
              </a:extLst>
            </p:cNvPr>
            <p:cNvGrpSpPr/>
            <p:nvPr/>
          </p:nvGrpSpPr>
          <p:grpSpPr>
            <a:xfrm>
              <a:off x="3326686" y="3565542"/>
              <a:ext cx="70461" cy="72000"/>
              <a:chOff x="5800094" y="2078182"/>
              <a:chExt cx="70461" cy="72000"/>
            </a:xfrm>
          </p:grpSpPr>
          <p:cxnSp>
            <p:nvCxnSpPr>
              <p:cNvPr id="276" name="Straight Connector 275">
                <a:extLst>
                  <a:ext uri="{FF2B5EF4-FFF2-40B4-BE49-F238E27FC236}">
                    <a16:creationId xmlns:a16="http://schemas.microsoft.com/office/drawing/2014/main" id="{6DADD276-F820-43F8-9EAE-6710C4C2376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7" name="Straight Connector 276">
                <a:extLst>
                  <a:ext uri="{FF2B5EF4-FFF2-40B4-BE49-F238E27FC236}">
                    <a16:creationId xmlns:a16="http://schemas.microsoft.com/office/drawing/2014/main" id="{4D49AF54-D236-4531-B249-B8F0F0FD193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78" name="Group 277">
              <a:extLst>
                <a:ext uri="{FF2B5EF4-FFF2-40B4-BE49-F238E27FC236}">
                  <a16:creationId xmlns:a16="http://schemas.microsoft.com/office/drawing/2014/main" id="{EAFEBD87-3FF7-4460-A1E5-96D5CF5B1CE0}"/>
                </a:ext>
              </a:extLst>
            </p:cNvPr>
            <p:cNvGrpSpPr/>
            <p:nvPr/>
          </p:nvGrpSpPr>
          <p:grpSpPr>
            <a:xfrm>
              <a:off x="3308216" y="3565542"/>
              <a:ext cx="70461" cy="72000"/>
              <a:chOff x="5800094" y="2078182"/>
              <a:chExt cx="70461" cy="72000"/>
            </a:xfrm>
          </p:grpSpPr>
          <p:cxnSp>
            <p:nvCxnSpPr>
              <p:cNvPr id="279" name="Straight Connector 278">
                <a:extLst>
                  <a:ext uri="{FF2B5EF4-FFF2-40B4-BE49-F238E27FC236}">
                    <a16:creationId xmlns:a16="http://schemas.microsoft.com/office/drawing/2014/main" id="{96ABEAFD-8218-44A0-8E42-BA57A34F64C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0" name="Straight Connector 279">
                <a:extLst>
                  <a:ext uri="{FF2B5EF4-FFF2-40B4-BE49-F238E27FC236}">
                    <a16:creationId xmlns:a16="http://schemas.microsoft.com/office/drawing/2014/main" id="{13F355A2-F210-413A-895B-C98B65F4491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81" name="Group 280">
              <a:extLst>
                <a:ext uri="{FF2B5EF4-FFF2-40B4-BE49-F238E27FC236}">
                  <a16:creationId xmlns:a16="http://schemas.microsoft.com/office/drawing/2014/main" id="{1BCC7550-CFEA-456F-9E3F-19DCE84BEE24}"/>
                </a:ext>
              </a:extLst>
            </p:cNvPr>
            <p:cNvGrpSpPr/>
            <p:nvPr/>
          </p:nvGrpSpPr>
          <p:grpSpPr>
            <a:xfrm>
              <a:off x="3295595" y="3553123"/>
              <a:ext cx="70461" cy="72000"/>
              <a:chOff x="5800094" y="2078182"/>
              <a:chExt cx="70461" cy="72000"/>
            </a:xfrm>
          </p:grpSpPr>
          <p:cxnSp>
            <p:nvCxnSpPr>
              <p:cNvPr id="282" name="Straight Connector 281">
                <a:extLst>
                  <a:ext uri="{FF2B5EF4-FFF2-40B4-BE49-F238E27FC236}">
                    <a16:creationId xmlns:a16="http://schemas.microsoft.com/office/drawing/2014/main" id="{BE5EA4E2-52A6-441A-A003-F91EA4DAB0C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3" name="Straight Connector 282">
                <a:extLst>
                  <a:ext uri="{FF2B5EF4-FFF2-40B4-BE49-F238E27FC236}">
                    <a16:creationId xmlns:a16="http://schemas.microsoft.com/office/drawing/2014/main" id="{448BAB7D-4593-4982-8819-1A2A881FEB7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84" name="Group 283">
              <a:extLst>
                <a:ext uri="{FF2B5EF4-FFF2-40B4-BE49-F238E27FC236}">
                  <a16:creationId xmlns:a16="http://schemas.microsoft.com/office/drawing/2014/main" id="{22EBCA02-B911-458B-B63A-35DC4AFDF8B0}"/>
                </a:ext>
              </a:extLst>
            </p:cNvPr>
            <p:cNvGrpSpPr/>
            <p:nvPr/>
          </p:nvGrpSpPr>
          <p:grpSpPr>
            <a:xfrm>
              <a:off x="3277457" y="3528862"/>
              <a:ext cx="70461" cy="72000"/>
              <a:chOff x="5800094" y="2078182"/>
              <a:chExt cx="70461" cy="72000"/>
            </a:xfrm>
          </p:grpSpPr>
          <p:cxnSp>
            <p:nvCxnSpPr>
              <p:cNvPr id="285" name="Straight Connector 284">
                <a:extLst>
                  <a:ext uri="{FF2B5EF4-FFF2-40B4-BE49-F238E27FC236}">
                    <a16:creationId xmlns:a16="http://schemas.microsoft.com/office/drawing/2014/main" id="{2CB22E79-8318-44A7-B04D-2FBF1BB3B4D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6" name="Straight Connector 285">
                <a:extLst>
                  <a:ext uri="{FF2B5EF4-FFF2-40B4-BE49-F238E27FC236}">
                    <a16:creationId xmlns:a16="http://schemas.microsoft.com/office/drawing/2014/main" id="{EEC57D0A-115A-4544-80A6-8DB3DFA6F6F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87" name="Group 286">
              <a:extLst>
                <a:ext uri="{FF2B5EF4-FFF2-40B4-BE49-F238E27FC236}">
                  <a16:creationId xmlns:a16="http://schemas.microsoft.com/office/drawing/2014/main" id="{D1930A20-2AE0-4DEA-B732-B9E1507FB008}"/>
                </a:ext>
              </a:extLst>
            </p:cNvPr>
            <p:cNvGrpSpPr/>
            <p:nvPr/>
          </p:nvGrpSpPr>
          <p:grpSpPr>
            <a:xfrm>
              <a:off x="3281002" y="3509867"/>
              <a:ext cx="70461" cy="72000"/>
              <a:chOff x="5800094" y="2078182"/>
              <a:chExt cx="70461" cy="72000"/>
            </a:xfrm>
          </p:grpSpPr>
          <p:cxnSp>
            <p:nvCxnSpPr>
              <p:cNvPr id="288" name="Straight Connector 287">
                <a:extLst>
                  <a:ext uri="{FF2B5EF4-FFF2-40B4-BE49-F238E27FC236}">
                    <a16:creationId xmlns:a16="http://schemas.microsoft.com/office/drawing/2014/main" id="{8F51773F-64C9-4D19-ADF7-6F9244D3703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9" name="Straight Connector 288">
                <a:extLst>
                  <a:ext uri="{FF2B5EF4-FFF2-40B4-BE49-F238E27FC236}">
                    <a16:creationId xmlns:a16="http://schemas.microsoft.com/office/drawing/2014/main" id="{3C6BC48E-017C-4FC5-8BBC-FDAF6FF3DBC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90" name="Group 289">
              <a:extLst>
                <a:ext uri="{FF2B5EF4-FFF2-40B4-BE49-F238E27FC236}">
                  <a16:creationId xmlns:a16="http://schemas.microsoft.com/office/drawing/2014/main" id="{ACCFDF33-1D61-4C2E-891C-999D576CB80F}"/>
                </a:ext>
              </a:extLst>
            </p:cNvPr>
            <p:cNvGrpSpPr/>
            <p:nvPr/>
          </p:nvGrpSpPr>
          <p:grpSpPr>
            <a:xfrm>
              <a:off x="3273966" y="3496037"/>
              <a:ext cx="70461" cy="72000"/>
              <a:chOff x="5800094" y="2078182"/>
              <a:chExt cx="70461" cy="72000"/>
            </a:xfrm>
          </p:grpSpPr>
          <p:cxnSp>
            <p:nvCxnSpPr>
              <p:cNvPr id="291" name="Straight Connector 290">
                <a:extLst>
                  <a:ext uri="{FF2B5EF4-FFF2-40B4-BE49-F238E27FC236}">
                    <a16:creationId xmlns:a16="http://schemas.microsoft.com/office/drawing/2014/main" id="{34C1BA32-665C-44BF-AC5F-B395F20B824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2" name="Straight Connector 291">
                <a:extLst>
                  <a:ext uri="{FF2B5EF4-FFF2-40B4-BE49-F238E27FC236}">
                    <a16:creationId xmlns:a16="http://schemas.microsoft.com/office/drawing/2014/main" id="{153B2BF5-9563-4581-A4EB-F40956788B9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93" name="Group 292">
              <a:extLst>
                <a:ext uri="{FF2B5EF4-FFF2-40B4-BE49-F238E27FC236}">
                  <a16:creationId xmlns:a16="http://schemas.microsoft.com/office/drawing/2014/main" id="{76745431-2C4E-4384-8EE0-897E6F5DD497}"/>
                </a:ext>
              </a:extLst>
            </p:cNvPr>
            <p:cNvGrpSpPr/>
            <p:nvPr/>
          </p:nvGrpSpPr>
          <p:grpSpPr>
            <a:xfrm>
              <a:off x="3275735" y="3476987"/>
              <a:ext cx="70461" cy="72000"/>
              <a:chOff x="5800094" y="2078182"/>
              <a:chExt cx="70461" cy="72000"/>
            </a:xfrm>
          </p:grpSpPr>
          <p:cxnSp>
            <p:nvCxnSpPr>
              <p:cNvPr id="294" name="Straight Connector 293">
                <a:extLst>
                  <a:ext uri="{FF2B5EF4-FFF2-40B4-BE49-F238E27FC236}">
                    <a16:creationId xmlns:a16="http://schemas.microsoft.com/office/drawing/2014/main" id="{6EA7EE7C-A7B5-4AF9-B39C-90146BEA1CA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5" name="Straight Connector 294">
                <a:extLst>
                  <a:ext uri="{FF2B5EF4-FFF2-40B4-BE49-F238E27FC236}">
                    <a16:creationId xmlns:a16="http://schemas.microsoft.com/office/drawing/2014/main" id="{108DBE88-123D-433A-B448-90D0E768667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96" name="Group 295">
              <a:extLst>
                <a:ext uri="{FF2B5EF4-FFF2-40B4-BE49-F238E27FC236}">
                  <a16:creationId xmlns:a16="http://schemas.microsoft.com/office/drawing/2014/main" id="{12D2E5BA-F655-419A-82CD-9854B9C0034C}"/>
                </a:ext>
              </a:extLst>
            </p:cNvPr>
            <p:cNvGrpSpPr/>
            <p:nvPr/>
          </p:nvGrpSpPr>
          <p:grpSpPr>
            <a:xfrm>
              <a:off x="3258288" y="3454792"/>
              <a:ext cx="70461" cy="72000"/>
              <a:chOff x="5800094" y="2078182"/>
              <a:chExt cx="70461" cy="72000"/>
            </a:xfrm>
          </p:grpSpPr>
          <p:cxnSp>
            <p:nvCxnSpPr>
              <p:cNvPr id="297" name="Straight Connector 296">
                <a:extLst>
                  <a:ext uri="{FF2B5EF4-FFF2-40B4-BE49-F238E27FC236}">
                    <a16:creationId xmlns:a16="http://schemas.microsoft.com/office/drawing/2014/main" id="{12647B7D-6F40-4A78-B7EE-9D9CB92CD1E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8" name="Straight Connector 297">
                <a:extLst>
                  <a:ext uri="{FF2B5EF4-FFF2-40B4-BE49-F238E27FC236}">
                    <a16:creationId xmlns:a16="http://schemas.microsoft.com/office/drawing/2014/main" id="{BE254EA8-6953-4DCA-A585-DEAE64D9FF6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99" name="Group 298">
              <a:extLst>
                <a:ext uri="{FF2B5EF4-FFF2-40B4-BE49-F238E27FC236}">
                  <a16:creationId xmlns:a16="http://schemas.microsoft.com/office/drawing/2014/main" id="{B16594D3-C27D-4B63-9F20-04A0E7DE996A}"/>
                </a:ext>
              </a:extLst>
            </p:cNvPr>
            <p:cNvGrpSpPr/>
            <p:nvPr/>
          </p:nvGrpSpPr>
          <p:grpSpPr>
            <a:xfrm>
              <a:off x="3253413" y="3445937"/>
              <a:ext cx="70461" cy="72000"/>
              <a:chOff x="5800094" y="2078182"/>
              <a:chExt cx="70461" cy="72000"/>
            </a:xfrm>
          </p:grpSpPr>
          <p:cxnSp>
            <p:nvCxnSpPr>
              <p:cNvPr id="300" name="Straight Connector 299">
                <a:extLst>
                  <a:ext uri="{FF2B5EF4-FFF2-40B4-BE49-F238E27FC236}">
                    <a16:creationId xmlns:a16="http://schemas.microsoft.com/office/drawing/2014/main" id="{A4BCF899-A6F1-4D6B-9AAD-0399099936A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1" name="Straight Connector 300">
                <a:extLst>
                  <a:ext uri="{FF2B5EF4-FFF2-40B4-BE49-F238E27FC236}">
                    <a16:creationId xmlns:a16="http://schemas.microsoft.com/office/drawing/2014/main" id="{A934515F-EAC3-4CF4-9015-5CA48DED6C3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02" name="Group 301">
              <a:extLst>
                <a:ext uri="{FF2B5EF4-FFF2-40B4-BE49-F238E27FC236}">
                  <a16:creationId xmlns:a16="http://schemas.microsoft.com/office/drawing/2014/main" id="{5092E184-23C0-4091-9647-BA56EBA23021}"/>
                </a:ext>
              </a:extLst>
            </p:cNvPr>
            <p:cNvGrpSpPr/>
            <p:nvPr/>
          </p:nvGrpSpPr>
          <p:grpSpPr>
            <a:xfrm>
              <a:off x="3237330" y="3431658"/>
              <a:ext cx="70461" cy="72000"/>
              <a:chOff x="5800094" y="2078182"/>
              <a:chExt cx="70461" cy="72000"/>
            </a:xfrm>
          </p:grpSpPr>
          <p:cxnSp>
            <p:nvCxnSpPr>
              <p:cNvPr id="303" name="Straight Connector 302">
                <a:extLst>
                  <a:ext uri="{FF2B5EF4-FFF2-40B4-BE49-F238E27FC236}">
                    <a16:creationId xmlns:a16="http://schemas.microsoft.com/office/drawing/2014/main" id="{5F30E5A7-3E00-46DD-BBE6-87508EF32C7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4" name="Straight Connector 303">
                <a:extLst>
                  <a:ext uri="{FF2B5EF4-FFF2-40B4-BE49-F238E27FC236}">
                    <a16:creationId xmlns:a16="http://schemas.microsoft.com/office/drawing/2014/main" id="{96A9D43A-0D22-41F3-B20B-CAD553F499C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05" name="Group 304">
              <a:extLst>
                <a:ext uri="{FF2B5EF4-FFF2-40B4-BE49-F238E27FC236}">
                  <a16:creationId xmlns:a16="http://schemas.microsoft.com/office/drawing/2014/main" id="{5C38E670-3DFE-4248-86CF-2D4624F231FA}"/>
                </a:ext>
              </a:extLst>
            </p:cNvPr>
            <p:cNvGrpSpPr/>
            <p:nvPr/>
          </p:nvGrpSpPr>
          <p:grpSpPr>
            <a:xfrm>
              <a:off x="3229245" y="3412910"/>
              <a:ext cx="70461" cy="72000"/>
              <a:chOff x="5800094" y="2078182"/>
              <a:chExt cx="70461" cy="72000"/>
            </a:xfrm>
          </p:grpSpPr>
          <p:cxnSp>
            <p:nvCxnSpPr>
              <p:cNvPr id="306" name="Straight Connector 305">
                <a:extLst>
                  <a:ext uri="{FF2B5EF4-FFF2-40B4-BE49-F238E27FC236}">
                    <a16:creationId xmlns:a16="http://schemas.microsoft.com/office/drawing/2014/main" id="{2DF38DA9-077B-4307-8D07-B89BCCF79F4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7" name="Straight Connector 306">
                <a:extLst>
                  <a:ext uri="{FF2B5EF4-FFF2-40B4-BE49-F238E27FC236}">
                    <a16:creationId xmlns:a16="http://schemas.microsoft.com/office/drawing/2014/main" id="{8650D0EB-D19D-4819-82B8-64E33483C2C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08" name="Group 307">
              <a:extLst>
                <a:ext uri="{FF2B5EF4-FFF2-40B4-BE49-F238E27FC236}">
                  <a16:creationId xmlns:a16="http://schemas.microsoft.com/office/drawing/2014/main" id="{553E117F-6DAD-47E3-8E2A-B730824CE590}"/>
                </a:ext>
              </a:extLst>
            </p:cNvPr>
            <p:cNvGrpSpPr/>
            <p:nvPr/>
          </p:nvGrpSpPr>
          <p:grpSpPr>
            <a:xfrm>
              <a:off x="3205996" y="3401517"/>
              <a:ext cx="70461" cy="72000"/>
              <a:chOff x="5800094" y="2078182"/>
              <a:chExt cx="70461" cy="72000"/>
            </a:xfrm>
          </p:grpSpPr>
          <p:cxnSp>
            <p:nvCxnSpPr>
              <p:cNvPr id="309" name="Straight Connector 308">
                <a:extLst>
                  <a:ext uri="{FF2B5EF4-FFF2-40B4-BE49-F238E27FC236}">
                    <a16:creationId xmlns:a16="http://schemas.microsoft.com/office/drawing/2014/main" id="{E1481C84-B7FC-4137-855D-1E8CCC1244F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10" name="Straight Connector 309">
                <a:extLst>
                  <a:ext uri="{FF2B5EF4-FFF2-40B4-BE49-F238E27FC236}">
                    <a16:creationId xmlns:a16="http://schemas.microsoft.com/office/drawing/2014/main" id="{1BE59BEF-EF52-4D5E-859B-2E9DF1E9F3A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11" name="Group 310">
              <a:extLst>
                <a:ext uri="{FF2B5EF4-FFF2-40B4-BE49-F238E27FC236}">
                  <a16:creationId xmlns:a16="http://schemas.microsoft.com/office/drawing/2014/main" id="{253FDA1E-6129-479A-8842-C750EED4D041}"/>
                </a:ext>
              </a:extLst>
            </p:cNvPr>
            <p:cNvGrpSpPr/>
            <p:nvPr/>
          </p:nvGrpSpPr>
          <p:grpSpPr>
            <a:xfrm>
              <a:off x="3187289" y="3392330"/>
              <a:ext cx="70461" cy="72000"/>
              <a:chOff x="5800094" y="2078182"/>
              <a:chExt cx="70461" cy="72000"/>
            </a:xfrm>
          </p:grpSpPr>
          <p:cxnSp>
            <p:nvCxnSpPr>
              <p:cNvPr id="312" name="Straight Connector 311">
                <a:extLst>
                  <a:ext uri="{FF2B5EF4-FFF2-40B4-BE49-F238E27FC236}">
                    <a16:creationId xmlns:a16="http://schemas.microsoft.com/office/drawing/2014/main" id="{3A7338F4-C3D2-4C81-84F7-D3DF2BF6878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13" name="Straight Connector 312">
                <a:extLst>
                  <a:ext uri="{FF2B5EF4-FFF2-40B4-BE49-F238E27FC236}">
                    <a16:creationId xmlns:a16="http://schemas.microsoft.com/office/drawing/2014/main" id="{88177A54-4D0D-4F7A-B4FD-03802CD5486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14" name="Group 313">
              <a:extLst>
                <a:ext uri="{FF2B5EF4-FFF2-40B4-BE49-F238E27FC236}">
                  <a16:creationId xmlns:a16="http://schemas.microsoft.com/office/drawing/2014/main" id="{E1815B08-B6D3-41D4-8AFB-386036F4527B}"/>
                </a:ext>
              </a:extLst>
            </p:cNvPr>
            <p:cNvGrpSpPr/>
            <p:nvPr/>
          </p:nvGrpSpPr>
          <p:grpSpPr>
            <a:xfrm>
              <a:off x="3167590" y="3392483"/>
              <a:ext cx="70461" cy="72000"/>
              <a:chOff x="5800094" y="2078182"/>
              <a:chExt cx="70461" cy="72000"/>
            </a:xfrm>
          </p:grpSpPr>
          <p:cxnSp>
            <p:nvCxnSpPr>
              <p:cNvPr id="315" name="Straight Connector 314">
                <a:extLst>
                  <a:ext uri="{FF2B5EF4-FFF2-40B4-BE49-F238E27FC236}">
                    <a16:creationId xmlns:a16="http://schemas.microsoft.com/office/drawing/2014/main" id="{6EDAC804-914B-4FA1-941F-94666F2D4DF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16" name="Straight Connector 315">
                <a:extLst>
                  <a:ext uri="{FF2B5EF4-FFF2-40B4-BE49-F238E27FC236}">
                    <a16:creationId xmlns:a16="http://schemas.microsoft.com/office/drawing/2014/main" id="{35B433AD-D5B8-47BB-AF28-25DB567BCE7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17" name="Group 316">
              <a:extLst>
                <a:ext uri="{FF2B5EF4-FFF2-40B4-BE49-F238E27FC236}">
                  <a16:creationId xmlns:a16="http://schemas.microsoft.com/office/drawing/2014/main" id="{2D1F45F6-0DDC-4263-A512-D1CE3E9E7B99}"/>
                </a:ext>
              </a:extLst>
            </p:cNvPr>
            <p:cNvGrpSpPr/>
            <p:nvPr/>
          </p:nvGrpSpPr>
          <p:grpSpPr>
            <a:xfrm>
              <a:off x="3150743" y="3388782"/>
              <a:ext cx="70461" cy="72000"/>
              <a:chOff x="5800094" y="2078182"/>
              <a:chExt cx="70461" cy="72000"/>
            </a:xfrm>
          </p:grpSpPr>
          <p:cxnSp>
            <p:nvCxnSpPr>
              <p:cNvPr id="318" name="Straight Connector 317">
                <a:extLst>
                  <a:ext uri="{FF2B5EF4-FFF2-40B4-BE49-F238E27FC236}">
                    <a16:creationId xmlns:a16="http://schemas.microsoft.com/office/drawing/2014/main" id="{01C0DFAD-DC45-4C8B-B41F-1D9CDFA09DE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19" name="Straight Connector 318">
                <a:extLst>
                  <a:ext uri="{FF2B5EF4-FFF2-40B4-BE49-F238E27FC236}">
                    <a16:creationId xmlns:a16="http://schemas.microsoft.com/office/drawing/2014/main" id="{FBFA862A-7752-4E1A-88AD-F711ED3DEC1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20" name="Group 319">
              <a:extLst>
                <a:ext uri="{FF2B5EF4-FFF2-40B4-BE49-F238E27FC236}">
                  <a16:creationId xmlns:a16="http://schemas.microsoft.com/office/drawing/2014/main" id="{A976A42F-44D1-440E-AC25-8F7694FC1230}"/>
                </a:ext>
              </a:extLst>
            </p:cNvPr>
            <p:cNvGrpSpPr/>
            <p:nvPr/>
          </p:nvGrpSpPr>
          <p:grpSpPr>
            <a:xfrm>
              <a:off x="3130661" y="3379578"/>
              <a:ext cx="70461" cy="72000"/>
              <a:chOff x="5800094" y="2078182"/>
              <a:chExt cx="70461" cy="72000"/>
            </a:xfrm>
          </p:grpSpPr>
          <p:cxnSp>
            <p:nvCxnSpPr>
              <p:cNvPr id="321" name="Straight Connector 320">
                <a:extLst>
                  <a:ext uri="{FF2B5EF4-FFF2-40B4-BE49-F238E27FC236}">
                    <a16:creationId xmlns:a16="http://schemas.microsoft.com/office/drawing/2014/main" id="{D1250C50-F946-49E8-9970-AC593EF3F15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22" name="Straight Connector 321">
                <a:extLst>
                  <a:ext uri="{FF2B5EF4-FFF2-40B4-BE49-F238E27FC236}">
                    <a16:creationId xmlns:a16="http://schemas.microsoft.com/office/drawing/2014/main" id="{CB399B69-191B-4F23-9844-E7CA9306FB5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23" name="Group 322">
              <a:extLst>
                <a:ext uri="{FF2B5EF4-FFF2-40B4-BE49-F238E27FC236}">
                  <a16:creationId xmlns:a16="http://schemas.microsoft.com/office/drawing/2014/main" id="{F5DE8D99-8C26-4802-AAA7-D889C6EE5550}"/>
                </a:ext>
              </a:extLst>
            </p:cNvPr>
            <p:cNvGrpSpPr/>
            <p:nvPr/>
          </p:nvGrpSpPr>
          <p:grpSpPr>
            <a:xfrm>
              <a:off x="3130411" y="3339008"/>
              <a:ext cx="70461" cy="72000"/>
              <a:chOff x="5800094" y="2078182"/>
              <a:chExt cx="70461" cy="72000"/>
            </a:xfrm>
          </p:grpSpPr>
          <p:cxnSp>
            <p:nvCxnSpPr>
              <p:cNvPr id="324" name="Straight Connector 323">
                <a:extLst>
                  <a:ext uri="{FF2B5EF4-FFF2-40B4-BE49-F238E27FC236}">
                    <a16:creationId xmlns:a16="http://schemas.microsoft.com/office/drawing/2014/main" id="{E85396C7-EC51-415A-B4D1-60337DC0435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25" name="Straight Connector 324">
                <a:extLst>
                  <a:ext uri="{FF2B5EF4-FFF2-40B4-BE49-F238E27FC236}">
                    <a16:creationId xmlns:a16="http://schemas.microsoft.com/office/drawing/2014/main" id="{211D0B97-3F89-4151-86EC-6F168B5C6E9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26" name="Group 325">
              <a:extLst>
                <a:ext uri="{FF2B5EF4-FFF2-40B4-BE49-F238E27FC236}">
                  <a16:creationId xmlns:a16="http://schemas.microsoft.com/office/drawing/2014/main" id="{68FAFDC2-03C0-48A1-B666-B396041D0628}"/>
                </a:ext>
              </a:extLst>
            </p:cNvPr>
            <p:cNvGrpSpPr/>
            <p:nvPr/>
          </p:nvGrpSpPr>
          <p:grpSpPr>
            <a:xfrm>
              <a:off x="3132359" y="3324733"/>
              <a:ext cx="70461" cy="72000"/>
              <a:chOff x="5800094" y="2078182"/>
              <a:chExt cx="70461" cy="72000"/>
            </a:xfrm>
          </p:grpSpPr>
          <p:cxnSp>
            <p:nvCxnSpPr>
              <p:cNvPr id="327" name="Straight Connector 326">
                <a:extLst>
                  <a:ext uri="{FF2B5EF4-FFF2-40B4-BE49-F238E27FC236}">
                    <a16:creationId xmlns:a16="http://schemas.microsoft.com/office/drawing/2014/main" id="{835BE1A4-9E23-48CC-A9BF-F7B133D57B3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28" name="Straight Connector 327">
                <a:extLst>
                  <a:ext uri="{FF2B5EF4-FFF2-40B4-BE49-F238E27FC236}">
                    <a16:creationId xmlns:a16="http://schemas.microsoft.com/office/drawing/2014/main" id="{6CDB24E0-2AFE-43B4-9D0B-51F9649A4CB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29" name="Group 328">
              <a:extLst>
                <a:ext uri="{FF2B5EF4-FFF2-40B4-BE49-F238E27FC236}">
                  <a16:creationId xmlns:a16="http://schemas.microsoft.com/office/drawing/2014/main" id="{195C7440-0710-434F-B382-A3E58B4CCC97}"/>
                </a:ext>
              </a:extLst>
            </p:cNvPr>
            <p:cNvGrpSpPr/>
            <p:nvPr/>
          </p:nvGrpSpPr>
          <p:grpSpPr>
            <a:xfrm>
              <a:off x="3127563" y="3305513"/>
              <a:ext cx="70461" cy="72000"/>
              <a:chOff x="5800094" y="2078182"/>
              <a:chExt cx="70461" cy="72000"/>
            </a:xfrm>
          </p:grpSpPr>
          <p:cxnSp>
            <p:nvCxnSpPr>
              <p:cNvPr id="330" name="Straight Connector 329">
                <a:extLst>
                  <a:ext uri="{FF2B5EF4-FFF2-40B4-BE49-F238E27FC236}">
                    <a16:creationId xmlns:a16="http://schemas.microsoft.com/office/drawing/2014/main" id="{946AFDE2-29DC-483C-9B1F-7EC88650115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31" name="Straight Connector 330">
                <a:extLst>
                  <a:ext uri="{FF2B5EF4-FFF2-40B4-BE49-F238E27FC236}">
                    <a16:creationId xmlns:a16="http://schemas.microsoft.com/office/drawing/2014/main" id="{AB94FC12-46B4-445A-A3D6-8C4D6BE8211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32" name="Group 331">
              <a:extLst>
                <a:ext uri="{FF2B5EF4-FFF2-40B4-BE49-F238E27FC236}">
                  <a16:creationId xmlns:a16="http://schemas.microsoft.com/office/drawing/2014/main" id="{FA28CA18-64C6-4871-BB01-D4C592FF2617}"/>
                </a:ext>
              </a:extLst>
            </p:cNvPr>
            <p:cNvGrpSpPr/>
            <p:nvPr/>
          </p:nvGrpSpPr>
          <p:grpSpPr>
            <a:xfrm>
              <a:off x="3131701" y="3358631"/>
              <a:ext cx="70461" cy="72000"/>
              <a:chOff x="5800094" y="2078182"/>
              <a:chExt cx="70461" cy="72000"/>
            </a:xfrm>
          </p:grpSpPr>
          <p:cxnSp>
            <p:nvCxnSpPr>
              <p:cNvPr id="333" name="Straight Connector 332">
                <a:extLst>
                  <a:ext uri="{FF2B5EF4-FFF2-40B4-BE49-F238E27FC236}">
                    <a16:creationId xmlns:a16="http://schemas.microsoft.com/office/drawing/2014/main" id="{68518BF1-B74D-402F-B510-CA0905471E7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34" name="Straight Connector 333">
                <a:extLst>
                  <a:ext uri="{FF2B5EF4-FFF2-40B4-BE49-F238E27FC236}">
                    <a16:creationId xmlns:a16="http://schemas.microsoft.com/office/drawing/2014/main" id="{D93F96B7-157F-4F30-BE49-0482AC8C9A4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35" name="Group 334">
              <a:extLst>
                <a:ext uri="{FF2B5EF4-FFF2-40B4-BE49-F238E27FC236}">
                  <a16:creationId xmlns:a16="http://schemas.microsoft.com/office/drawing/2014/main" id="{21090E05-3921-4278-807F-F9560ED6D00D}"/>
                </a:ext>
              </a:extLst>
            </p:cNvPr>
            <p:cNvGrpSpPr/>
            <p:nvPr/>
          </p:nvGrpSpPr>
          <p:grpSpPr>
            <a:xfrm>
              <a:off x="3115105" y="3304792"/>
              <a:ext cx="70461" cy="72000"/>
              <a:chOff x="5800094" y="2078182"/>
              <a:chExt cx="70461" cy="72000"/>
            </a:xfrm>
          </p:grpSpPr>
          <p:cxnSp>
            <p:nvCxnSpPr>
              <p:cNvPr id="336" name="Straight Connector 335">
                <a:extLst>
                  <a:ext uri="{FF2B5EF4-FFF2-40B4-BE49-F238E27FC236}">
                    <a16:creationId xmlns:a16="http://schemas.microsoft.com/office/drawing/2014/main" id="{37FCAFDC-C2C0-4668-9510-4C75C68B965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37" name="Straight Connector 336">
                <a:extLst>
                  <a:ext uri="{FF2B5EF4-FFF2-40B4-BE49-F238E27FC236}">
                    <a16:creationId xmlns:a16="http://schemas.microsoft.com/office/drawing/2014/main" id="{0C6D81BA-C3D4-4198-AB6E-FFA40C44224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38" name="Group 337">
              <a:extLst>
                <a:ext uri="{FF2B5EF4-FFF2-40B4-BE49-F238E27FC236}">
                  <a16:creationId xmlns:a16="http://schemas.microsoft.com/office/drawing/2014/main" id="{127683FF-D02D-497C-BF5E-EBD2CC98FCBE}"/>
                </a:ext>
              </a:extLst>
            </p:cNvPr>
            <p:cNvGrpSpPr/>
            <p:nvPr/>
          </p:nvGrpSpPr>
          <p:grpSpPr>
            <a:xfrm>
              <a:off x="3094391" y="3304403"/>
              <a:ext cx="70461" cy="72000"/>
              <a:chOff x="5800094" y="2078182"/>
              <a:chExt cx="70461" cy="72000"/>
            </a:xfrm>
          </p:grpSpPr>
          <p:cxnSp>
            <p:nvCxnSpPr>
              <p:cNvPr id="339" name="Straight Connector 338">
                <a:extLst>
                  <a:ext uri="{FF2B5EF4-FFF2-40B4-BE49-F238E27FC236}">
                    <a16:creationId xmlns:a16="http://schemas.microsoft.com/office/drawing/2014/main" id="{4CA72362-001D-4E40-ACB5-14FC1D304AA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0" name="Straight Connector 339">
                <a:extLst>
                  <a:ext uri="{FF2B5EF4-FFF2-40B4-BE49-F238E27FC236}">
                    <a16:creationId xmlns:a16="http://schemas.microsoft.com/office/drawing/2014/main" id="{1F1651E7-CE9C-4363-85D3-F4D5F0E9CE6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41" name="Group 340">
              <a:extLst>
                <a:ext uri="{FF2B5EF4-FFF2-40B4-BE49-F238E27FC236}">
                  <a16:creationId xmlns:a16="http://schemas.microsoft.com/office/drawing/2014/main" id="{7088FE9E-7AC1-4397-AE91-613A1FA77F35}"/>
                </a:ext>
              </a:extLst>
            </p:cNvPr>
            <p:cNvGrpSpPr/>
            <p:nvPr/>
          </p:nvGrpSpPr>
          <p:grpSpPr>
            <a:xfrm>
              <a:off x="3077293" y="3301944"/>
              <a:ext cx="70461" cy="72000"/>
              <a:chOff x="5800094" y="2078182"/>
              <a:chExt cx="70461" cy="72000"/>
            </a:xfrm>
          </p:grpSpPr>
          <p:cxnSp>
            <p:nvCxnSpPr>
              <p:cNvPr id="342" name="Straight Connector 341">
                <a:extLst>
                  <a:ext uri="{FF2B5EF4-FFF2-40B4-BE49-F238E27FC236}">
                    <a16:creationId xmlns:a16="http://schemas.microsoft.com/office/drawing/2014/main" id="{F8B6A60F-383D-4BA3-B3F8-7398FE6C6EB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3" name="Straight Connector 342">
                <a:extLst>
                  <a:ext uri="{FF2B5EF4-FFF2-40B4-BE49-F238E27FC236}">
                    <a16:creationId xmlns:a16="http://schemas.microsoft.com/office/drawing/2014/main" id="{7FEDD3E2-2796-450C-BF85-C1F2888C930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44" name="Group 343">
              <a:extLst>
                <a:ext uri="{FF2B5EF4-FFF2-40B4-BE49-F238E27FC236}">
                  <a16:creationId xmlns:a16="http://schemas.microsoft.com/office/drawing/2014/main" id="{3407747C-2E72-4338-920F-8B90F46C2CEE}"/>
                </a:ext>
              </a:extLst>
            </p:cNvPr>
            <p:cNvGrpSpPr/>
            <p:nvPr/>
          </p:nvGrpSpPr>
          <p:grpSpPr>
            <a:xfrm>
              <a:off x="3060824" y="3298962"/>
              <a:ext cx="70461" cy="72000"/>
              <a:chOff x="5800094" y="2078182"/>
              <a:chExt cx="70461" cy="72000"/>
            </a:xfrm>
          </p:grpSpPr>
          <p:cxnSp>
            <p:nvCxnSpPr>
              <p:cNvPr id="345" name="Straight Connector 344">
                <a:extLst>
                  <a:ext uri="{FF2B5EF4-FFF2-40B4-BE49-F238E27FC236}">
                    <a16:creationId xmlns:a16="http://schemas.microsoft.com/office/drawing/2014/main" id="{65E25658-BFDA-4B66-AF34-E2F69BF34A8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6" name="Straight Connector 345">
                <a:extLst>
                  <a:ext uri="{FF2B5EF4-FFF2-40B4-BE49-F238E27FC236}">
                    <a16:creationId xmlns:a16="http://schemas.microsoft.com/office/drawing/2014/main" id="{DA8A7A51-3210-4263-9F7B-1B9C375141F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47" name="Group 346">
              <a:extLst>
                <a:ext uri="{FF2B5EF4-FFF2-40B4-BE49-F238E27FC236}">
                  <a16:creationId xmlns:a16="http://schemas.microsoft.com/office/drawing/2014/main" id="{9425E230-2FD9-43F1-A96B-D519B4D1C733}"/>
                </a:ext>
              </a:extLst>
            </p:cNvPr>
            <p:cNvGrpSpPr/>
            <p:nvPr/>
          </p:nvGrpSpPr>
          <p:grpSpPr>
            <a:xfrm>
              <a:off x="3040773" y="3298304"/>
              <a:ext cx="70461" cy="72000"/>
              <a:chOff x="5800094" y="2078182"/>
              <a:chExt cx="70461" cy="72000"/>
            </a:xfrm>
          </p:grpSpPr>
          <p:cxnSp>
            <p:nvCxnSpPr>
              <p:cNvPr id="348" name="Straight Connector 347">
                <a:extLst>
                  <a:ext uri="{FF2B5EF4-FFF2-40B4-BE49-F238E27FC236}">
                    <a16:creationId xmlns:a16="http://schemas.microsoft.com/office/drawing/2014/main" id="{8B949E0A-D892-4E4B-A774-37AA0D099BB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9" name="Straight Connector 348">
                <a:extLst>
                  <a:ext uri="{FF2B5EF4-FFF2-40B4-BE49-F238E27FC236}">
                    <a16:creationId xmlns:a16="http://schemas.microsoft.com/office/drawing/2014/main" id="{28710EAE-38A8-49FB-9044-4393DBEA1C7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50" name="Group 349">
              <a:extLst>
                <a:ext uri="{FF2B5EF4-FFF2-40B4-BE49-F238E27FC236}">
                  <a16:creationId xmlns:a16="http://schemas.microsoft.com/office/drawing/2014/main" id="{092E3731-DB4A-43F9-8E03-10E9B619C3CC}"/>
                </a:ext>
              </a:extLst>
            </p:cNvPr>
            <p:cNvGrpSpPr/>
            <p:nvPr/>
          </p:nvGrpSpPr>
          <p:grpSpPr>
            <a:xfrm>
              <a:off x="3028727" y="3298257"/>
              <a:ext cx="70461" cy="72000"/>
              <a:chOff x="5800094" y="2078182"/>
              <a:chExt cx="70461" cy="72000"/>
            </a:xfrm>
          </p:grpSpPr>
          <p:cxnSp>
            <p:nvCxnSpPr>
              <p:cNvPr id="351" name="Straight Connector 350">
                <a:extLst>
                  <a:ext uri="{FF2B5EF4-FFF2-40B4-BE49-F238E27FC236}">
                    <a16:creationId xmlns:a16="http://schemas.microsoft.com/office/drawing/2014/main" id="{93760AAC-2AAC-4B06-B777-2163C171923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2" name="Straight Connector 351">
                <a:extLst>
                  <a:ext uri="{FF2B5EF4-FFF2-40B4-BE49-F238E27FC236}">
                    <a16:creationId xmlns:a16="http://schemas.microsoft.com/office/drawing/2014/main" id="{1100EF61-A5FD-44CA-B7FA-BC08B7B6024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53" name="Group 352">
              <a:extLst>
                <a:ext uri="{FF2B5EF4-FFF2-40B4-BE49-F238E27FC236}">
                  <a16:creationId xmlns:a16="http://schemas.microsoft.com/office/drawing/2014/main" id="{19990279-9F55-4B81-ADC2-D9C337DFB20A}"/>
                </a:ext>
              </a:extLst>
            </p:cNvPr>
            <p:cNvGrpSpPr/>
            <p:nvPr/>
          </p:nvGrpSpPr>
          <p:grpSpPr>
            <a:xfrm>
              <a:off x="3009346" y="3298257"/>
              <a:ext cx="70461" cy="72000"/>
              <a:chOff x="5800094" y="2078182"/>
              <a:chExt cx="70461" cy="72000"/>
            </a:xfrm>
          </p:grpSpPr>
          <p:cxnSp>
            <p:nvCxnSpPr>
              <p:cNvPr id="354" name="Straight Connector 353">
                <a:extLst>
                  <a:ext uri="{FF2B5EF4-FFF2-40B4-BE49-F238E27FC236}">
                    <a16:creationId xmlns:a16="http://schemas.microsoft.com/office/drawing/2014/main" id="{E3B90793-6D57-4A69-9855-5B310813F63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5" name="Straight Connector 354">
                <a:extLst>
                  <a:ext uri="{FF2B5EF4-FFF2-40B4-BE49-F238E27FC236}">
                    <a16:creationId xmlns:a16="http://schemas.microsoft.com/office/drawing/2014/main" id="{5E50F907-2DC5-47EC-889B-5E8105422E2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56" name="Group 355">
              <a:extLst>
                <a:ext uri="{FF2B5EF4-FFF2-40B4-BE49-F238E27FC236}">
                  <a16:creationId xmlns:a16="http://schemas.microsoft.com/office/drawing/2014/main" id="{B4F1318B-4187-470A-AF41-5BF720DBCFD7}"/>
                </a:ext>
              </a:extLst>
            </p:cNvPr>
            <p:cNvGrpSpPr/>
            <p:nvPr/>
          </p:nvGrpSpPr>
          <p:grpSpPr>
            <a:xfrm>
              <a:off x="2989843" y="3298257"/>
              <a:ext cx="70461" cy="72000"/>
              <a:chOff x="5800094" y="2078182"/>
              <a:chExt cx="70461" cy="72000"/>
            </a:xfrm>
          </p:grpSpPr>
          <p:cxnSp>
            <p:nvCxnSpPr>
              <p:cNvPr id="357" name="Straight Connector 356">
                <a:extLst>
                  <a:ext uri="{FF2B5EF4-FFF2-40B4-BE49-F238E27FC236}">
                    <a16:creationId xmlns:a16="http://schemas.microsoft.com/office/drawing/2014/main" id="{79E96841-9718-43DE-BAC9-9A9E67EC7C7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8" name="Straight Connector 357">
                <a:extLst>
                  <a:ext uri="{FF2B5EF4-FFF2-40B4-BE49-F238E27FC236}">
                    <a16:creationId xmlns:a16="http://schemas.microsoft.com/office/drawing/2014/main" id="{0DF52EE6-4554-480D-BA5F-A8360360F22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59" name="Group 358">
              <a:extLst>
                <a:ext uri="{FF2B5EF4-FFF2-40B4-BE49-F238E27FC236}">
                  <a16:creationId xmlns:a16="http://schemas.microsoft.com/office/drawing/2014/main" id="{F99C802E-6088-4C5B-975E-928AC730E513}"/>
                </a:ext>
              </a:extLst>
            </p:cNvPr>
            <p:cNvGrpSpPr/>
            <p:nvPr/>
          </p:nvGrpSpPr>
          <p:grpSpPr>
            <a:xfrm>
              <a:off x="2974976" y="3298257"/>
              <a:ext cx="70461" cy="72000"/>
              <a:chOff x="5800094" y="2078182"/>
              <a:chExt cx="70461" cy="72000"/>
            </a:xfrm>
          </p:grpSpPr>
          <p:cxnSp>
            <p:nvCxnSpPr>
              <p:cNvPr id="360" name="Straight Connector 359">
                <a:extLst>
                  <a:ext uri="{FF2B5EF4-FFF2-40B4-BE49-F238E27FC236}">
                    <a16:creationId xmlns:a16="http://schemas.microsoft.com/office/drawing/2014/main" id="{99103E6D-52C3-4A17-BDBE-9EDA2945AD5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61" name="Straight Connector 360">
                <a:extLst>
                  <a:ext uri="{FF2B5EF4-FFF2-40B4-BE49-F238E27FC236}">
                    <a16:creationId xmlns:a16="http://schemas.microsoft.com/office/drawing/2014/main" id="{5E9E993D-64BE-46E1-A1F2-21BF0C96D6B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62" name="Group 361">
              <a:extLst>
                <a:ext uri="{FF2B5EF4-FFF2-40B4-BE49-F238E27FC236}">
                  <a16:creationId xmlns:a16="http://schemas.microsoft.com/office/drawing/2014/main" id="{A25AF5ED-1F60-4AB5-9661-100F8803F802}"/>
                </a:ext>
              </a:extLst>
            </p:cNvPr>
            <p:cNvGrpSpPr/>
            <p:nvPr/>
          </p:nvGrpSpPr>
          <p:grpSpPr>
            <a:xfrm>
              <a:off x="2959930" y="3284482"/>
              <a:ext cx="70461" cy="72000"/>
              <a:chOff x="5800094" y="2078182"/>
              <a:chExt cx="70461" cy="72000"/>
            </a:xfrm>
          </p:grpSpPr>
          <p:cxnSp>
            <p:nvCxnSpPr>
              <p:cNvPr id="363" name="Straight Connector 362">
                <a:extLst>
                  <a:ext uri="{FF2B5EF4-FFF2-40B4-BE49-F238E27FC236}">
                    <a16:creationId xmlns:a16="http://schemas.microsoft.com/office/drawing/2014/main" id="{5B3ECCF7-B213-4046-9B11-7095EA13685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64" name="Straight Connector 363">
                <a:extLst>
                  <a:ext uri="{FF2B5EF4-FFF2-40B4-BE49-F238E27FC236}">
                    <a16:creationId xmlns:a16="http://schemas.microsoft.com/office/drawing/2014/main" id="{6BD0EA35-90A9-4A2D-9903-F1747EBB38E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65" name="Group 364">
              <a:extLst>
                <a:ext uri="{FF2B5EF4-FFF2-40B4-BE49-F238E27FC236}">
                  <a16:creationId xmlns:a16="http://schemas.microsoft.com/office/drawing/2014/main" id="{EE5340F7-8F15-401F-A1FC-B67D00FB286C}"/>
                </a:ext>
              </a:extLst>
            </p:cNvPr>
            <p:cNvGrpSpPr/>
            <p:nvPr/>
          </p:nvGrpSpPr>
          <p:grpSpPr>
            <a:xfrm>
              <a:off x="2965910" y="3262211"/>
              <a:ext cx="70461" cy="72000"/>
              <a:chOff x="5800094" y="2078182"/>
              <a:chExt cx="70461" cy="72000"/>
            </a:xfrm>
          </p:grpSpPr>
          <p:cxnSp>
            <p:nvCxnSpPr>
              <p:cNvPr id="366" name="Straight Connector 365">
                <a:extLst>
                  <a:ext uri="{FF2B5EF4-FFF2-40B4-BE49-F238E27FC236}">
                    <a16:creationId xmlns:a16="http://schemas.microsoft.com/office/drawing/2014/main" id="{DFB12141-AAE0-4C86-B252-99E9588A23E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67" name="Straight Connector 366">
                <a:extLst>
                  <a:ext uri="{FF2B5EF4-FFF2-40B4-BE49-F238E27FC236}">
                    <a16:creationId xmlns:a16="http://schemas.microsoft.com/office/drawing/2014/main" id="{22E860F6-9834-47AE-9749-4AE2B00BB74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68" name="Group 367">
              <a:extLst>
                <a:ext uri="{FF2B5EF4-FFF2-40B4-BE49-F238E27FC236}">
                  <a16:creationId xmlns:a16="http://schemas.microsoft.com/office/drawing/2014/main" id="{0F361B3E-3FC6-4E8D-8F6C-7A3B80740BCE}"/>
                </a:ext>
              </a:extLst>
            </p:cNvPr>
            <p:cNvGrpSpPr/>
            <p:nvPr/>
          </p:nvGrpSpPr>
          <p:grpSpPr>
            <a:xfrm>
              <a:off x="2959076" y="3245307"/>
              <a:ext cx="70461" cy="72000"/>
              <a:chOff x="5800094" y="2078182"/>
              <a:chExt cx="70461" cy="72000"/>
            </a:xfrm>
          </p:grpSpPr>
          <p:cxnSp>
            <p:nvCxnSpPr>
              <p:cNvPr id="369" name="Straight Connector 368">
                <a:extLst>
                  <a:ext uri="{FF2B5EF4-FFF2-40B4-BE49-F238E27FC236}">
                    <a16:creationId xmlns:a16="http://schemas.microsoft.com/office/drawing/2014/main" id="{C62116E6-F306-43FE-BBD8-7B6B5476CFF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0" name="Straight Connector 369">
                <a:extLst>
                  <a:ext uri="{FF2B5EF4-FFF2-40B4-BE49-F238E27FC236}">
                    <a16:creationId xmlns:a16="http://schemas.microsoft.com/office/drawing/2014/main" id="{125054B5-7129-452D-9003-9B4E4ACA010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71" name="Group 370">
              <a:extLst>
                <a:ext uri="{FF2B5EF4-FFF2-40B4-BE49-F238E27FC236}">
                  <a16:creationId xmlns:a16="http://schemas.microsoft.com/office/drawing/2014/main" id="{D276CCE0-37EA-4AB1-AA02-29817975E17A}"/>
                </a:ext>
              </a:extLst>
            </p:cNvPr>
            <p:cNvGrpSpPr/>
            <p:nvPr/>
          </p:nvGrpSpPr>
          <p:grpSpPr>
            <a:xfrm>
              <a:off x="2948980" y="3230195"/>
              <a:ext cx="70461" cy="72000"/>
              <a:chOff x="5800094" y="2078182"/>
              <a:chExt cx="70461" cy="72000"/>
            </a:xfrm>
          </p:grpSpPr>
          <p:cxnSp>
            <p:nvCxnSpPr>
              <p:cNvPr id="372" name="Straight Connector 371">
                <a:extLst>
                  <a:ext uri="{FF2B5EF4-FFF2-40B4-BE49-F238E27FC236}">
                    <a16:creationId xmlns:a16="http://schemas.microsoft.com/office/drawing/2014/main" id="{15FFB84A-E036-45E1-B791-1DA1980388A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3" name="Straight Connector 372">
                <a:extLst>
                  <a:ext uri="{FF2B5EF4-FFF2-40B4-BE49-F238E27FC236}">
                    <a16:creationId xmlns:a16="http://schemas.microsoft.com/office/drawing/2014/main" id="{68936183-ABC4-401F-8D28-0B9AD05F8D6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74" name="Group 373">
              <a:extLst>
                <a:ext uri="{FF2B5EF4-FFF2-40B4-BE49-F238E27FC236}">
                  <a16:creationId xmlns:a16="http://schemas.microsoft.com/office/drawing/2014/main" id="{EC263BFE-D867-4862-BF2D-8224250F9C2C}"/>
                </a:ext>
              </a:extLst>
            </p:cNvPr>
            <p:cNvGrpSpPr/>
            <p:nvPr/>
          </p:nvGrpSpPr>
          <p:grpSpPr>
            <a:xfrm>
              <a:off x="2939696" y="3220414"/>
              <a:ext cx="70461" cy="72000"/>
              <a:chOff x="5800094" y="2078182"/>
              <a:chExt cx="70461" cy="72000"/>
            </a:xfrm>
          </p:grpSpPr>
          <p:cxnSp>
            <p:nvCxnSpPr>
              <p:cNvPr id="375" name="Straight Connector 374">
                <a:extLst>
                  <a:ext uri="{FF2B5EF4-FFF2-40B4-BE49-F238E27FC236}">
                    <a16:creationId xmlns:a16="http://schemas.microsoft.com/office/drawing/2014/main" id="{F56B99AD-C40C-480D-AC4E-7AFEC7A2AD3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6" name="Straight Connector 375">
                <a:extLst>
                  <a:ext uri="{FF2B5EF4-FFF2-40B4-BE49-F238E27FC236}">
                    <a16:creationId xmlns:a16="http://schemas.microsoft.com/office/drawing/2014/main" id="{B3124E06-8839-4847-9AB8-214843E34BB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77" name="Group 376">
              <a:extLst>
                <a:ext uri="{FF2B5EF4-FFF2-40B4-BE49-F238E27FC236}">
                  <a16:creationId xmlns:a16="http://schemas.microsoft.com/office/drawing/2014/main" id="{754DCBE7-EA38-4338-83CD-BBE47FE12E8D}"/>
                </a:ext>
              </a:extLst>
            </p:cNvPr>
            <p:cNvGrpSpPr/>
            <p:nvPr/>
          </p:nvGrpSpPr>
          <p:grpSpPr>
            <a:xfrm>
              <a:off x="2917496" y="3215076"/>
              <a:ext cx="70461" cy="72000"/>
              <a:chOff x="5800094" y="2078182"/>
              <a:chExt cx="70461" cy="72000"/>
            </a:xfrm>
          </p:grpSpPr>
          <p:cxnSp>
            <p:nvCxnSpPr>
              <p:cNvPr id="378" name="Straight Connector 377">
                <a:extLst>
                  <a:ext uri="{FF2B5EF4-FFF2-40B4-BE49-F238E27FC236}">
                    <a16:creationId xmlns:a16="http://schemas.microsoft.com/office/drawing/2014/main" id="{FE664318-6A33-4E1E-931E-6AE9F062591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9" name="Straight Connector 378">
                <a:extLst>
                  <a:ext uri="{FF2B5EF4-FFF2-40B4-BE49-F238E27FC236}">
                    <a16:creationId xmlns:a16="http://schemas.microsoft.com/office/drawing/2014/main" id="{E6BE6FB7-30C0-4DFA-8045-9922EF383F9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80" name="Group 379">
              <a:extLst>
                <a:ext uri="{FF2B5EF4-FFF2-40B4-BE49-F238E27FC236}">
                  <a16:creationId xmlns:a16="http://schemas.microsoft.com/office/drawing/2014/main" id="{A4BB8396-7AD0-4433-95DC-EB0C6D399B02}"/>
                </a:ext>
              </a:extLst>
            </p:cNvPr>
            <p:cNvGrpSpPr/>
            <p:nvPr/>
          </p:nvGrpSpPr>
          <p:grpSpPr>
            <a:xfrm>
              <a:off x="2907400" y="3215076"/>
              <a:ext cx="70461" cy="72000"/>
              <a:chOff x="5800094" y="2078182"/>
              <a:chExt cx="70461" cy="72000"/>
            </a:xfrm>
          </p:grpSpPr>
          <p:cxnSp>
            <p:nvCxnSpPr>
              <p:cNvPr id="381" name="Straight Connector 380">
                <a:extLst>
                  <a:ext uri="{FF2B5EF4-FFF2-40B4-BE49-F238E27FC236}">
                    <a16:creationId xmlns:a16="http://schemas.microsoft.com/office/drawing/2014/main" id="{C1780993-8CE9-401E-849B-31571BAE9D6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2" name="Straight Connector 381">
                <a:extLst>
                  <a:ext uri="{FF2B5EF4-FFF2-40B4-BE49-F238E27FC236}">
                    <a16:creationId xmlns:a16="http://schemas.microsoft.com/office/drawing/2014/main" id="{4B63A978-9BA2-4F9A-85B3-6FD5A5A6FBE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83" name="Group 382">
              <a:extLst>
                <a:ext uri="{FF2B5EF4-FFF2-40B4-BE49-F238E27FC236}">
                  <a16:creationId xmlns:a16="http://schemas.microsoft.com/office/drawing/2014/main" id="{75F98149-A37F-4898-A0D4-61DF918DFDB0}"/>
                </a:ext>
              </a:extLst>
            </p:cNvPr>
            <p:cNvGrpSpPr/>
            <p:nvPr/>
          </p:nvGrpSpPr>
          <p:grpSpPr>
            <a:xfrm>
              <a:off x="2893124" y="3215076"/>
              <a:ext cx="70461" cy="72000"/>
              <a:chOff x="5800094" y="2078182"/>
              <a:chExt cx="70461" cy="72000"/>
            </a:xfrm>
          </p:grpSpPr>
          <p:cxnSp>
            <p:nvCxnSpPr>
              <p:cNvPr id="384" name="Straight Connector 383">
                <a:extLst>
                  <a:ext uri="{FF2B5EF4-FFF2-40B4-BE49-F238E27FC236}">
                    <a16:creationId xmlns:a16="http://schemas.microsoft.com/office/drawing/2014/main" id="{CF71EB3D-0029-46DF-8D31-4754EDB2A75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5" name="Straight Connector 384">
                <a:extLst>
                  <a:ext uri="{FF2B5EF4-FFF2-40B4-BE49-F238E27FC236}">
                    <a16:creationId xmlns:a16="http://schemas.microsoft.com/office/drawing/2014/main" id="{7DB29ADF-26DC-4E96-A2FC-A81C20E0FD1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86" name="Group 385">
              <a:extLst>
                <a:ext uri="{FF2B5EF4-FFF2-40B4-BE49-F238E27FC236}">
                  <a16:creationId xmlns:a16="http://schemas.microsoft.com/office/drawing/2014/main" id="{EB339925-27E7-43EB-9296-9C81C039634C}"/>
                </a:ext>
              </a:extLst>
            </p:cNvPr>
            <p:cNvGrpSpPr/>
            <p:nvPr/>
          </p:nvGrpSpPr>
          <p:grpSpPr>
            <a:xfrm>
              <a:off x="2877096" y="3211370"/>
              <a:ext cx="70461" cy="72000"/>
              <a:chOff x="5800094" y="2078182"/>
              <a:chExt cx="70461" cy="72000"/>
            </a:xfrm>
          </p:grpSpPr>
          <p:cxnSp>
            <p:nvCxnSpPr>
              <p:cNvPr id="387" name="Straight Connector 386">
                <a:extLst>
                  <a:ext uri="{FF2B5EF4-FFF2-40B4-BE49-F238E27FC236}">
                    <a16:creationId xmlns:a16="http://schemas.microsoft.com/office/drawing/2014/main" id="{1CB380A0-1255-49A6-960C-5DD6EAC1D9E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8" name="Straight Connector 387">
                <a:extLst>
                  <a:ext uri="{FF2B5EF4-FFF2-40B4-BE49-F238E27FC236}">
                    <a16:creationId xmlns:a16="http://schemas.microsoft.com/office/drawing/2014/main" id="{8A2525D1-18B3-4D36-B75E-5C5845464D7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89" name="Group 388">
              <a:extLst>
                <a:ext uri="{FF2B5EF4-FFF2-40B4-BE49-F238E27FC236}">
                  <a16:creationId xmlns:a16="http://schemas.microsoft.com/office/drawing/2014/main" id="{7D339AE6-CAB6-4C14-8B57-B8DAC4D820E7}"/>
                </a:ext>
              </a:extLst>
            </p:cNvPr>
            <p:cNvGrpSpPr/>
            <p:nvPr/>
          </p:nvGrpSpPr>
          <p:grpSpPr>
            <a:xfrm>
              <a:off x="2862885" y="3209307"/>
              <a:ext cx="70461" cy="72000"/>
              <a:chOff x="5800094" y="2078182"/>
              <a:chExt cx="70461" cy="72000"/>
            </a:xfrm>
          </p:grpSpPr>
          <p:cxnSp>
            <p:nvCxnSpPr>
              <p:cNvPr id="390" name="Straight Connector 389">
                <a:extLst>
                  <a:ext uri="{FF2B5EF4-FFF2-40B4-BE49-F238E27FC236}">
                    <a16:creationId xmlns:a16="http://schemas.microsoft.com/office/drawing/2014/main" id="{8B4FF46A-1902-4332-8406-10AD2B83D30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1" name="Straight Connector 390">
                <a:extLst>
                  <a:ext uri="{FF2B5EF4-FFF2-40B4-BE49-F238E27FC236}">
                    <a16:creationId xmlns:a16="http://schemas.microsoft.com/office/drawing/2014/main" id="{93501432-4844-43C4-9EB6-C69A946062C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92" name="Group 391">
              <a:extLst>
                <a:ext uri="{FF2B5EF4-FFF2-40B4-BE49-F238E27FC236}">
                  <a16:creationId xmlns:a16="http://schemas.microsoft.com/office/drawing/2014/main" id="{D312B835-DAF7-492A-B09E-849AF15EBA85}"/>
                </a:ext>
              </a:extLst>
            </p:cNvPr>
            <p:cNvGrpSpPr/>
            <p:nvPr/>
          </p:nvGrpSpPr>
          <p:grpSpPr>
            <a:xfrm>
              <a:off x="2852649" y="3173279"/>
              <a:ext cx="70461" cy="72000"/>
              <a:chOff x="5800094" y="2078182"/>
              <a:chExt cx="70461" cy="72000"/>
            </a:xfrm>
          </p:grpSpPr>
          <p:cxnSp>
            <p:nvCxnSpPr>
              <p:cNvPr id="393" name="Straight Connector 392">
                <a:extLst>
                  <a:ext uri="{FF2B5EF4-FFF2-40B4-BE49-F238E27FC236}">
                    <a16:creationId xmlns:a16="http://schemas.microsoft.com/office/drawing/2014/main" id="{81274348-E797-4A35-9923-6BC4951CEE1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4" name="Straight Connector 393">
                <a:extLst>
                  <a:ext uri="{FF2B5EF4-FFF2-40B4-BE49-F238E27FC236}">
                    <a16:creationId xmlns:a16="http://schemas.microsoft.com/office/drawing/2014/main" id="{4F0BA9B5-021F-4405-84E2-91D05C531AE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95" name="Group 394">
              <a:extLst>
                <a:ext uri="{FF2B5EF4-FFF2-40B4-BE49-F238E27FC236}">
                  <a16:creationId xmlns:a16="http://schemas.microsoft.com/office/drawing/2014/main" id="{AFBCE9D4-9E3D-4078-B66F-AFCAA808E103}"/>
                </a:ext>
              </a:extLst>
            </p:cNvPr>
            <p:cNvGrpSpPr/>
            <p:nvPr/>
          </p:nvGrpSpPr>
          <p:grpSpPr>
            <a:xfrm>
              <a:off x="2843440" y="3154662"/>
              <a:ext cx="70461" cy="72000"/>
              <a:chOff x="5800094" y="2078182"/>
              <a:chExt cx="70461" cy="72000"/>
            </a:xfrm>
          </p:grpSpPr>
          <p:cxnSp>
            <p:nvCxnSpPr>
              <p:cNvPr id="396" name="Straight Connector 395">
                <a:extLst>
                  <a:ext uri="{FF2B5EF4-FFF2-40B4-BE49-F238E27FC236}">
                    <a16:creationId xmlns:a16="http://schemas.microsoft.com/office/drawing/2014/main" id="{87404689-6963-47B4-AA0A-BA4340DE98A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7" name="Straight Connector 396">
                <a:extLst>
                  <a:ext uri="{FF2B5EF4-FFF2-40B4-BE49-F238E27FC236}">
                    <a16:creationId xmlns:a16="http://schemas.microsoft.com/office/drawing/2014/main" id="{275364B3-541A-4E7F-862E-C6412D21FC9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398" name="Group 397">
              <a:extLst>
                <a:ext uri="{FF2B5EF4-FFF2-40B4-BE49-F238E27FC236}">
                  <a16:creationId xmlns:a16="http://schemas.microsoft.com/office/drawing/2014/main" id="{89488D77-F8A5-4EA6-A8B2-7077E34AEADD}"/>
                </a:ext>
              </a:extLst>
            </p:cNvPr>
            <p:cNvGrpSpPr/>
            <p:nvPr/>
          </p:nvGrpSpPr>
          <p:grpSpPr>
            <a:xfrm>
              <a:off x="2824074" y="3154662"/>
              <a:ext cx="70461" cy="72000"/>
              <a:chOff x="5800094" y="2078182"/>
              <a:chExt cx="70461" cy="72000"/>
            </a:xfrm>
          </p:grpSpPr>
          <p:cxnSp>
            <p:nvCxnSpPr>
              <p:cNvPr id="399" name="Straight Connector 398">
                <a:extLst>
                  <a:ext uri="{FF2B5EF4-FFF2-40B4-BE49-F238E27FC236}">
                    <a16:creationId xmlns:a16="http://schemas.microsoft.com/office/drawing/2014/main" id="{2F3AB38C-99DF-438A-91A7-15D84634AC8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00" name="Straight Connector 399">
                <a:extLst>
                  <a:ext uri="{FF2B5EF4-FFF2-40B4-BE49-F238E27FC236}">
                    <a16:creationId xmlns:a16="http://schemas.microsoft.com/office/drawing/2014/main" id="{C0D37110-5E86-4EB6-B12E-38489D5BAED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01" name="Group 400">
              <a:extLst>
                <a:ext uri="{FF2B5EF4-FFF2-40B4-BE49-F238E27FC236}">
                  <a16:creationId xmlns:a16="http://schemas.microsoft.com/office/drawing/2014/main" id="{EE972875-FE52-4B24-8616-896283D2453D}"/>
                </a:ext>
              </a:extLst>
            </p:cNvPr>
            <p:cNvGrpSpPr/>
            <p:nvPr/>
          </p:nvGrpSpPr>
          <p:grpSpPr>
            <a:xfrm>
              <a:off x="2808719" y="3154662"/>
              <a:ext cx="70461" cy="72000"/>
              <a:chOff x="5800094" y="2078182"/>
              <a:chExt cx="70461" cy="72000"/>
            </a:xfrm>
          </p:grpSpPr>
          <p:cxnSp>
            <p:nvCxnSpPr>
              <p:cNvPr id="402" name="Straight Connector 401">
                <a:extLst>
                  <a:ext uri="{FF2B5EF4-FFF2-40B4-BE49-F238E27FC236}">
                    <a16:creationId xmlns:a16="http://schemas.microsoft.com/office/drawing/2014/main" id="{91EAF8AD-2039-4476-8A24-0A57C6C248A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03" name="Straight Connector 402">
                <a:extLst>
                  <a:ext uri="{FF2B5EF4-FFF2-40B4-BE49-F238E27FC236}">
                    <a16:creationId xmlns:a16="http://schemas.microsoft.com/office/drawing/2014/main" id="{39B484B3-BCD4-416D-BF6C-2D8D2755A90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04" name="Group 403">
              <a:extLst>
                <a:ext uri="{FF2B5EF4-FFF2-40B4-BE49-F238E27FC236}">
                  <a16:creationId xmlns:a16="http://schemas.microsoft.com/office/drawing/2014/main" id="{714D5646-0613-4A8B-B82C-F56FFB7D5CFC}"/>
                </a:ext>
              </a:extLst>
            </p:cNvPr>
            <p:cNvGrpSpPr/>
            <p:nvPr/>
          </p:nvGrpSpPr>
          <p:grpSpPr>
            <a:xfrm>
              <a:off x="2793992" y="3154662"/>
              <a:ext cx="70461" cy="72000"/>
              <a:chOff x="5800094" y="2078182"/>
              <a:chExt cx="70461" cy="72000"/>
            </a:xfrm>
          </p:grpSpPr>
          <p:cxnSp>
            <p:nvCxnSpPr>
              <p:cNvPr id="405" name="Straight Connector 404">
                <a:extLst>
                  <a:ext uri="{FF2B5EF4-FFF2-40B4-BE49-F238E27FC236}">
                    <a16:creationId xmlns:a16="http://schemas.microsoft.com/office/drawing/2014/main" id="{245322BC-8C3B-4DB7-9EEC-8E95A5A1173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06" name="Straight Connector 405">
                <a:extLst>
                  <a:ext uri="{FF2B5EF4-FFF2-40B4-BE49-F238E27FC236}">
                    <a16:creationId xmlns:a16="http://schemas.microsoft.com/office/drawing/2014/main" id="{E5870E38-A433-40FE-9B75-2DCF60CC488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07" name="Group 406">
              <a:extLst>
                <a:ext uri="{FF2B5EF4-FFF2-40B4-BE49-F238E27FC236}">
                  <a16:creationId xmlns:a16="http://schemas.microsoft.com/office/drawing/2014/main" id="{68A10167-366C-4EF7-B696-0B1B6907BCC5}"/>
                </a:ext>
              </a:extLst>
            </p:cNvPr>
            <p:cNvGrpSpPr/>
            <p:nvPr/>
          </p:nvGrpSpPr>
          <p:grpSpPr>
            <a:xfrm>
              <a:off x="2791815" y="3116572"/>
              <a:ext cx="70461" cy="72000"/>
              <a:chOff x="5800094" y="2078182"/>
              <a:chExt cx="70461" cy="72000"/>
            </a:xfrm>
          </p:grpSpPr>
          <p:cxnSp>
            <p:nvCxnSpPr>
              <p:cNvPr id="408" name="Straight Connector 407">
                <a:extLst>
                  <a:ext uri="{FF2B5EF4-FFF2-40B4-BE49-F238E27FC236}">
                    <a16:creationId xmlns:a16="http://schemas.microsoft.com/office/drawing/2014/main" id="{653157ED-F9B1-40F0-82C0-A569C6040EA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09" name="Straight Connector 408">
                <a:extLst>
                  <a:ext uri="{FF2B5EF4-FFF2-40B4-BE49-F238E27FC236}">
                    <a16:creationId xmlns:a16="http://schemas.microsoft.com/office/drawing/2014/main" id="{DF70B7ED-5E21-4804-987D-69A77FB0861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10" name="Group 409">
              <a:extLst>
                <a:ext uri="{FF2B5EF4-FFF2-40B4-BE49-F238E27FC236}">
                  <a16:creationId xmlns:a16="http://schemas.microsoft.com/office/drawing/2014/main" id="{1833AB45-4C07-471D-8769-88F9F13F03AC}"/>
                </a:ext>
              </a:extLst>
            </p:cNvPr>
            <p:cNvGrpSpPr/>
            <p:nvPr/>
          </p:nvGrpSpPr>
          <p:grpSpPr>
            <a:xfrm>
              <a:off x="2784413" y="3096473"/>
              <a:ext cx="70461" cy="72000"/>
              <a:chOff x="5800094" y="2078182"/>
              <a:chExt cx="70461" cy="72000"/>
            </a:xfrm>
          </p:grpSpPr>
          <p:cxnSp>
            <p:nvCxnSpPr>
              <p:cNvPr id="411" name="Straight Connector 410">
                <a:extLst>
                  <a:ext uri="{FF2B5EF4-FFF2-40B4-BE49-F238E27FC236}">
                    <a16:creationId xmlns:a16="http://schemas.microsoft.com/office/drawing/2014/main" id="{60FB1ED7-BD05-41FC-88F5-4FCF14790ED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12" name="Straight Connector 411">
                <a:extLst>
                  <a:ext uri="{FF2B5EF4-FFF2-40B4-BE49-F238E27FC236}">
                    <a16:creationId xmlns:a16="http://schemas.microsoft.com/office/drawing/2014/main" id="{2250C913-A159-49A2-80CB-57FC84EC5DC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13" name="Group 412">
              <a:extLst>
                <a:ext uri="{FF2B5EF4-FFF2-40B4-BE49-F238E27FC236}">
                  <a16:creationId xmlns:a16="http://schemas.microsoft.com/office/drawing/2014/main" id="{B29994B0-265D-4B05-9C58-C4EAB916AE6D}"/>
                </a:ext>
              </a:extLst>
            </p:cNvPr>
            <p:cNvGrpSpPr/>
            <p:nvPr/>
          </p:nvGrpSpPr>
          <p:grpSpPr>
            <a:xfrm>
              <a:off x="2784413" y="3073354"/>
              <a:ext cx="70461" cy="72000"/>
              <a:chOff x="5800094" y="2078182"/>
              <a:chExt cx="70461" cy="72000"/>
            </a:xfrm>
          </p:grpSpPr>
          <p:cxnSp>
            <p:nvCxnSpPr>
              <p:cNvPr id="414" name="Straight Connector 413">
                <a:extLst>
                  <a:ext uri="{FF2B5EF4-FFF2-40B4-BE49-F238E27FC236}">
                    <a16:creationId xmlns:a16="http://schemas.microsoft.com/office/drawing/2014/main" id="{052AFCDF-004B-41D7-8C3D-929E9DA68F7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15" name="Straight Connector 414">
                <a:extLst>
                  <a:ext uri="{FF2B5EF4-FFF2-40B4-BE49-F238E27FC236}">
                    <a16:creationId xmlns:a16="http://schemas.microsoft.com/office/drawing/2014/main" id="{68C79CDB-8957-4E5A-9CEB-A7CC595BA35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16" name="Group 415">
              <a:extLst>
                <a:ext uri="{FF2B5EF4-FFF2-40B4-BE49-F238E27FC236}">
                  <a16:creationId xmlns:a16="http://schemas.microsoft.com/office/drawing/2014/main" id="{A29B5EDD-7F3E-499D-A790-C6942DFCA58C}"/>
                </a:ext>
              </a:extLst>
            </p:cNvPr>
            <p:cNvGrpSpPr/>
            <p:nvPr/>
          </p:nvGrpSpPr>
          <p:grpSpPr>
            <a:xfrm>
              <a:off x="2784413" y="3064697"/>
              <a:ext cx="70461" cy="72000"/>
              <a:chOff x="5800094" y="2078182"/>
              <a:chExt cx="70461" cy="72000"/>
            </a:xfrm>
          </p:grpSpPr>
          <p:cxnSp>
            <p:nvCxnSpPr>
              <p:cNvPr id="417" name="Straight Connector 416">
                <a:extLst>
                  <a:ext uri="{FF2B5EF4-FFF2-40B4-BE49-F238E27FC236}">
                    <a16:creationId xmlns:a16="http://schemas.microsoft.com/office/drawing/2014/main" id="{6CB70878-D7C2-40F0-8D8D-FF1EE8E774B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18" name="Straight Connector 417">
                <a:extLst>
                  <a:ext uri="{FF2B5EF4-FFF2-40B4-BE49-F238E27FC236}">
                    <a16:creationId xmlns:a16="http://schemas.microsoft.com/office/drawing/2014/main" id="{0525A38B-909A-4AC5-BF96-2B565498B74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19" name="Group 418">
              <a:extLst>
                <a:ext uri="{FF2B5EF4-FFF2-40B4-BE49-F238E27FC236}">
                  <a16:creationId xmlns:a16="http://schemas.microsoft.com/office/drawing/2014/main" id="{3C63B153-F020-4A45-8340-7DB9A91F1B9E}"/>
                </a:ext>
              </a:extLst>
            </p:cNvPr>
            <p:cNvGrpSpPr/>
            <p:nvPr/>
          </p:nvGrpSpPr>
          <p:grpSpPr>
            <a:xfrm>
              <a:off x="2784413" y="3045402"/>
              <a:ext cx="70461" cy="72000"/>
              <a:chOff x="5800094" y="2078182"/>
              <a:chExt cx="70461" cy="72000"/>
            </a:xfrm>
          </p:grpSpPr>
          <p:cxnSp>
            <p:nvCxnSpPr>
              <p:cNvPr id="420" name="Straight Connector 419">
                <a:extLst>
                  <a:ext uri="{FF2B5EF4-FFF2-40B4-BE49-F238E27FC236}">
                    <a16:creationId xmlns:a16="http://schemas.microsoft.com/office/drawing/2014/main" id="{52E22562-12AA-45B4-8712-9D09682F7DF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21" name="Straight Connector 420">
                <a:extLst>
                  <a:ext uri="{FF2B5EF4-FFF2-40B4-BE49-F238E27FC236}">
                    <a16:creationId xmlns:a16="http://schemas.microsoft.com/office/drawing/2014/main" id="{E84567B1-8095-4336-98E4-825BADE754E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22" name="Group 421">
              <a:extLst>
                <a:ext uri="{FF2B5EF4-FFF2-40B4-BE49-F238E27FC236}">
                  <a16:creationId xmlns:a16="http://schemas.microsoft.com/office/drawing/2014/main" id="{9819AF67-209D-442A-A0E7-43F71E9A45B6}"/>
                </a:ext>
              </a:extLst>
            </p:cNvPr>
            <p:cNvGrpSpPr/>
            <p:nvPr/>
          </p:nvGrpSpPr>
          <p:grpSpPr>
            <a:xfrm>
              <a:off x="2782188" y="3024369"/>
              <a:ext cx="70461" cy="72000"/>
              <a:chOff x="5800094" y="2078182"/>
              <a:chExt cx="70461" cy="72000"/>
            </a:xfrm>
          </p:grpSpPr>
          <p:cxnSp>
            <p:nvCxnSpPr>
              <p:cNvPr id="423" name="Straight Connector 422">
                <a:extLst>
                  <a:ext uri="{FF2B5EF4-FFF2-40B4-BE49-F238E27FC236}">
                    <a16:creationId xmlns:a16="http://schemas.microsoft.com/office/drawing/2014/main" id="{B7DFDE43-C4EE-47A8-8723-9385D55ED50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24" name="Straight Connector 423">
                <a:extLst>
                  <a:ext uri="{FF2B5EF4-FFF2-40B4-BE49-F238E27FC236}">
                    <a16:creationId xmlns:a16="http://schemas.microsoft.com/office/drawing/2014/main" id="{7B19019B-60F2-4E13-8FA5-1A7744A9544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25" name="Group 424">
              <a:extLst>
                <a:ext uri="{FF2B5EF4-FFF2-40B4-BE49-F238E27FC236}">
                  <a16:creationId xmlns:a16="http://schemas.microsoft.com/office/drawing/2014/main" id="{2B4CD8B6-6E23-40C9-81D2-2D4B8E881A4A}"/>
                </a:ext>
              </a:extLst>
            </p:cNvPr>
            <p:cNvGrpSpPr/>
            <p:nvPr/>
          </p:nvGrpSpPr>
          <p:grpSpPr>
            <a:xfrm>
              <a:off x="2773488" y="3002747"/>
              <a:ext cx="70461" cy="72000"/>
              <a:chOff x="5800094" y="2078182"/>
              <a:chExt cx="70461" cy="72000"/>
            </a:xfrm>
          </p:grpSpPr>
          <p:cxnSp>
            <p:nvCxnSpPr>
              <p:cNvPr id="426" name="Straight Connector 425">
                <a:extLst>
                  <a:ext uri="{FF2B5EF4-FFF2-40B4-BE49-F238E27FC236}">
                    <a16:creationId xmlns:a16="http://schemas.microsoft.com/office/drawing/2014/main" id="{8DD2E99E-90DD-4A18-8604-C9ECF168BA5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27" name="Straight Connector 426">
                <a:extLst>
                  <a:ext uri="{FF2B5EF4-FFF2-40B4-BE49-F238E27FC236}">
                    <a16:creationId xmlns:a16="http://schemas.microsoft.com/office/drawing/2014/main" id="{8AD1A283-A82C-445C-B102-168777AE4A1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28" name="Group 427">
              <a:extLst>
                <a:ext uri="{FF2B5EF4-FFF2-40B4-BE49-F238E27FC236}">
                  <a16:creationId xmlns:a16="http://schemas.microsoft.com/office/drawing/2014/main" id="{4DC67D53-1577-4F90-9845-078155C7757A}"/>
                </a:ext>
              </a:extLst>
            </p:cNvPr>
            <p:cNvGrpSpPr/>
            <p:nvPr/>
          </p:nvGrpSpPr>
          <p:grpSpPr>
            <a:xfrm>
              <a:off x="2772979" y="2984911"/>
              <a:ext cx="70461" cy="72000"/>
              <a:chOff x="5800094" y="2078182"/>
              <a:chExt cx="70461" cy="72000"/>
            </a:xfrm>
          </p:grpSpPr>
          <p:cxnSp>
            <p:nvCxnSpPr>
              <p:cNvPr id="429" name="Straight Connector 428">
                <a:extLst>
                  <a:ext uri="{FF2B5EF4-FFF2-40B4-BE49-F238E27FC236}">
                    <a16:creationId xmlns:a16="http://schemas.microsoft.com/office/drawing/2014/main" id="{3C70D313-1509-49C0-AA6B-7999A71345D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30" name="Straight Connector 429">
                <a:extLst>
                  <a:ext uri="{FF2B5EF4-FFF2-40B4-BE49-F238E27FC236}">
                    <a16:creationId xmlns:a16="http://schemas.microsoft.com/office/drawing/2014/main" id="{DA6EB833-0B42-4264-9EE0-4EE000B1FF5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31" name="Group 430">
              <a:extLst>
                <a:ext uri="{FF2B5EF4-FFF2-40B4-BE49-F238E27FC236}">
                  <a16:creationId xmlns:a16="http://schemas.microsoft.com/office/drawing/2014/main" id="{C28FAA72-A162-4713-A0F7-602E0B428ECA}"/>
                </a:ext>
              </a:extLst>
            </p:cNvPr>
            <p:cNvGrpSpPr/>
            <p:nvPr/>
          </p:nvGrpSpPr>
          <p:grpSpPr>
            <a:xfrm>
              <a:off x="2750381" y="2976629"/>
              <a:ext cx="70461" cy="72000"/>
              <a:chOff x="5800094" y="2078182"/>
              <a:chExt cx="70461" cy="72000"/>
            </a:xfrm>
          </p:grpSpPr>
          <p:cxnSp>
            <p:nvCxnSpPr>
              <p:cNvPr id="432" name="Straight Connector 431">
                <a:extLst>
                  <a:ext uri="{FF2B5EF4-FFF2-40B4-BE49-F238E27FC236}">
                    <a16:creationId xmlns:a16="http://schemas.microsoft.com/office/drawing/2014/main" id="{568E4EB3-924C-4FB6-9A39-54BA3FD4A4F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33" name="Straight Connector 432">
                <a:extLst>
                  <a:ext uri="{FF2B5EF4-FFF2-40B4-BE49-F238E27FC236}">
                    <a16:creationId xmlns:a16="http://schemas.microsoft.com/office/drawing/2014/main" id="{0D4E4279-1B8C-4179-826A-74DB559743C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34" name="Group 433">
              <a:extLst>
                <a:ext uri="{FF2B5EF4-FFF2-40B4-BE49-F238E27FC236}">
                  <a16:creationId xmlns:a16="http://schemas.microsoft.com/office/drawing/2014/main" id="{F5A21442-B2B5-47B8-8774-5A2EC0FE6529}"/>
                </a:ext>
              </a:extLst>
            </p:cNvPr>
            <p:cNvGrpSpPr/>
            <p:nvPr/>
          </p:nvGrpSpPr>
          <p:grpSpPr>
            <a:xfrm>
              <a:off x="2721132" y="2976628"/>
              <a:ext cx="70461" cy="72000"/>
              <a:chOff x="5800094" y="2078182"/>
              <a:chExt cx="70461" cy="72000"/>
            </a:xfrm>
          </p:grpSpPr>
          <p:cxnSp>
            <p:nvCxnSpPr>
              <p:cNvPr id="435" name="Straight Connector 434">
                <a:extLst>
                  <a:ext uri="{FF2B5EF4-FFF2-40B4-BE49-F238E27FC236}">
                    <a16:creationId xmlns:a16="http://schemas.microsoft.com/office/drawing/2014/main" id="{4DDB3276-CA8F-463E-A8D6-FEB0F216263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36" name="Straight Connector 435">
                <a:extLst>
                  <a:ext uri="{FF2B5EF4-FFF2-40B4-BE49-F238E27FC236}">
                    <a16:creationId xmlns:a16="http://schemas.microsoft.com/office/drawing/2014/main" id="{28DEA562-A665-4756-97E9-9F62B4A82C7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37" name="Group 436">
              <a:extLst>
                <a:ext uri="{FF2B5EF4-FFF2-40B4-BE49-F238E27FC236}">
                  <a16:creationId xmlns:a16="http://schemas.microsoft.com/office/drawing/2014/main" id="{D5FA4E08-B3C7-4ABB-987A-278C6C52CD21}"/>
                </a:ext>
              </a:extLst>
            </p:cNvPr>
            <p:cNvGrpSpPr/>
            <p:nvPr/>
          </p:nvGrpSpPr>
          <p:grpSpPr>
            <a:xfrm>
              <a:off x="2711976" y="2976084"/>
              <a:ext cx="70461" cy="72000"/>
              <a:chOff x="5800094" y="2078182"/>
              <a:chExt cx="70461" cy="72000"/>
            </a:xfrm>
          </p:grpSpPr>
          <p:cxnSp>
            <p:nvCxnSpPr>
              <p:cNvPr id="438" name="Straight Connector 437">
                <a:extLst>
                  <a:ext uri="{FF2B5EF4-FFF2-40B4-BE49-F238E27FC236}">
                    <a16:creationId xmlns:a16="http://schemas.microsoft.com/office/drawing/2014/main" id="{08D69390-7E2D-4348-93B3-EFD3688D8A2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39" name="Straight Connector 438">
                <a:extLst>
                  <a:ext uri="{FF2B5EF4-FFF2-40B4-BE49-F238E27FC236}">
                    <a16:creationId xmlns:a16="http://schemas.microsoft.com/office/drawing/2014/main" id="{746D5634-6A8F-4812-B749-1ACFAC67113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40" name="Group 439">
              <a:extLst>
                <a:ext uri="{FF2B5EF4-FFF2-40B4-BE49-F238E27FC236}">
                  <a16:creationId xmlns:a16="http://schemas.microsoft.com/office/drawing/2014/main" id="{FA0E29FB-BEE9-4282-9974-7388DF520F68}"/>
                </a:ext>
              </a:extLst>
            </p:cNvPr>
            <p:cNvGrpSpPr/>
            <p:nvPr/>
          </p:nvGrpSpPr>
          <p:grpSpPr>
            <a:xfrm>
              <a:off x="2735698" y="2976133"/>
              <a:ext cx="70461" cy="72000"/>
              <a:chOff x="5800094" y="2078182"/>
              <a:chExt cx="70461" cy="72000"/>
            </a:xfrm>
          </p:grpSpPr>
          <p:cxnSp>
            <p:nvCxnSpPr>
              <p:cNvPr id="441" name="Straight Connector 440">
                <a:extLst>
                  <a:ext uri="{FF2B5EF4-FFF2-40B4-BE49-F238E27FC236}">
                    <a16:creationId xmlns:a16="http://schemas.microsoft.com/office/drawing/2014/main" id="{9F7E0E36-BAB4-45F1-B3C1-8102AB68A18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42" name="Straight Connector 441">
                <a:extLst>
                  <a:ext uri="{FF2B5EF4-FFF2-40B4-BE49-F238E27FC236}">
                    <a16:creationId xmlns:a16="http://schemas.microsoft.com/office/drawing/2014/main" id="{0906DC50-3E71-488D-A49D-460F54D0B5E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43" name="Group 442">
              <a:extLst>
                <a:ext uri="{FF2B5EF4-FFF2-40B4-BE49-F238E27FC236}">
                  <a16:creationId xmlns:a16="http://schemas.microsoft.com/office/drawing/2014/main" id="{CC345839-9788-4ABD-9021-5E78FA1193CE}"/>
                </a:ext>
              </a:extLst>
            </p:cNvPr>
            <p:cNvGrpSpPr/>
            <p:nvPr/>
          </p:nvGrpSpPr>
          <p:grpSpPr>
            <a:xfrm>
              <a:off x="2699853" y="2955464"/>
              <a:ext cx="70461" cy="72000"/>
              <a:chOff x="5800094" y="2078182"/>
              <a:chExt cx="70461" cy="72000"/>
            </a:xfrm>
          </p:grpSpPr>
          <p:cxnSp>
            <p:nvCxnSpPr>
              <p:cNvPr id="444" name="Straight Connector 443">
                <a:extLst>
                  <a:ext uri="{FF2B5EF4-FFF2-40B4-BE49-F238E27FC236}">
                    <a16:creationId xmlns:a16="http://schemas.microsoft.com/office/drawing/2014/main" id="{4F0EB26D-DA84-4F1C-8CC8-5B244EF9417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45" name="Straight Connector 444">
                <a:extLst>
                  <a:ext uri="{FF2B5EF4-FFF2-40B4-BE49-F238E27FC236}">
                    <a16:creationId xmlns:a16="http://schemas.microsoft.com/office/drawing/2014/main" id="{776C9008-C2E5-4D06-A20F-BA5DF86ED3C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46" name="Group 445">
              <a:extLst>
                <a:ext uri="{FF2B5EF4-FFF2-40B4-BE49-F238E27FC236}">
                  <a16:creationId xmlns:a16="http://schemas.microsoft.com/office/drawing/2014/main" id="{C7ADF4BB-EF17-4877-9376-037EB8B89F68}"/>
                </a:ext>
              </a:extLst>
            </p:cNvPr>
            <p:cNvGrpSpPr/>
            <p:nvPr/>
          </p:nvGrpSpPr>
          <p:grpSpPr>
            <a:xfrm>
              <a:off x="2698417" y="2936488"/>
              <a:ext cx="70461" cy="72000"/>
              <a:chOff x="5800094" y="2078182"/>
              <a:chExt cx="70461" cy="72000"/>
            </a:xfrm>
          </p:grpSpPr>
          <p:cxnSp>
            <p:nvCxnSpPr>
              <p:cNvPr id="447" name="Straight Connector 446">
                <a:extLst>
                  <a:ext uri="{FF2B5EF4-FFF2-40B4-BE49-F238E27FC236}">
                    <a16:creationId xmlns:a16="http://schemas.microsoft.com/office/drawing/2014/main" id="{79F34E66-4F25-41C4-8A56-FEC82CA6CD0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48" name="Straight Connector 447">
                <a:extLst>
                  <a:ext uri="{FF2B5EF4-FFF2-40B4-BE49-F238E27FC236}">
                    <a16:creationId xmlns:a16="http://schemas.microsoft.com/office/drawing/2014/main" id="{36A26E99-EB12-4DFA-B60C-B9B67584281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49" name="Group 448">
              <a:extLst>
                <a:ext uri="{FF2B5EF4-FFF2-40B4-BE49-F238E27FC236}">
                  <a16:creationId xmlns:a16="http://schemas.microsoft.com/office/drawing/2014/main" id="{5267C58D-42AB-4444-AE02-FD85CB1655A2}"/>
                </a:ext>
              </a:extLst>
            </p:cNvPr>
            <p:cNvGrpSpPr/>
            <p:nvPr/>
          </p:nvGrpSpPr>
          <p:grpSpPr>
            <a:xfrm>
              <a:off x="2696168" y="2917922"/>
              <a:ext cx="70461" cy="72000"/>
              <a:chOff x="5800094" y="2078182"/>
              <a:chExt cx="70461" cy="72000"/>
            </a:xfrm>
          </p:grpSpPr>
          <p:cxnSp>
            <p:nvCxnSpPr>
              <p:cNvPr id="450" name="Straight Connector 449">
                <a:extLst>
                  <a:ext uri="{FF2B5EF4-FFF2-40B4-BE49-F238E27FC236}">
                    <a16:creationId xmlns:a16="http://schemas.microsoft.com/office/drawing/2014/main" id="{7EBAF1A5-B53C-4D4E-A256-5E0232888FD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51" name="Straight Connector 450">
                <a:extLst>
                  <a:ext uri="{FF2B5EF4-FFF2-40B4-BE49-F238E27FC236}">
                    <a16:creationId xmlns:a16="http://schemas.microsoft.com/office/drawing/2014/main" id="{03D3167E-6C68-4CE4-9E66-A82FC62B6F4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52" name="Group 451">
              <a:extLst>
                <a:ext uri="{FF2B5EF4-FFF2-40B4-BE49-F238E27FC236}">
                  <a16:creationId xmlns:a16="http://schemas.microsoft.com/office/drawing/2014/main" id="{0CA4E949-0918-41A6-BA2D-A62B0C48C403}"/>
                </a:ext>
              </a:extLst>
            </p:cNvPr>
            <p:cNvGrpSpPr/>
            <p:nvPr/>
          </p:nvGrpSpPr>
          <p:grpSpPr>
            <a:xfrm>
              <a:off x="2677502" y="2917314"/>
              <a:ext cx="70461" cy="72000"/>
              <a:chOff x="5800094" y="2078182"/>
              <a:chExt cx="70461" cy="72000"/>
            </a:xfrm>
          </p:grpSpPr>
          <p:cxnSp>
            <p:nvCxnSpPr>
              <p:cNvPr id="453" name="Straight Connector 452">
                <a:extLst>
                  <a:ext uri="{FF2B5EF4-FFF2-40B4-BE49-F238E27FC236}">
                    <a16:creationId xmlns:a16="http://schemas.microsoft.com/office/drawing/2014/main" id="{53842690-18E6-47C2-8526-DE2A07C079F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54" name="Straight Connector 453">
                <a:extLst>
                  <a:ext uri="{FF2B5EF4-FFF2-40B4-BE49-F238E27FC236}">
                    <a16:creationId xmlns:a16="http://schemas.microsoft.com/office/drawing/2014/main" id="{BCAD0175-BFF6-4C4F-8F96-20D9E40F2D6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55" name="Group 454">
              <a:extLst>
                <a:ext uri="{FF2B5EF4-FFF2-40B4-BE49-F238E27FC236}">
                  <a16:creationId xmlns:a16="http://schemas.microsoft.com/office/drawing/2014/main" id="{619FF2FA-4CB0-463D-B7B0-3296FDC22BBA}"/>
                </a:ext>
              </a:extLst>
            </p:cNvPr>
            <p:cNvGrpSpPr/>
            <p:nvPr/>
          </p:nvGrpSpPr>
          <p:grpSpPr>
            <a:xfrm>
              <a:off x="2659788" y="2916842"/>
              <a:ext cx="70461" cy="72000"/>
              <a:chOff x="5800094" y="2078182"/>
              <a:chExt cx="70461" cy="72000"/>
            </a:xfrm>
          </p:grpSpPr>
          <p:cxnSp>
            <p:nvCxnSpPr>
              <p:cNvPr id="456" name="Straight Connector 455">
                <a:extLst>
                  <a:ext uri="{FF2B5EF4-FFF2-40B4-BE49-F238E27FC236}">
                    <a16:creationId xmlns:a16="http://schemas.microsoft.com/office/drawing/2014/main" id="{D8C21795-F50C-4E71-8E60-7DCF80E76F3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57" name="Straight Connector 456">
                <a:extLst>
                  <a:ext uri="{FF2B5EF4-FFF2-40B4-BE49-F238E27FC236}">
                    <a16:creationId xmlns:a16="http://schemas.microsoft.com/office/drawing/2014/main" id="{CE7C2710-60A5-49E5-A3CF-D431DC94B39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58" name="Group 457">
              <a:extLst>
                <a:ext uri="{FF2B5EF4-FFF2-40B4-BE49-F238E27FC236}">
                  <a16:creationId xmlns:a16="http://schemas.microsoft.com/office/drawing/2014/main" id="{02F803D8-1E48-41B7-A88B-D9825EFC5EAE}"/>
                </a:ext>
              </a:extLst>
            </p:cNvPr>
            <p:cNvGrpSpPr/>
            <p:nvPr/>
          </p:nvGrpSpPr>
          <p:grpSpPr>
            <a:xfrm>
              <a:off x="2638855" y="2917264"/>
              <a:ext cx="70461" cy="72000"/>
              <a:chOff x="5800094" y="2078182"/>
              <a:chExt cx="70461" cy="72000"/>
            </a:xfrm>
          </p:grpSpPr>
          <p:cxnSp>
            <p:nvCxnSpPr>
              <p:cNvPr id="459" name="Straight Connector 458">
                <a:extLst>
                  <a:ext uri="{FF2B5EF4-FFF2-40B4-BE49-F238E27FC236}">
                    <a16:creationId xmlns:a16="http://schemas.microsoft.com/office/drawing/2014/main" id="{29121EC7-7A0F-453F-97E5-70FE0007C25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60" name="Straight Connector 459">
                <a:extLst>
                  <a:ext uri="{FF2B5EF4-FFF2-40B4-BE49-F238E27FC236}">
                    <a16:creationId xmlns:a16="http://schemas.microsoft.com/office/drawing/2014/main" id="{2258C823-F1C4-4843-B75C-0F4B72CB320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61" name="Group 460">
              <a:extLst>
                <a:ext uri="{FF2B5EF4-FFF2-40B4-BE49-F238E27FC236}">
                  <a16:creationId xmlns:a16="http://schemas.microsoft.com/office/drawing/2014/main" id="{7C5C0E75-DC01-4FC7-B056-D63705B45D79}"/>
                </a:ext>
              </a:extLst>
            </p:cNvPr>
            <p:cNvGrpSpPr/>
            <p:nvPr/>
          </p:nvGrpSpPr>
          <p:grpSpPr>
            <a:xfrm>
              <a:off x="2622507" y="2917314"/>
              <a:ext cx="70461" cy="72000"/>
              <a:chOff x="5800094" y="2078182"/>
              <a:chExt cx="70461" cy="72000"/>
            </a:xfrm>
          </p:grpSpPr>
          <p:cxnSp>
            <p:nvCxnSpPr>
              <p:cNvPr id="462" name="Straight Connector 461">
                <a:extLst>
                  <a:ext uri="{FF2B5EF4-FFF2-40B4-BE49-F238E27FC236}">
                    <a16:creationId xmlns:a16="http://schemas.microsoft.com/office/drawing/2014/main" id="{F6A0AF4E-EA79-495E-9CFA-4979E58247B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63" name="Straight Connector 462">
                <a:extLst>
                  <a:ext uri="{FF2B5EF4-FFF2-40B4-BE49-F238E27FC236}">
                    <a16:creationId xmlns:a16="http://schemas.microsoft.com/office/drawing/2014/main" id="{2A6DABE3-67A4-4D34-9EB0-9533948CB0E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64" name="Group 463">
              <a:extLst>
                <a:ext uri="{FF2B5EF4-FFF2-40B4-BE49-F238E27FC236}">
                  <a16:creationId xmlns:a16="http://schemas.microsoft.com/office/drawing/2014/main" id="{30408608-18EB-487E-B9B4-39C4B458687B}"/>
                </a:ext>
              </a:extLst>
            </p:cNvPr>
            <p:cNvGrpSpPr/>
            <p:nvPr/>
          </p:nvGrpSpPr>
          <p:grpSpPr>
            <a:xfrm>
              <a:off x="2602886" y="2913064"/>
              <a:ext cx="70461" cy="72000"/>
              <a:chOff x="5800094" y="2078182"/>
              <a:chExt cx="70461" cy="72000"/>
            </a:xfrm>
          </p:grpSpPr>
          <p:cxnSp>
            <p:nvCxnSpPr>
              <p:cNvPr id="465" name="Straight Connector 464">
                <a:extLst>
                  <a:ext uri="{FF2B5EF4-FFF2-40B4-BE49-F238E27FC236}">
                    <a16:creationId xmlns:a16="http://schemas.microsoft.com/office/drawing/2014/main" id="{DB683CDA-C7EF-45E2-9A40-9409A61F877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66" name="Straight Connector 465">
                <a:extLst>
                  <a:ext uri="{FF2B5EF4-FFF2-40B4-BE49-F238E27FC236}">
                    <a16:creationId xmlns:a16="http://schemas.microsoft.com/office/drawing/2014/main" id="{F4E5AF26-92A1-4768-9814-1278F3E45AA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67" name="Group 466">
              <a:extLst>
                <a:ext uri="{FF2B5EF4-FFF2-40B4-BE49-F238E27FC236}">
                  <a16:creationId xmlns:a16="http://schemas.microsoft.com/office/drawing/2014/main" id="{6DD0730E-DC20-4988-958C-505D9B26E3F0}"/>
                </a:ext>
              </a:extLst>
            </p:cNvPr>
            <p:cNvGrpSpPr/>
            <p:nvPr/>
          </p:nvGrpSpPr>
          <p:grpSpPr>
            <a:xfrm>
              <a:off x="2602886" y="2890187"/>
              <a:ext cx="70461" cy="72000"/>
              <a:chOff x="5800094" y="2078182"/>
              <a:chExt cx="70461" cy="72000"/>
            </a:xfrm>
          </p:grpSpPr>
          <p:cxnSp>
            <p:nvCxnSpPr>
              <p:cNvPr id="468" name="Straight Connector 467">
                <a:extLst>
                  <a:ext uri="{FF2B5EF4-FFF2-40B4-BE49-F238E27FC236}">
                    <a16:creationId xmlns:a16="http://schemas.microsoft.com/office/drawing/2014/main" id="{5161C6A9-A7DC-4EEE-803A-05B63681E05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69" name="Straight Connector 468">
                <a:extLst>
                  <a:ext uri="{FF2B5EF4-FFF2-40B4-BE49-F238E27FC236}">
                    <a16:creationId xmlns:a16="http://schemas.microsoft.com/office/drawing/2014/main" id="{97831366-EF06-4460-AB9E-545E0D68A7B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70" name="Group 469">
              <a:extLst>
                <a:ext uri="{FF2B5EF4-FFF2-40B4-BE49-F238E27FC236}">
                  <a16:creationId xmlns:a16="http://schemas.microsoft.com/office/drawing/2014/main" id="{06275DFC-0757-480B-B194-0DD1159FD694}"/>
                </a:ext>
              </a:extLst>
            </p:cNvPr>
            <p:cNvGrpSpPr/>
            <p:nvPr/>
          </p:nvGrpSpPr>
          <p:grpSpPr>
            <a:xfrm>
              <a:off x="2603460" y="2875467"/>
              <a:ext cx="70461" cy="72000"/>
              <a:chOff x="5800094" y="2078182"/>
              <a:chExt cx="70461" cy="72000"/>
            </a:xfrm>
          </p:grpSpPr>
          <p:cxnSp>
            <p:nvCxnSpPr>
              <p:cNvPr id="471" name="Straight Connector 470">
                <a:extLst>
                  <a:ext uri="{FF2B5EF4-FFF2-40B4-BE49-F238E27FC236}">
                    <a16:creationId xmlns:a16="http://schemas.microsoft.com/office/drawing/2014/main" id="{DFE53413-BF42-4667-814A-155C223CF06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72" name="Straight Connector 471">
                <a:extLst>
                  <a:ext uri="{FF2B5EF4-FFF2-40B4-BE49-F238E27FC236}">
                    <a16:creationId xmlns:a16="http://schemas.microsoft.com/office/drawing/2014/main" id="{F46B0975-3AFD-4B40-BB0E-DE8A7F00E72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73" name="Group 472">
              <a:extLst>
                <a:ext uri="{FF2B5EF4-FFF2-40B4-BE49-F238E27FC236}">
                  <a16:creationId xmlns:a16="http://schemas.microsoft.com/office/drawing/2014/main" id="{9BDAD759-3B98-4B0B-9029-2E6294F89EDD}"/>
                </a:ext>
              </a:extLst>
            </p:cNvPr>
            <p:cNvGrpSpPr/>
            <p:nvPr/>
          </p:nvGrpSpPr>
          <p:grpSpPr>
            <a:xfrm>
              <a:off x="2601376" y="2858509"/>
              <a:ext cx="70461" cy="72000"/>
              <a:chOff x="5800094" y="2078182"/>
              <a:chExt cx="70461" cy="72000"/>
            </a:xfrm>
          </p:grpSpPr>
          <p:cxnSp>
            <p:nvCxnSpPr>
              <p:cNvPr id="474" name="Straight Connector 473">
                <a:extLst>
                  <a:ext uri="{FF2B5EF4-FFF2-40B4-BE49-F238E27FC236}">
                    <a16:creationId xmlns:a16="http://schemas.microsoft.com/office/drawing/2014/main" id="{3ADD0F3C-4D42-4ADF-B66D-C14A2B383F1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75" name="Straight Connector 474">
                <a:extLst>
                  <a:ext uri="{FF2B5EF4-FFF2-40B4-BE49-F238E27FC236}">
                    <a16:creationId xmlns:a16="http://schemas.microsoft.com/office/drawing/2014/main" id="{E83BD802-1CE2-462D-B124-890E1212704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76" name="Group 475">
              <a:extLst>
                <a:ext uri="{FF2B5EF4-FFF2-40B4-BE49-F238E27FC236}">
                  <a16:creationId xmlns:a16="http://schemas.microsoft.com/office/drawing/2014/main" id="{3660E2F9-2F7D-4C0A-A4A1-6B8E2FAA44A3}"/>
                </a:ext>
              </a:extLst>
            </p:cNvPr>
            <p:cNvGrpSpPr/>
            <p:nvPr/>
          </p:nvGrpSpPr>
          <p:grpSpPr>
            <a:xfrm>
              <a:off x="2602201" y="2844076"/>
              <a:ext cx="70461" cy="72000"/>
              <a:chOff x="5800094" y="2078182"/>
              <a:chExt cx="70461" cy="72000"/>
            </a:xfrm>
          </p:grpSpPr>
          <p:cxnSp>
            <p:nvCxnSpPr>
              <p:cNvPr id="477" name="Straight Connector 476">
                <a:extLst>
                  <a:ext uri="{FF2B5EF4-FFF2-40B4-BE49-F238E27FC236}">
                    <a16:creationId xmlns:a16="http://schemas.microsoft.com/office/drawing/2014/main" id="{440FF7BE-E97B-40F8-BB68-1245D88A496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78" name="Straight Connector 477">
                <a:extLst>
                  <a:ext uri="{FF2B5EF4-FFF2-40B4-BE49-F238E27FC236}">
                    <a16:creationId xmlns:a16="http://schemas.microsoft.com/office/drawing/2014/main" id="{E8F45AA1-335F-4481-BA26-9713F693F3B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79" name="Group 478">
              <a:extLst>
                <a:ext uri="{FF2B5EF4-FFF2-40B4-BE49-F238E27FC236}">
                  <a16:creationId xmlns:a16="http://schemas.microsoft.com/office/drawing/2014/main" id="{B592FC54-5E89-4C9C-B50D-49D20AD7519A}"/>
                </a:ext>
              </a:extLst>
            </p:cNvPr>
            <p:cNvGrpSpPr/>
            <p:nvPr/>
          </p:nvGrpSpPr>
          <p:grpSpPr>
            <a:xfrm>
              <a:off x="2602844" y="2832100"/>
              <a:ext cx="70461" cy="72000"/>
              <a:chOff x="5800094" y="2078182"/>
              <a:chExt cx="70461" cy="72000"/>
            </a:xfrm>
          </p:grpSpPr>
          <p:cxnSp>
            <p:nvCxnSpPr>
              <p:cNvPr id="480" name="Straight Connector 479">
                <a:extLst>
                  <a:ext uri="{FF2B5EF4-FFF2-40B4-BE49-F238E27FC236}">
                    <a16:creationId xmlns:a16="http://schemas.microsoft.com/office/drawing/2014/main" id="{3D80AEC2-E063-4A79-85D0-31A8FD5BE90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81" name="Straight Connector 480">
                <a:extLst>
                  <a:ext uri="{FF2B5EF4-FFF2-40B4-BE49-F238E27FC236}">
                    <a16:creationId xmlns:a16="http://schemas.microsoft.com/office/drawing/2014/main" id="{5AE2E60A-0FE6-44E4-9A8B-5DA634F284D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82" name="Group 481">
              <a:extLst>
                <a:ext uri="{FF2B5EF4-FFF2-40B4-BE49-F238E27FC236}">
                  <a16:creationId xmlns:a16="http://schemas.microsoft.com/office/drawing/2014/main" id="{6F23298D-9426-432B-B357-F4D1256D53F6}"/>
                </a:ext>
              </a:extLst>
            </p:cNvPr>
            <p:cNvGrpSpPr/>
            <p:nvPr/>
          </p:nvGrpSpPr>
          <p:grpSpPr>
            <a:xfrm>
              <a:off x="2601376" y="2817977"/>
              <a:ext cx="70461" cy="72000"/>
              <a:chOff x="5800094" y="2078182"/>
              <a:chExt cx="70461" cy="72000"/>
            </a:xfrm>
          </p:grpSpPr>
          <p:cxnSp>
            <p:nvCxnSpPr>
              <p:cNvPr id="483" name="Straight Connector 482">
                <a:extLst>
                  <a:ext uri="{FF2B5EF4-FFF2-40B4-BE49-F238E27FC236}">
                    <a16:creationId xmlns:a16="http://schemas.microsoft.com/office/drawing/2014/main" id="{B8234061-0CD7-4E5F-AFCA-6D03A458A39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84" name="Straight Connector 483">
                <a:extLst>
                  <a:ext uri="{FF2B5EF4-FFF2-40B4-BE49-F238E27FC236}">
                    <a16:creationId xmlns:a16="http://schemas.microsoft.com/office/drawing/2014/main" id="{8032457A-E374-4017-BE72-321D8305D3D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85" name="Group 484">
              <a:extLst>
                <a:ext uri="{FF2B5EF4-FFF2-40B4-BE49-F238E27FC236}">
                  <a16:creationId xmlns:a16="http://schemas.microsoft.com/office/drawing/2014/main" id="{A04E5A41-D5B3-44D3-A369-657D9A099D19}"/>
                </a:ext>
              </a:extLst>
            </p:cNvPr>
            <p:cNvGrpSpPr/>
            <p:nvPr/>
          </p:nvGrpSpPr>
          <p:grpSpPr>
            <a:xfrm>
              <a:off x="2598832" y="2806250"/>
              <a:ext cx="70461" cy="72000"/>
              <a:chOff x="5800094" y="2078182"/>
              <a:chExt cx="70461" cy="72000"/>
            </a:xfrm>
          </p:grpSpPr>
          <p:cxnSp>
            <p:nvCxnSpPr>
              <p:cNvPr id="486" name="Straight Connector 485">
                <a:extLst>
                  <a:ext uri="{FF2B5EF4-FFF2-40B4-BE49-F238E27FC236}">
                    <a16:creationId xmlns:a16="http://schemas.microsoft.com/office/drawing/2014/main" id="{2A5BC068-6A98-4CCA-82AD-5542C4F1BF6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87" name="Straight Connector 486">
                <a:extLst>
                  <a:ext uri="{FF2B5EF4-FFF2-40B4-BE49-F238E27FC236}">
                    <a16:creationId xmlns:a16="http://schemas.microsoft.com/office/drawing/2014/main" id="{5F59FB78-0D5F-4AC1-A0F0-B215B909566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88" name="Group 487">
              <a:extLst>
                <a:ext uri="{FF2B5EF4-FFF2-40B4-BE49-F238E27FC236}">
                  <a16:creationId xmlns:a16="http://schemas.microsoft.com/office/drawing/2014/main" id="{3207B710-A0F9-4740-8CBD-BCE23F3F4081}"/>
                </a:ext>
              </a:extLst>
            </p:cNvPr>
            <p:cNvGrpSpPr/>
            <p:nvPr/>
          </p:nvGrpSpPr>
          <p:grpSpPr>
            <a:xfrm>
              <a:off x="2579253" y="2796638"/>
              <a:ext cx="70461" cy="72000"/>
              <a:chOff x="5800094" y="2078182"/>
              <a:chExt cx="70461" cy="72000"/>
            </a:xfrm>
          </p:grpSpPr>
          <p:cxnSp>
            <p:nvCxnSpPr>
              <p:cNvPr id="489" name="Straight Connector 488">
                <a:extLst>
                  <a:ext uri="{FF2B5EF4-FFF2-40B4-BE49-F238E27FC236}">
                    <a16:creationId xmlns:a16="http://schemas.microsoft.com/office/drawing/2014/main" id="{43C8D0A9-B2B7-4D62-8782-030DFA15540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0" name="Straight Connector 489">
                <a:extLst>
                  <a:ext uri="{FF2B5EF4-FFF2-40B4-BE49-F238E27FC236}">
                    <a16:creationId xmlns:a16="http://schemas.microsoft.com/office/drawing/2014/main" id="{68EEDCA7-2BFB-4060-90B5-7D5CDD044CF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91" name="Group 490">
              <a:extLst>
                <a:ext uri="{FF2B5EF4-FFF2-40B4-BE49-F238E27FC236}">
                  <a16:creationId xmlns:a16="http://schemas.microsoft.com/office/drawing/2014/main" id="{5E762829-A076-4AC7-AC0E-50A84A3BE63F}"/>
                </a:ext>
              </a:extLst>
            </p:cNvPr>
            <p:cNvGrpSpPr/>
            <p:nvPr/>
          </p:nvGrpSpPr>
          <p:grpSpPr>
            <a:xfrm>
              <a:off x="2559795" y="2789293"/>
              <a:ext cx="70461" cy="72000"/>
              <a:chOff x="5800094" y="2078182"/>
              <a:chExt cx="70461" cy="72000"/>
            </a:xfrm>
          </p:grpSpPr>
          <p:cxnSp>
            <p:nvCxnSpPr>
              <p:cNvPr id="492" name="Straight Connector 491">
                <a:extLst>
                  <a:ext uri="{FF2B5EF4-FFF2-40B4-BE49-F238E27FC236}">
                    <a16:creationId xmlns:a16="http://schemas.microsoft.com/office/drawing/2014/main" id="{1C74F10A-2AED-4C8F-AE4E-D730AC38D0D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3" name="Straight Connector 492">
                <a:extLst>
                  <a:ext uri="{FF2B5EF4-FFF2-40B4-BE49-F238E27FC236}">
                    <a16:creationId xmlns:a16="http://schemas.microsoft.com/office/drawing/2014/main" id="{F64D8D19-80C5-470E-9AD7-F4242E5FF01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94" name="Group 493">
              <a:extLst>
                <a:ext uri="{FF2B5EF4-FFF2-40B4-BE49-F238E27FC236}">
                  <a16:creationId xmlns:a16="http://schemas.microsoft.com/office/drawing/2014/main" id="{9A98A6EE-074A-4233-9469-476F38697758}"/>
                </a:ext>
              </a:extLst>
            </p:cNvPr>
            <p:cNvGrpSpPr/>
            <p:nvPr/>
          </p:nvGrpSpPr>
          <p:grpSpPr>
            <a:xfrm>
              <a:off x="2548033" y="2779828"/>
              <a:ext cx="70461" cy="72000"/>
              <a:chOff x="5800094" y="2078182"/>
              <a:chExt cx="70461" cy="72000"/>
            </a:xfrm>
          </p:grpSpPr>
          <p:cxnSp>
            <p:nvCxnSpPr>
              <p:cNvPr id="495" name="Straight Connector 494">
                <a:extLst>
                  <a:ext uri="{FF2B5EF4-FFF2-40B4-BE49-F238E27FC236}">
                    <a16:creationId xmlns:a16="http://schemas.microsoft.com/office/drawing/2014/main" id="{BA3269CC-3831-4770-AA75-7EB6230D220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6" name="Straight Connector 495">
                <a:extLst>
                  <a:ext uri="{FF2B5EF4-FFF2-40B4-BE49-F238E27FC236}">
                    <a16:creationId xmlns:a16="http://schemas.microsoft.com/office/drawing/2014/main" id="{408B0BE1-46B6-45FE-91D3-1D0A8411907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97" name="Group 496">
              <a:extLst>
                <a:ext uri="{FF2B5EF4-FFF2-40B4-BE49-F238E27FC236}">
                  <a16:creationId xmlns:a16="http://schemas.microsoft.com/office/drawing/2014/main" id="{744E45BD-CAB5-47F4-AA29-FA6105C94FE0}"/>
                </a:ext>
              </a:extLst>
            </p:cNvPr>
            <p:cNvGrpSpPr/>
            <p:nvPr/>
          </p:nvGrpSpPr>
          <p:grpSpPr>
            <a:xfrm>
              <a:off x="2546976" y="2760369"/>
              <a:ext cx="70461" cy="72000"/>
              <a:chOff x="5800094" y="2078182"/>
              <a:chExt cx="70461" cy="72000"/>
            </a:xfrm>
          </p:grpSpPr>
          <p:cxnSp>
            <p:nvCxnSpPr>
              <p:cNvPr id="498" name="Straight Connector 497">
                <a:extLst>
                  <a:ext uri="{FF2B5EF4-FFF2-40B4-BE49-F238E27FC236}">
                    <a16:creationId xmlns:a16="http://schemas.microsoft.com/office/drawing/2014/main" id="{C7C5A928-A16D-4E37-A591-26231B09FF7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99" name="Straight Connector 498">
                <a:extLst>
                  <a:ext uri="{FF2B5EF4-FFF2-40B4-BE49-F238E27FC236}">
                    <a16:creationId xmlns:a16="http://schemas.microsoft.com/office/drawing/2014/main" id="{6D28FC5A-805C-4E3D-8342-45AB687CCA1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00" name="Group 499">
              <a:extLst>
                <a:ext uri="{FF2B5EF4-FFF2-40B4-BE49-F238E27FC236}">
                  <a16:creationId xmlns:a16="http://schemas.microsoft.com/office/drawing/2014/main" id="{509F730C-8C27-4106-8D80-4ED63F586B69}"/>
                </a:ext>
              </a:extLst>
            </p:cNvPr>
            <p:cNvGrpSpPr/>
            <p:nvPr/>
          </p:nvGrpSpPr>
          <p:grpSpPr>
            <a:xfrm>
              <a:off x="2546445" y="2743828"/>
              <a:ext cx="70461" cy="72000"/>
              <a:chOff x="5800094" y="2078182"/>
              <a:chExt cx="70461" cy="72000"/>
            </a:xfrm>
          </p:grpSpPr>
          <p:cxnSp>
            <p:nvCxnSpPr>
              <p:cNvPr id="501" name="Straight Connector 500">
                <a:extLst>
                  <a:ext uri="{FF2B5EF4-FFF2-40B4-BE49-F238E27FC236}">
                    <a16:creationId xmlns:a16="http://schemas.microsoft.com/office/drawing/2014/main" id="{A27ED161-9FFC-4FF7-AAC0-55F9CD9F03F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2" name="Straight Connector 501">
                <a:extLst>
                  <a:ext uri="{FF2B5EF4-FFF2-40B4-BE49-F238E27FC236}">
                    <a16:creationId xmlns:a16="http://schemas.microsoft.com/office/drawing/2014/main" id="{A3050B64-D152-4F73-8EFD-443CB974DDF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03" name="Group 502">
              <a:extLst>
                <a:ext uri="{FF2B5EF4-FFF2-40B4-BE49-F238E27FC236}">
                  <a16:creationId xmlns:a16="http://schemas.microsoft.com/office/drawing/2014/main" id="{D207EBE6-E5BB-45C6-B526-97A2A429FE66}"/>
                </a:ext>
              </a:extLst>
            </p:cNvPr>
            <p:cNvGrpSpPr/>
            <p:nvPr/>
          </p:nvGrpSpPr>
          <p:grpSpPr>
            <a:xfrm>
              <a:off x="2543006" y="2730238"/>
              <a:ext cx="70461" cy="72000"/>
              <a:chOff x="5800094" y="2078182"/>
              <a:chExt cx="70461" cy="72000"/>
            </a:xfrm>
          </p:grpSpPr>
          <p:cxnSp>
            <p:nvCxnSpPr>
              <p:cNvPr id="504" name="Straight Connector 503">
                <a:extLst>
                  <a:ext uri="{FF2B5EF4-FFF2-40B4-BE49-F238E27FC236}">
                    <a16:creationId xmlns:a16="http://schemas.microsoft.com/office/drawing/2014/main" id="{17147520-9B7F-44EE-8932-B3C7867792E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5" name="Straight Connector 504">
                <a:extLst>
                  <a:ext uri="{FF2B5EF4-FFF2-40B4-BE49-F238E27FC236}">
                    <a16:creationId xmlns:a16="http://schemas.microsoft.com/office/drawing/2014/main" id="{D0AE5378-BB0A-47BB-90B5-0057190CDAB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06" name="Group 505">
              <a:extLst>
                <a:ext uri="{FF2B5EF4-FFF2-40B4-BE49-F238E27FC236}">
                  <a16:creationId xmlns:a16="http://schemas.microsoft.com/office/drawing/2014/main" id="{F40A4702-B8B9-4A2D-A66E-8F41F23F353F}"/>
                </a:ext>
              </a:extLst>
            </p:cNvPr>
            <p:cNvGrpSpPr/>
            <p:nvPr/>
          </p:nvGrpSpPr>
          <p:grpSpPr>
            <a:xfrm>
              <a:off x="2530485" y="2728133"/>
              <a:ext cx="70461" cy="72000"/>
              <a:chOff x="5800094" y="2078182"/>
              <a:chExt cx="70461" cy="72000"/>
            </a:xfrm>
          </p:grpSpPr>
          <p:cxnSp>
            <p:nvCxnSpPr>
              <p:cNvPr id="507" name="Straight Connector 506">
                <a:extLst>
                  <a:ext uri="{FF2B5EF4-FFF2-40B4-BE49-F238E27FC236}">
                    <a16:creationId xmlns:a16="http://schemas.microsoft.com/office/drawing/2014/main" id="{8E66B64D-A1EA-4E64-B6CC-F82BB432ABB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08" name="Straight Connector 507">
                <a:extLst>
                  <a:ext uri="{FF2B5EF4-FFF2-40B4-BE49-F238E27FC236}">
                    <a16:creationId xmlns:a16="http://schemas.microsoft.com/office/drawing/2014/main" id="{F7E4019C-69D7-4B03-982A-3C2A3550227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09" name="Group 508">
              <a:extLst>
                <a:ext uri="{FF2B5EF4-FFF2-40B4-BE49-F238E27FC236}">
                  <a16:creationId xmlns:a16="http://schemas.microsoft.com/office/drawing/2014/main" id="{BC756A60-55E9-43F5-AC2E-8315B910AEBB}"/>
                </a:ext>
              </a:extLst>
            </p:cNvPr>
            <p:cNvGrpSpPr/>
            <p:nvPr/>
          </p:nvGrpSpPr>
          <p:grpSpPr>
            <a:xfrm>
              <a:off x="2508928" y="2732450"/>
              <a:ext cx="70461" cy="72000"/>
              <a:chOff x="5800094" y="2078182"/>
              <a:chExt cx="70461" cy="72000"/>
            </a:xfrm>
          </p:grpSpPr>
          <p:cxnSp>
            <p:nvCxnSpPr>
              <p:cNvPr id="510" name="Straight Connector 509">
                <a:extLst>
                  <a:ext uri="{FF2B5EF4-FFF2-40B4-BE49-F238E27FC236}">
                    <a16:creationId xmlns:a16="http://schemas.microsoft.com/office/drawing/2014/main" id="{FF7A588B-93B3-46AD-B6FD-EF25BC766D4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11" name="Straight Connector 510">
                <a:extLst>
                  <a:ext uri="{FF2B5EF4-FFF2-40B4-BE49-F238E27FC236}">
                    <a16:creationId xmlns:a16="http://schemas.microsoft.com/office/drawing/2014/main" id="{F595B139-513B-47B6-92DB-ECD1AA2026B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12" name="Group 511">
              <a:extLst>
                <a:ext uri="{FF2B5EF4-FFF2-40B4-BE49-F238E27FC236}">
                  <a16:creationId xmlns:a16="http://schemas.microsoft.com/office/drawing/2014/main" id="{27133BAB-990C-4BB5-885C-5F38CFE48B59}"/>
                </a:ext>
              </a:extLst>
            </p:cNvPr>
            <p:cNvGrpSpPr/>
            <p:nvPr/>
          </p:nvGrpSpPr>
          <p:grpSpPr>
            <a:xfrm>
              <a:off x="2491815" y="2731183"/>
              <a:ext cx="70461" cy="72000"/>
              <a:chOff x="5800094" y="2078182"/>
              <a:chExt cx="70461" cy="72000"/>
            </a:xfrm>
          </p:grpSpPr>
          <p:cxnSp>
            <p:nvCxnSpPr>
              <p:cNvPr id="513" name="Straight Connector 512">
                <a:extLst>
                  <a:ext uri="{FF2B5EF4-FFF2-40B4-BE49-F238E27FC236}">
                    <a16:creationId xmlns:a16="http://schemas.microsoft.com/office/drawing/2014/main" id="{A22CF3C5-B41A-473B-AF51-2E76B915DC8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14" name="Straight Connector 513">
                <a:extLst>
                  <a:ext uri="{FF2B5EF4-FFF2-40B4-BE49-F238E27FC236}">
                    <a16:creationId xmlns:a16="http://schemas.microsoft.com/office/drawing/2014/main" id="{022565BE-EA61-4D55-AA89-9F805036755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15" name="Group 514">
              <a:extLst>
                <a:ext uri="{FF2B5EF4-FFF2-40B4-BE49-F238E27FC236}">
                  <a16:creationId xmlns:a16="http://schemas.microsoft.com/office/drawing/2014/main" id="{1FB56BEA-AE01-46E3-831B-A66E9BAC2080}"/>
                </a:ext>
              </a:extLst>
            </p:cNvPr>
            <p:cNvGrpSpPr/>
            <p:nvPr/>
          </p:nvGrpSpPr>
          <p:grpSpPr>
            <a:xfrm>
              <a:off x="2475424" y="2728540"/>
              <a:ext cx="70461" cy="72000"/>
              <a:chOff x="5800094" y="2078182"/>
              <a:chExt cx="70461" cy="72000"/>
            </a:xfrm>
          </p:grpSpPr>
          <p:cxnSp>
            <p:nvCxnSpPr>
              <p:cNvPr id="516" name="Straight Connector 515">
                <a:extLst>
                  <a:ext uri="{FF2B5EF4-FFF2-40B4-BE49-F238E27FC236}">
                    <a16:creationId xmlns:a16="http://schemas.microsoft.com/office/drawing/2014/main" id="{D6E66CAB-20F4-44F7-AF73-06B90064866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17" name="Straight Connector 516">
                <a:extLst>
                  <a:ext uri="{FF2B5EF4-FFF2-40B4-BE49-F238E27FC236}">
                    <a16:creationId xmlns:a16="http://schemas.microsoft.com/office/drawing/2014/main" id="{5C7C5993-D04B-4275-8857-AE9E5C61887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18" name="Group 517">
              <a:extLst>
                <a:ext uri="{FF2B5EF4-FFF2-40B4-BE49-F238E27FC236}">
                  <a16:creationId xmlns:a16="http://schemas.microsoft.com/office/drawing/2014/main" id="{F2852A4D-13B6-4C4D-965E-BE271A3FB354}"/>
                </a:ext>
              </a:extLst>
            </p:cNvPr>
            <p:cNvGrpSpPr/>
            <p:nvPr/>
          </p:nvGrpSpPr>
          <p:grpSpPr>
            <a:xfrm>
              <a:off x="2465276" y="2728540"/>
              <a:ext cx="70461" cy="72000"/>
              <a:chOff x="5800094" y="2078182"/>
              <a:chExt cx="70461" cy="72000"/>
            </a:xfrm>
          </p:grpSpPr>
          <p:cxnSp>
            <p:nvCxnSpPr>
              <p:cNvPr id="519" name="Straight Connector 518">
                <a:extLst>
                  <a:ext uri="{FF2B5EF4-FFF2-40B4-BE49-F238E27FC236}">
                    <a16:creationId xmlns:a16="http://schemas.microsoft.com/office/drawing/2014/main" id="{38B5C79C-2C45-4AEB-AF19-1674328DE7E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20" name="Straight Connector 519">
                <a:extLst>
                  <a:ext uri="{FF2B5EF4-FFF2-40B4-BE49-F238E27FC236}">
                    <a16:creationId xmlns:a16="http://schemas.microsoft.com/office/drawing/2014/main" id="{EF23E57A-7CAC-4021-AAF8-3DFE793AA7F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21" name="Group 520">
              <a:extLst>
                <a:ext uri="{FF2B5EF4-FFF2-40B4-BE49-F238E27FC236}">
                  <a16:creationId xmlns:a16="http://schemas.microsoft.com/office/drawing/2014/main" id="{53943D07-0724-40AA-AFB2-0A848A8CE59D}"/>
                </a:ext>
              </a:extLst>
            </p:cNvPr>
            <p:cNvGrpSpPr/>
            <p:nvPr/>
          </p:nvGrpSpPr>
          <p:grpSpPr>
            <a:xfrm>
              <a:off x="2453194" y="2712997"/>
              <a:ext cx="70461" cy="72000"/>
              <a:chOff x="5800094" y="2078182"/>
              <a:chExt cx="70461" cy="72000"/>
            </a:xfrm>
          </p:grpSpPr>
          <p:cxnSp>
            <p:nvCxnSpPr>
              <p:cNvPr id="522" name="Straight Connector 521">
                <a:extLst>
                  <a:ext uri="{FF2B5EF4-FFF2-40B4-BE49-F238E27FC236}">
                    <a16:creationId xmlns:a16="http://schemas.microsoft.com/office/drawing/2014/main" id="{A027F642-A316-463E-8802-0F723F6335C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23" name="Straight Connector 522">
                <a:extLst>
                  <a:ext uri="{FF2B5EF4-FFF2-40B4-BE49-F238E27FC236}">
                    <a16:creationId xmlns:a16="http://schemas.microsoft.com/office/drawing/2014/main" id="{8832A528-ECDC-463D-8899-C1E0CACBDAF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24" name="Group 523">
              <a:extLst>
                <a:ext uri="{FF2B5EF4-FFF2-40B4-BE49-F238E27FC236}">
                  <a16:creationId xmlns:a16="http://schemas.microsoft.com/office/drawing/2014/main" id="{1BC2587E-5204-4D0F-B1EA-8385270E0C75}"/>
                </a:ext>
              </a:extLst>
            </p:cNvPr>
            <p:cNvGrpSpPr/>
            <p:nvPr/>
          </p:nvGrpSpPr>
          <p:grpSpPr>
            <a:xfrm>
              <a:off x="2447151" y="2687793"/>
              <a:ext cx="70461" cy="72000"/>
              <a:chOff x="5800094" y="2078182"/>
              <a:chExt cx="70461" cy="72000"/>
            </a:xfrm>
          </p:grpSpPr>
          <p:cxnSp>
            <p:nvCxnSpPr>
              <p:cNvPr id="525" name="Straight Connector 524">
                <a:extLst>
                  <a:ext uri="{FF2B5EF4-FFF2-40B4-BE49-F238E27FC236}">
                    <a16:creationId xmlns:a16="http://schemas.microsoft.com/office/drawing/2014/main" id="{BAAC2BF8-BE6E-4CEF-A288-34DEEA7124B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26" name="Straight Connector 525">
                <a:extLst>
                  <a:ext uri="{FF2B5EF4-FFF2-40B4-BE49-F238E27FC236}">
                    <a16:creationId xmlns:a16="http://schemas.microsoft.com/office/drawing/2014/main" id="{6D7A778D-376C-4E63-A8DD-F08E2651908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27" name="Group 526">
              <a:extLst>
                <a:ext uri="{FF2B5EF4-FFF2-40B4-BE49-F238E27FC236}">
                  <a16:creationId xmlns:a16="http://schemas.microsoft.com/office/drawing/2014/main" id="{BCD31828-693D-4869-8FE3-0F02062523D0}"/>
                </a:ext>
              </a:extLst>
            </p:cNvPr>
            <p:cNvGrpSpPr/>
            <p:nvPr/>
          </p:nvGrpSpPr>
          <p:grpSpPr>
            <a:xfrm>
              <a:off x="2447271" y="2673531"/>
              <a:ext cx="70461" cy="72000"/>
              <a:chOff x="5800094" y="2078182"/>
              <a:chExt cx="70461" cy="72000"/>
            </a:xfrm>
          </p:grpSpPr>
          <p:cxnSp>
            <p:nvCxnSpPr>
              <p:cNvPr id="528" name="Straight Connector 527">
                <a:extLst>
                  <a:ext uri="{FF2B5EF4-FFF2-40B4-BE49-F238E27FC236}">
                    <a16:creationId xmlns:a16="http://schemas.microsoft.com/office/drawing/2014/main" id="{EFFB1981-181C-4E63-937C-8DC4E124C5B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29" name="Straight Connector 528">
                <a:extLst>
                  <a:ext uri="{FF2B5EF4-FFF2-40B4-BE49-F238E27FC236}">
                    <a16:creationId xmlns:a16="http://schemas.microsoft.com/office/drawing/2014/main" id="{97AB4654-E08B-4543-8D64-F55F6C0D78C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30" name="Group 529">
              <a:extLst>
                <a:ext uri="{FF2B5EF4-FFF2-40B4-BE49-F238E27FC236}">
                  <a16:creationId xmlns:a16="http://schemas.microsoft.com/office/drawing/2014/main" id="{998B57DF-FE6B-47B3-AC21-BBED74B5B639}"/>
                </a:ext>
              </a:extLst>
            </p:cNvPr>
            <p:cNvGrpSpPr/>
            <p:nvPr/>
          </p:nvGrpSpPr>
          <p:grpSpPr>
            <a:xfrm>
              <a:off x="2433356" y="2665955"/>
              <a:ext cx="70461" cy="72000"/>
              <a:chOff x="5800094" y="2078182"/>
              <a:chExt cx="70461" cy="72000"/>
            </a:xfrm>
          </p:grpSpPr>
          <p:cxnSp>
            <p:nvCxnSpPr>
              <p:cNvPr id="531" name="Straight Connector 530">
                <a:extLst>
                  <a:ext uri="{FF2B5EF4-FFF2-40B4-BE49-F238E27FC236}">
                    <a16:creationId xmlns:a16="http://schemas.microsoft.com/office/drawing/2014/main" id="{B53D151A-DA5D-43FA-9B3D-25D32817130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32" name="Straight Connector 531">
                <a:extLst>
                  <a:ext uri="{FF2B5EF4-FFF2-40B4-BE49-F238E27FC236}">
                    <a16:creationId xmlns:a16="http://schemas.microsoft.com/office/drawing/2014/main" id="{5E4BFDF8-5686-49A2-A98F-9B3CFB86F68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33" name="Group 532">
              <a:extLst>
                <a:ext uri="{FF2B5EF4-FFF2-40B4-BE49-F238E27FC236}">
                  <a16:creationId xmlns:a16="http://schemas.microsoft.com/office/drawing/2014/main" id="{F794107F-3538-4D05-8DBC-B316497ABAC3}"/>
                </a:ext>
              </a:extLst>
            </p:cNvPr>
            <p:cNvGrpSpPr/>
            <p:nvPr/>
          </p:nvGrpSpPr>
          <p:grpSpPr>
            <a:xfrm>
              <a:off x="2416524" y="2665955"/>
              <a:ext cx="70461" cy="72000"/>
              <a:chOff x="5800094" y="2078182"/>
              <a:chExt cx="70461" cy="72000"/>
            </a:xfrm>
          </p:grpSpPr>
          <p:cxnSp>
            <p:nvCxnSpPr>
              <p:cNvPr id="534" name="Straight Connector 533">
                <a:extLst>
                  <a:ext uri="{FF2B5EF4-FFF2-40B4-BE49-F238E27FC236}">
                    <a16:creationId xmlns:a16="http://schemas.microsoft.com/office/drawing/2014/main" id="{328760B1-BCBA-42B1-B62C-C77143422B4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35" name="Straight Connector 534">
                <a:extLst>
                  <a:ext uri="{FF2B5EF4-FFF2-40B4-BE49-F238E27FC236}">
                    <a16:creationId xmlns:a16="http://schemas.microsoft.com/office/drawing/2014/main" id="{BF5F69BC-F343-414C-81BE-661C3B0A547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36" name="Group 535">
              <a:extLst>
                <a:ext uri="{FF2B5EF4-FFF2-40B4-BE49-F238E27FC236}">
                  <a16:creationId xmlns:a16="http://schemas.microsoft.com/office/drawing/2014/main" id="{425E7703-B2E3-4E38-B88F-E1B4A4569411}"/>
                </a:ext>
              </a:extLst>
            </p:cNvPr>
            <p:cNvGrpSpPr/>
            <p:nvPr/>
          </p:nvGrpSpPr>
          <p:grpSpPr>
            <a:xfrm>
              <a:off x="2402285" y="2663223"/>
              <a:ext cx="70461" cy="72000"/>
              <a:chOff x="5800094" y="2078182"/>
              <a:chExt cx="70461" cy="72000"/>
            </a:xfrm>
          </p:grpSpPr>
          <p:cxnSp>
            <p:nvCxnSpPr>
              <p:cNvPr id="537" name="Straight Connector 536">
                <a:extLst>
                  <a:ext uri="{FF2B5EF4-FFF2-40B4-BE49-F238E27FC236}">
                    <a16:creationId xmlns:a16="http://schemas.microsoft.com/office/drawing/2014/main" id="{3F7A27D6-C8F7-4BA4-A960-9F2F561DBFB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38" name="Straight Connector 537">
                <a:extLst>
                  <a:ext uri="{FF2B5EF4-FFF2-40B4-BE49-F238E27FC236}">
                    <a16:creationId xmlns:a16="http://schemas.microsoft.com/office/drawing/2014/main" id="{CB903317-877F-408B-8A96-C492CABC755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39" name="Group 538">
              <a:extLst>
                <a:ext uri="{FF2B5EF4-FFF2-40B4-BE49-F238E27FC236}">
                  <a16:creationId xmlns:a16="http://schemas.microsoft.com/office/drawing/2014/main" id="{23830A3D-E976-4D85-B11C-922DCBBC10C2}"/>
                </a:ext>
              </a:extLst>
            </p:cNvPr>
            <p:cNvGrpSpPr/>
            <p:nvPr/>
          </p:nvGrpSpPr>
          <p:grpSpPr>
            <a:xfrm>
              <a:off x="2384756" y="2659313"/>
              <a:ext cx="70461" cy="72000"/>
              <a:chOff x="5800094" y="2078182"/>
              <a:chExt cx="70461" cy="72000"/>
            </a:xfrm>
          </p:grpSpPr>
          <p:cxnSp>
            <p:nvCxnSpPr>
              <p:cNvPr id="540" name="Straight Connector 539">
                <a:extLst>
                  <a:ext uri="{FF2B5EF4-FFF2-40B4-BE49-F238E27FC236}">
                    <a16:creationId xmlns:a16="http://schemas.microsoft.com/office/drawing/2014/main" id="{1FFAEE98-FB15-4085-A886-AB20E1ED637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41" name="Straight Connector 540">
                <a:extLst>
                  <a:ext uri="{FF2B5EF4-FFF2-40B4-BE49-F238E27FC236}">
                    <a16:creationId xmlns:a16="http://schemas.microsoft.com/office/drawing/2014/main" id="{A278E0EB-E18A-4E04-9FE6-5076C940DA0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42" name="Group 541">
              <a:extLst>
                <a:ext uri="{FF2B5EF4-FFF2-40B4-BE49-F238E27FC236}">
                  <a16:creationId xmlns:a16="http://schemas.microsoft.com/office/drawing/2014/main" id="{C71B9DCC-006B-4F67-B086-5FC4355D0BE0}"/>
                </a:ext>
              </a:extLst>
            </p:cNvPr>
            <p:cNvGrpSpPr/>
            <p:nvPr/>
          </p:nvGrpSpPr>
          <p:grpSpPr>
            <a:xfrm>
              <a:off x="2363728" y="2656133"/>
              <a:ext cx="70461" cy="72000"/>
              <a:chOff x="5800094" y="2078182"/>
              <a:chExt cx="70461" cy="72000"/>
            </a:xfrm>
          </p:grpSpPr>
          <p:cxnSp>
            <p:nvCxnSpPr>
              <p:cNvPr id="543" name="Straight Connector 542">
                <a:extLst>
                  <a:ext uri="{FF2B5EF4-FFF2-40B4-BE49-F238E27FC236}">
                    <a16:creationId xmlns:a16="http://schemas.microsoft.com/office/drawing/2014/main" id="{55BD87AA-E9CC-4838-96AC-8C0DDE382C6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44" name="Straight Connector 543">
                <a:extLst>
                  <a:ext uri="{FF2B5EF4-FFF2-40B4-BE49-F238E27FC236}">
                    <a16:creationId xmlns:a16="http://schemas.microsoft.com/office/drawing/2014/main" id="{11702E01-6720-4679-B8CB-B09C5BAF9F1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45" name="Group 544">
              <a:extLst>
                <a:ext uri="{FF2B5EF4-FFF2-40B4-BE49-F238E27FC236}">
                  <a16:creationId xmlns:a16="http://schemas.microsoft.com/office/drawing/2014/main" id="{6D5C71E3-6898-4575-A51A-B038EE6C1D21}"/>
                </a:ext>
              </a:extLst>
            </p:cNvPr>
            <p:cNvGrpSpPr/>
            <p:nvPr/>
          </p:nvGrpSpPr>
          <p:grpSpPr>
            <a:xfrm>
              <a:off x="2341367" y="2637531"/>
              <a:ext cx="70461" cy="72000"/>
              <a:chOff x="5800094" y="2078182"/>
              <a:chExt cx="70461" cy="72000"/>
            </a:xfrm>
          </p:grpSpPr>
          <p:cxnSp>
            <p:nvCxnSpPr>
              <p:cNvPr id="546" name="Straight Connector 545">
                <a:extLst>
                  <a:ext uri="{FF2B5EF4-FFF2-40B4-BE49-F238E27FC236}">
                    <a16:creationId xmlns:a16="http://schemas.microsoft.com/office/drawing/2014/main" id="{2C84AABE-3E25-4182-977C-B0E67FF74C2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47" name="Straight Connector 546">
                <a:extLst>
                  <a:ext uri="{FF2B5EF4-FFF2-40B4-BE49-F238E27FC236}">
                    <a16:creationId xmlns:a16="http://schemas.microsoft.com/office/drawing/2014/main" id="{8D96912D-9743-4D11-8EC2-E49119D01C1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48" name="Group 547">
              <a:extLst>
                <a:ext uri="{FF2B5EF4-FFF2-40B4-BE49-F238E27FC236}">
                  <a16:creationId xmlns:a16="http://schemas.microsoft.com/office/drawing/2014/main" id="{3D644B70-6667-4B5A-A685-33D476CC3A71}"/>
                </a:ext>
              </a:extLst>
            </p:cNvPr>
            <p:cNvGrpSpPr/>
            <p:nvPr/>
          </p:nvGrpSpPr>
          <p:grpSpPr>
            <a:xfrm>
              <a:off x="2338948" y="2615995"/>
              <a:ext cx="70461" cy="72000"/>
              <a:chOff x="5800094" y="2078182"/>
              <a:chExt cx="70461" cy="72000"/>
            </a:xfrm>
          </p:grpSpPr>
          <p:cxnSp>
            <p:nvCxnSpPr>
              <p:cNvPr id="549" name="Straight Connector 548">
                <a:extLst>
                  <a:ext uri="{FF2B5EF4-FFF2-40B4-BE49-F238E27FC236}">
                    <a16:creationId xmlns:a16="http://schemas.microsoft.com/office/drawing/2014/main" id="{F2CE87C5-3A1D-45BF-AB75-36F7F02F953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50" name="Straight Connector 549">
                <a:extLst>
                  <a:ext uri="{FF2B5EF4-FFF2-40B4-BE49-F238E27FC236}">
                    <a16:creationId xmlns:a16="http://schemas.microsoft.com/office/drawing/2014/main" id="{75D8F6D1-E39D-4B35-A0F9-36D2BF6522C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51" name="Group 550">
              <a:extLst>
                <a:ext uri="{FF2B5EF4-FFF2-40B4-BE49-F238E27FC236}">
                  <a16:creationId xmlns:a16="http://schemas.microsoft.com/office/drawing/2014/main" id="{95BE6FC3-500F-4BB5-832C-5DDC2B8F2C77}"/>
                </a:ext>
              </a:extLst>
            </p:cNvPr>
            <p:cNvGrpSpPr/>
            <p:nvPr/>
          </p:nvGrpSpPr>
          <p:grpSpPr>
            <a:xfrm>
              <a:off x="2333904" y="2601928"/>
              <a:ext cx="70461" cy="72000"/>
              <a:chOff x="5800094" y="2078182"/>
              <a:chExt cx="70461" cy="72000"/>
            </a:xfrm>
          </p:grpSpPr>
          <p:cxnSp>
            <p:nvCxnSpPr>
              <p:cNvPr id="552" name="Straight Connector 551">
                <a:extLst>
                  <a:ext uri="{FF2B5EF4-FFF2-40B4-BE49-F238E27FC236}">
                    <a16:creationId xmlns:a16="http://schemas.microsoft.com/office/drawing/2014/main" id="{CA6C04D7-BB3F-43FE-AA72-55C009AF68F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53" name="Straight Connector 552">
                <a:extLst>
                  <a:ext uri="{FF2B5EF4-FFF2-40B4-BE49-F238E27FC236}">
                    <a16:creationId xmlns:a16="http://schemas.microsoft.com/office/drawing/2014/main" id="{E7C73C3B-42F4-4F2A-BCBC-27593BF676A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54" name="Group 553">
              <a:extLst>
                <a:ext uri="{FF2B5EF4-FFF2-40B4-BE49-F238E27FC236}">
                  <a16:creationId xmlns:a16="http://schemas.microsoft.com/office/drawing/2014/main" id="{70872703-2334-418D-89AF-9921FC826495}"/>
                </a:ext>
              </a:extLst>
            </p:cNvPr>
            <p:cNvGrpSpPr/>
            <p:nvPr/>
          </p:nvGrpSpPr>
          <p:grpSpPr>
            <a:xfrm>
              <a:off x="2327240" y="2587895"/>
              <a:ext cx="70461" cy="72000"/>
              <a:chOff x="5800094" y="2078182"/>
              <a:chExt cx="70461" cy="72000"/>
            </a:xfrm>
          </p:grpSpPr>
          <p:cxnSp>
            <p:nvCxnSpPr>
              <p:cNvPr id="555" name="Straight Connector 554">
                <a:extLst>
                  <a:ext uri="{FF2B5EF4-FFF2-40B4-BE49-F238E27FC236}">
                    <a16:creationId xmlns:a16="http://schemas.microsoft.com/office/drawing/2014/main" id="{FC1CCCD4-ACA4-4A60-9FC6-EA10885B05A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56" name="Straight Connector 555">
                <a:extLst>
                  <a:ext uri="{FF2B5EF4-FFF2-40B4-BE49-F238E27FC236}">
                    <a16:creationId xmlns:a16="http://schemas.microsoft.com/office/drawing/2014/main" id="{4D702105-EA0C-4B18-82DE-2E8E2C97110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57" name="Group 556">
              <a:extLst>
                <a:ext uri="{FF2B5EF4-FFF2-40B4-BE49-F238E27FC236}">
                  <a16:creationId xmlns:a16="http://schemas.microsoft.com/office/drawing/2014/main" id="{32B1AAFA-D4F1-456C-B950-7C6D267277FB}"/>
                </a:ext>
              </a:extLst>
            </p:cNvPr>
            <p:cNvGrpSpPr/>
            <p:nvPr/>
          </p:nvGrpSpPr>
          <p:grpSpPr>
            <a:xfrm>
              <a:off x="2305381" y="2587861"/>
              <a:ext cx="70461" cy="72000"/>
              <a:chOff x="5800094" y="2078182"/>
              <a:chExt cx="70461" cy="72000"/>
            </a:xfrm>
          </p:grpSpPr>
          <p:cxnSp>
            <p:nvCxnSpPr>
              <p:cNvPr id="558" name="Straight Connector 557">
                <a:extLst>
                  <a:ext uri="{FF2B5EF4-FFF2-40B4-BE49-F238E27FC236}">
                    <a16:creationId xmlns:a16="http://schemas.microsoft.com/office/drawing/2014/main" id="{883CCD8B-04EB-4518-9FCD-33149C8984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59" name="Straight Connector 558">
                <a:extLst>
                  <a:ext uri="{FF2B5EF4-FFF2-40B4-BE49-F238E27FC236}">
                    <a16:creationId xmlns:a16="http://schemas.microsoft.com/office/drawing/2014/main" id="{FFB607E9-84EE-4756-ACCE-11AC8196218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60" name="Group 559">
              <a:extLst>
                <a:ext uri="{FF2B5EF4-FFF2-40B4-BE49-F238E27FC236}">
                  <a16:creationId xmlns:a16="http://schemas.microsoft.com/office/drawing/2014/main" id="{9589EE73-ADC9-4518-BB75-BA3CE21E6206}"/>
                </a:ext>
              </a:extLst>
            </p:cNvPr>
            <p:cNvGrpSpPr/>
            <p:nvPr/>
          </p:nvGrpSpPr>
          <p:grpSpPr>
            <a:xfrm>
              <a:off x="2285660" y="2587849"/>
              <a:ext cx="70461" cy="72000"/>
              <a:chOff x="5800094" y="2078182"/>
              <a:chExt cx="70461" cy="72000"/>
            </a:xfrm>
          </p:grpSpPr>
          <p:cxnSp>
            <p:nvCxnSpPr>
              <p:cNvPr id="561" name="Straight Connector 560">
                <a:extLst>
                  <a:ext uri="{FF2B5EF4-FFF2-40B4-BE49-F238E27FC236}">
                    <a16:creationId xmlns:a16="http://schemas.microsoft.com/office/drawing/2014/main" id="{DC672204-378D-4005-8684-073CB6147A1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62" name="Straight Connector 561">
                <a:extLst>
                  <a:ext uri="{FF2B5EF4-FFF2-40B4-BE49-F238E27FC236}">
                    <a16:creationId xmlns:a16="http://schemas.microsoft.com/office/drawing/2014/main" id="{BC872514-38DA-4311-BB4C-CC2F5CAB4F9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63" name="Group 562">
              <a:extLst>
                <a:ext uri="{FF2B5EF4-FFF2-40B4-BE49-F238E27FC236}">
                  <a16:creationId xmlns:a16="http://schemas.microsoft.com/office/drawing/2014/main" id="{ACEECA22-8B4F-424C-BD5C-AC21D1F2D8A1}"/>
                </a:ext>
              </a:extLst>
            </p:cNvPr>
            <p:cNvGrpSpPr/>
            <p:nvPr/>
          </p:nvGrpSpPr>
          <p:grpSpPr>
            <a:xfrm>
              <a:off x="2267259" y="2587849"/>
              <a:ext cx="70461" cy="72000"/>
              <a:chOff x="5800094" y="2078182"/>
              <a:chExt cx="70461" cy="72000"/>
            </a:xfrm>
          </p:grpSpPr>
          <p:cxnSp>
            <p:nvCxnSpPr>
              <p:cNvPr id="564" name="Straight Connector 563">
                <a:extLst>
                  <a:ext uri="{FF2B5EF4-FFF2-40B4-BE49-F238E27FC236}">
                    <a16:creationId xmlns:a16="http://schemas.microsoft.com/office/drawing/2014/main" id="{7E5F7F60-A77E-49B7-A53B-8D01337DF19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65" name="Straight Connector 564">
                <a:extLst>
                  <a:ext uri="{FF2B5EF4-FFF2-40B4-BE49-F238E27FC236}">
                    <a16:creationId xmlns:a16="http://schemas.microsoft.com/office/drawing/2014/main" id="{30C8473C-E320-44D4-8BE9-33D54F718B6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66" name="Group 565">
              <a:extLst>
                <a:ext uri="{FF2B5EF4-FFF2-40B4-BE49-F238E27FC236}">
                  <a16:creationId xmlns:a16="http://schemas.microsoft.com/office/drawing/2014/main" id="{76A6B7F9-3B23-41D4-B54F-E83BC31D5F28}"/>
                </a:ext>
              </a:extLst>
            </p:cNvPr>
            <p:cNvGrpSpPr/>
            <p:nvPr/>
          </p:nvGrpSpPr>
          <p:grpSpPr>
            <a:xfrm>
              <a:off x="2260859" y="2566312"/>
              <a:ext cx="70461" cy="72000"/>
              <a:chOff x="5800094" y="2078182"/>
              <a:chExt cx="70461" cy="72000"/>
            </a:xfrm>
          </p:grpSpPr>
          <p:cxnSp>
            <p:nvCxnSpPr>
              <p:cNvPr id="567" name="Straight Connector 566">
                <a:extLst>
                  <a:ext uri="{FF2B5EF4-FFF2-40B4-BE49-F238E27FC236}">
                    <a16:creationId xmlns:a16="http://schemas.microsoft.com/office/drawing/2014/main" id="{B6A29692-72EE-405F-BE52-FF25B7BACF8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68" name="Straight Connector 567">
                <a:extLst>
                  <a:ext uri="{FF2B5EF4-FFF2-40B4-BE49-F238E27FC236}">
                    <a16:creationId xmlns:a16="http://schemas.microsoft.com/office/drawing/2014/main" id="{5CC7C3EA-A2C5-47A2-8ED7-6FCA6AE743E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69" name="Group 568">
              <a:extLst>
                <a:ext uri="{FF2B5EF4-FFF2-40B4-BE49-F238E27FC236}">
                  <a16:creationId xmlns:a16="http://schemas.microsoft.com/office/drawing/2014/main" id="{7E4C8073-C7C1-4FCC-87A1-95ABAE26EB69}"/>
                </a:ext>
              </a:extLst>
            </p:cNvPr>
            <p:cNvGrpSpPr/>
            <p:nvPr/>
          </p:nvGrpSpPr>
          <p:grpSpPr>
            <a:xfrm>
              <a:off x="2264653" y="2547373"/>
              <a:ext cx="70461" cy="72000"/>
              <a:chOff x="5800094" y="2078182"/>
              <a:chExt cx="70461" cy="72000"/>
            </a:xfrm>
          </p:grpSpPr>
          <p:cxnSp>
            <p:nvCxnSpPr>
              <p:cNvPr id="570" name="Straight Connector 569">
                <a:extLst>
                  <a:ext uri="{FF2B5EF4-FFF2-40B4-BE49-F238E27FC236}">
                    <a16:creationId xmlns:a16="http://schemas.microsoft.com/office/drawing/2014/main" id="{EDACC440-3CC6-46B6-999D-C39C5E16FEA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71" name="Straight Connector 570">
                <a:extLst>
                  <a:ext uri="{FF2B5EF4-FFF2-40B4-BE49-F238E27FC236}">
                    <a16:creationId xmlns:a16="http://schemas.microsoft.com/office/drawing/2014/main" id="{0B5940E1-0457-499A-BD95-9FF910DD318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72" name="Group 571">
              <a:extLst>
                <a:ext uri="{FF2B5EF4-FFF2-40B4-BE49-F238E27FC236}">
                  <a16:creationId xmlns:a16="http://schemas.microsoft.com/office/drawing/2014/main" id="{70F942FF-1621-4B83-910E-17CB839936E7}"/>
                </a:ext>
              </a:extLst>
            </p:cNvPr>
            <p:cNvGrpSpPr/>
            <p:nvPr/>
          </p:nvGrpSpPr>
          <p:grpSpPr>
            <a:xfrm>
              <a:off x="2263375" y="2531824"/>
              <a:ext cx="70461" cy="72000"/>
              <a:chOff x="5800094" y="2078182"/>
              <a:chExt cx="70461" cy="72000"/>
            </a:xfrm>
          </p:grpSpPr>
          <p:cxnSp>
            <p:nvCxnSpPr>
              <p:cNvPr id="573" name="Straight Connector 572">
                <a:extLst>
                  <a:ext uri="{FF2B5EF4-FFF2-40B4-BE49-F238E27FC236}">
                    <a16:creationId xmlns:a16="http://schemas.microsoft.com/office/drawing/2014/main" id="{0AC63551-ADDA-4F84-81CF-E1B5F85C3A4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74" name="Straight Connector 573">
                <a:extLst>
                  <a:ext uri="{FF2B5EF4-FFF2-40B4-BE49-F238E27FC236}">
                    <a16:creationId xmlns:a16="http://schemas.microsoft.com/office/drawing/2014/main" id="{88326C65-AF4A-45AA-BF14-246C3F0381F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75" name="Group 574">
              <a:extLst>
                <a:ext uri="{FF2B5EF4-FFF2-40B4-BE49-F238E27FC236}">
                  <a16:creationId xmlns:a16="http://schemas.microsoft.com/office/drawing/2014/main" id="{63885479-B4E0-4122-827C-91188E520975}"/>
                </a:ext>
              </a:extLst>
            </p:cNvPr>
            <p:cNvGrpSpPr/>
            <p:nvPr/>
          </p:nvGrpSpPr>
          <p:grpSpPr>
            <a:xfrm>
              <a:off x="2263263" y="2511373"/>
              <a:ext cx="70461" cy="72000"/>
              <a:chOff x="5800094" y="2078182"/>
              <a:chExt cx="70461" cy="72000"/>
            </a:xfrm>
          </p:grpSpPr>
          <p:cxnSp>
            <p:nvCxnSpPr>
              <p:cNvPr id="576" name="Straight Connector 575">
                <a:extLst>
                  <a:ext uri="{FF2B5EF4-FFF2-40B4-BE49-F238E27FC236}">
                    <a16:creationId xmlns:a16="http://schemas.microsoft.com/office/drawing/2014/main" id="{C9B4FB6A-4A1D-4901-B706-6DE45268DAF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77" name="Straight Connector 576">
                <a:extLst>
                  <a:ext uri="{FF2B5EF4-FFF2-40B4-BE49-F238E27FC236}">
                    <a16:creationId xmlns:a16="http://schemas.microsoft.com/office/drawing/2014/main" id="{E21ADC09-9D35-4523-8A38-3500BC1C578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78" name="Group 577">
              <a:extLst>
                <a:ext uri="{FF2B5EF4-FFF2-40B4-BE49-F238E27FC236}">
                  <a16:creationId xmlns:a16="http://schemas.microsoft.com/office/drawing/2014/main" id="{646BBE8F-C92F-42E5-A7A8-C46769BBE371}"/>
                </a:ext>
              </a:extLst>
            </p:cNvPr>
            <p:cNvGrpSpPr/>
            <p:nvPr/>
          </p:nvGrpSpPr>
          <p:grpSpPr>
            <a:xfrm>
              <a:off x="2263375" y="2492818"/>
              <a:ext cx="70461" cy="72000"/>
              <a:chOff x="5800094" y="2078182"/>
              <a:chExt cx="70461" cy="72000"/>
            </a:xfrm>
          </p:grpSpPr>
          <p:cxnSp>
            <p:nvCxnSpPr>
              <p:cNvPr id="579" name="Straight Connector 578">
                <a:extLst>
                  <a:ext uri="{FF2B5EF4-FFF2-40B4-BE49-F238E27FC236}">
                    <a16:creationId xmlns:a16="http://schemas.microsoft.com/office/drawing/2014/main" id="{64FB87D6-CB84-4EA9-B3D1-5B6741002D1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80" name="Straight Connector 579">
                <a:extLst>
                  <a:ext uri="{FF2B5EF4-FFF2-40B4-BE49-F238E27FC236}">
                    <a16:creationId xmlns:a16="http://schemas.microsoft.com/office/drawing/2014/main" id="{6C1E8CE1-4462-41F5-9613-17D72A5F775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81" name="Group 580">
              <a:extLst>
                <a:ext uri="{FF2B5EF4-FFF2-40B4-BE49-F238E27FC236}">
                  <a16:creationId xmlns:a16="http://schemas.microsoft.com/office/drawing/2014/main" id="{011FC5C5-FB26-40E0-8B04-249914B3673C}"/>
                </a:ext>
              </a:extLst>
            </p:cNvPr>
            <p:cNvGrpSpPr/>
            <p:nvPr/>
          </p:nvGrpSpPr>
          <p:grpSpPr>
            <a:xfrm>
              <a:off x="2242200" y="2494279"/>
              <a:ext cx="70461" cy="72000"/>
              <a:chOff x="5800094" y="2078182"/>
              <a:chExt cx="70461" cy="72000"/>
            </a:xfrm>
          </p:grpSpPr>
          <p:cxnSp>
            <p:nvCxnSpPr>
              <p:cNvPr id="582" name="Straight Connector 581">
                <a:extLst>
                  <a:ext uri="{FF2B5EF4-FFF2-40B4-BE49-F238E27FC236}">
                    <a16:creationId xmlns:a16="http://schemas.microsoft.com/office/drawing/2014/main" id="{E1D9A85B-EB57-4B5E-A04F-DA19FE09EC4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83" name="Straight Connector 582">
                <a:extLst>
                  <a:ext uri="{FF2B5EF4-FFF2-40B4-BE49-F238E27FC236}">
                    <a16:creationId xmlns:a16="http://schemas.microsoft.com/office/drawing/2014/main" id="{3E7270F5-0087-4A78-B287-73C3C32DC60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84" name="Group 583">
              <a:extLst>
                <a:ext uri="{FF2B5EF4-FFF2-40B4-BE49-F238E27FC236}">
                  <a16:creationId xmlns:a16="http://schemas.microsoft.com/office/drawing/2014/main" id="{61607178-FED7-413D-B7CE-7EC0DB9CBF97}"/>
                </a:ext>
              </a:extLst>
            </p:cNvPr>
            <p:cNvGrpSpPr/>
            <p:nvPr/>
          </p:nvGrpSpPr>
          <p:grpSpPr>
            <a:xfrm>
              <a:off x="2225628" y="2494307"/>
              <a:ext cx="70461" cy="72000"/>
              <a:chOff x="5800094" y="2078182"/>
              <a:chExt cx="70461" cy="72000"/>
            </a:xfrm>
          </p:grpSpPr>
          <p:cxnSp>
            <p:nvCxnSpPr>
              <p:cNvPr id="585" name="Straight Connector 584">
                <a:extLst>
                  <a:ext uri="{FF2B5EF4-FFF2-40B4-BE49-F238E27FC236}">
                    <a16:creationId xmlns:a16="http://schemas.microsoft.com/office/drawing/2014/main" id="{56FB9DC5-CA02-4D86-A73C-F1997BC821A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86" name="Straight Connector 585">
                <a:extLst>
                  <a:ext uri="{FF2B5EF4-FFF2-40B4-BE49-F238E27FC236}">
                    <a16:creationId xmlns:a16="http://schemas.microsoft.com/office/drawing/2014/main" id="{19F29F37-9C60-47C7-BFBB-1E360B89A8F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87" name="Group 586">
              <a:extLst>
                <a:ext uri="{FF2B5EF4-FFF2-40B4-BE49-F238E27FC236}">
                  <a16:creationId xmlns:a16="http://schemas.microsoft.com/office/drawing/2014/main" id="{71CFFD67-C857-43CE-9958-30BC6B3D4C19}"/>
                </a:ext>
              </a:extLst>
            </p:cNvPr>
            <p:cNvGrpSpPr/>
            <p:nvPr/>
          </p:nvGrpSpPr>
          <p:grpSpPr>
            <a:xfrm>
              <a:off x="2203907" y="2486495"/>
              <a:ext cx="70461" cy="72000"/>
              <a:chOff x="5800094" y="2078182"/>
              <a:chExt cx="70461" cy="72000"/>
            </a:xfrm>
          </p:grpSpPr>
          <p:cxnSp>
            <p:nvCxnSpPr>
              <p:cNvPr id="588" name="Straight Connector 587">
                <a:extLst>
                  <a:ext uri="{FF2B5EF4-FFF2-40B4-BE49-F238E27FC236}">
                    <a16:creationId xmlns:a16="http://schemas.microsoft.com/office/drawing/2014/main" id="{0FB07789-4E6D-49C5-A563-B96842E556F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89" name="Straight Connector 588">
                <a:extLst>
                  <a:ext uri="{FF2B5EF4-FFF2-40B4-BE49-F238E27FC236}">
                    <a16:creationId xmlns:a16="http://schemas.microsoft.com/office/drawing/2014/main" id="{D9989505-C610-4EAF-B384-6825D8AD9FE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90" name="Group 589">
              <a:extLst>
                <a:ext uri="{FF2B5EF4-FFF2-40B4-BE49-F238E27FC236}">
                  <a16:creationId xmlns:a16="http://schemas.microsoft.com/office/drawing/2014/main" id="{5D5DEF2C-917F-4B7A-BA2C-81E26F1079C2}"/>
                </a:ext>
              </a:extLst>
            </p:cNvPr>
            <p:cNvGrpSpPr/>
            <p:nvPr/>
          </p:nvGrpSpPr>
          <p:grpSpPr>
            <a:xfrm>
              <a:off x="2187417" y="2481114"/>
              <a:ext cx="70461" cy="72000"/>
              <a:chOff x="5800094" y="2078182"/>
              <a:chExt cx="70461" cy="72000"/>
            </a:xfrm>
          </p:grpSpPr>
          <p:cxnSp>
            <p:nvCxnSpPr>
              <p:cNvPr id="591" name="Straight Connector 590">
                <a:extLst>
                  <a:ext uri="{FF2B5EF4-FFF2-40B4-BE49-F238E27FC236}">
                    <a16:creationId xmlns:a16="http://schemas.microsoft.com/office/drawing/2014/main" id="{90046EAB-F5AE-4CCB-AB61-DDFD2B8923F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92" name="Straight Connector 591">
                <a:extLst>
                  <a:ext uri="{FF2B5EF4-FFF2-40B4-BE49-F238E27FC236}">
                    <a16:creationId xmlns:a16="http://schemas.microsoft.com/office/drawing/2014/main" id="{05D90E3C-A218-4953-96E6-52C3C9446BE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93" name="Group 592">
              <a:extLst>
                <a:ext uri="{FF2B5EF4-FFF2-40B4-BE49-F238E27FC236}">
                  <a16:creationId xmlns:a16="http://schemas.microsoft.com/office/drawing/2014/main" id="{9FB9AD27-AE81-4E32-B62D-310A22643BBC}"/>
                </a:ext>
              </a:extLst>
            </p:cNvPr>
            <p:cNvGrpSpPr/>
            <p:nvPr/>
          </p:nvGrpSpPr>
          <p:grpSpPr>
            <a:xfrm>
              <a:off x="2168676" y="2475373"/>
              <a:ext cx="70461" cy="72000"/>
              <a:chOff x="5800094" y="2078182"/>
              <a:chExt cx="70461" cy="72000"/>
            </a:xfrm>
          </p:grpSpPr>
          <p:cxnSp>
            <p:nvCxnSpPr>
              <p:cNvPr id="594" name="Straight Connector 593">
                <a:extLst>
                  <a:ext uri="{FF2B5EF4-FFF2-40B4-BE49-F238E27FC236}">
                    <a16:creationId xmlns:a16="http://schemas.microsoft.com/office/drawing/2014/main" id="{005EB1A3-AB1F-471D-8D3A-6D03BAE8A56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95" name="Straight Connector 594">
                <a:extLst>
                  <a:ext uri="{FF2B5EF4-FFF2-40B4-BE49-F238E27FC236}">
                    <a16:creationId xmlns:a16="http://schemas.microsoft.com/office/drawing/2014/main" id="{EC5F9D62-CEF6-49E8-BA28-0259E65E92F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96" name="Group 595">
              <a:extLst>
                <a:ext uri="{FF2B5EF4-FFF2-40B4-BE49-F238E27FC236}">
                  <a16:creationId xmlns:a16="http://schemas.microsoft.com/office/drawing/2014/main" id="{C41D96BF-6A7C-432B-B222-411AC62B4188}"/>
                </a:ext>
              </a:extLst>
            </p:cNvPr>
            <p:cNvGrpSpPr/>
            <p:nvPr/>
          </p:nvGrpSpPr>
          <p:grpSpPr>
            <a:xfrm>
              <a:off x="2161490" y="2453062"/>
              <a:ext cx="70461" cy="72000"/>
              <a:chOff x="5800094" y="2078182"/>
              <a:chExt cx="70461" cy="72000"/>
            </a:xfrm>
          </p:grpSpPr>
          <p:cxnSp>
            <p:nvCxnSpPr>
              <p:cNvPr id="597" name="Straight Connector 596">
                <a:extLst>
                  <a:ext uri="{FF2B5EF4-FFF2-40B4-BE49-F238E27FC236}">
                    <a16:creationId xmlns:a16="http://schemas.microsoft.com/office/drawing/2014/main" id="{54E6798B-0865-466F-8218-83FE5DCC942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598" name="Straight Connector 597">
                <a:extLst>
                  <a:ext uri="{FF2B5EF4-FFF2-40B4-BE49-F238E27FC236}">
                    <a16:creationId xmlns:a16="http://schemas.microsoft.com/office/drawing/2014/main" id="{2C37C83F-D4E7-4CB4-9E7B-6D80A8877E0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599" name="Group 598">
              <a:extLst>
                <a:ext uri="{FF2B5EF4-FFF2-40B4-BE49-F238E27FC236}">
                  <a16:creationId xmlns:a16="http://schemas.microsoft.com/office/drawing/2014/main" id="{5EBF6D76-6D48-4617-9A4E-A5440276032B}"/>
                </a:ext>
              </a:extLst>
            </p:cNvPr>
            <p:cNvGrpSpPr/>
            <p:nvPr/>
          </p:nvGrpSpPr>
          <p:grpSpPr>
            <a:xfrm>
              <a:off x="2161374" y="2431940"/>
              <a:ext cx="70461" cy="72000"/>
              <a:chOff x="5800094" y="2078182"/>
              <a:chExt cx="70461" cy="72000"/>
            </a:xfrm>
          </p:grpSpPr>
          <p:cxnSp>
            <p:nvCxnSpPr>
              <p:cNvPr id="600" name="Straight Connector 599">
                <a:extLst>
                  <a:ext uri="{FF2B5EF4-FFF2-40B4-BE49-F238E27FC236}">
                    <a16:creationId xmlns:a16="http://schemas.microsoft.com/office/drawing/2014/main" id="{2D352FD7-63F3-4826-876C-1D04535337A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01" name="Straight Connector 600">
                <a:extLst>
                  <a:ext uri="{FF2B5EF4-FFF2-40B4-BE49-F238E27FC236}">
                    <a16:creationId xmlns:a16="http://schemas.microsoft.com/office/drawing/2014/main" id="{27558DFF-6856-4B83-929B-4170BDA3002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02" name="Group 601">
              <a:extLst>
                <a:ext uri="{FF2B5EF4-FFF2-40B4-BE49-F238E27FC236}">
                  <a16:creationId xmlns:a16="http://schemas.microsoft.com/office/drawing/2014/main" id="{B80AFBFE-D9A7-4B77-A3B8-8C74BD88E0D1}"/>
                </a:ext>
              </a:extLst>
            </p:cNvPr>
            <p:cNvGrpSpPr/>
            <p:nvPr/>
          </p:nvGrpSpPr>
          <p:grpSpPr>
            <a:xfrm>
              <a:off x="2162196" y="2422034"/>
              <a:ext cx="70461" cy="72000"/>
              <a:chOff x="5800094" y="2078182"/>
              <a:chExt cx="70461" cy="72000"/>
            </a:xfrm>
          </p:grpSpPr>
          <p:cxnSp>
            <p:nvCxnSpPr>
              <p:cNvPr id="603" name="Straight Connector 602">
                <a:extLst>
                  <a:ext uri="{FF2B5EF4-FFF2-40B4-BE49-F238E27FC236}">
                    <a16:creationId xmlns:a16="http://schemas.microsoft.com/office/drawing/2014/main" id="{9C1C0580-5648-47B2-B4EE-A702593C595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04" name="Straight Connector 603">
                <a:extLst>
                  <a:ext uri="{FF2B5EF4-FFF2-40B4-BE49-F238E27FC236}">
                    <a16:creationId xmlns:a16="http://schemas.microsoft.com/office/drawing/2014/main" id="{7591AB15-683B-4624-ABCB-06034DA78DE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05" name="Group 604">
              <a:extLst>
                <a:ext uri="{FF2B5EF4-FFF2-40B4-BE49-F238E27FC236}">
                  <a16:creationId xmlns:a16="http://schemas.microsoft.com/office/drawing/2014/main" id="{8D3AEF24-59BE-46AD-BDF5-D75153CA8BDC}"/>
                </a:ext>
              </a:extLst>
            </p:cNvPr>
            <p:cNvGrpSpPr/>
            <p:nvPr/>
          </p:nvGrpSpPr>
          <p:grpSpPr>
            <a:xfrm>
              <a:off x="2160422" y="2411830"/>
              <a:ext cx="70461" cy="72000"/>
              <a:chOff x="5800094" y="2078182"/>
              <a:chExt cx="70461" cy="72000"/>
            </a:xfrm>
          </p:grpSpPr>
          <p:cxnSp>
            <p:nvCxnSpPr>
              <p:cNvPr id="606" name="Straight Connector 605">
                <a:extLst>
                  <a:ext uri="{FF2B5EF4-FFF2-40B4-BE49-F238E27FC236}">
                    <a16:creationId xmlns:a16="http://schemas.microsoft.com/office/drawing/2014/main" id="{79265C4A-3445-4275-91C7-78A976AF070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07" name="Straight Connector 606">
                <a:extLst>
                  <a:ext uri="{FF2B5EF4-FFF2-40B4-BE49-F238E27FC236}">
                    <a16:creationId xmlns:a16="http://schemas.microsoft.com/office/drawing/2014/main" id="{EEED42FE-DBDA-463D-86D4-25265CAC8FE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08" name="Group 607">
              <a:extLst>
                <a:ext uri="{FF2B5EF4-FFF2-40B4-BE49-F238E27FC236}">
                  <a16:creationId xmlns:a16="http://schemas.microsoft.com/office/drawing/2014/main" id="{AEECD708-4C65-4533-918B-CB74E9DC5DC0}"/>
                </a:ext>
              </a:extLst>
            </p:cNvPr>
            <p:cNvGrpSpPr/>
            <p:nvPr/>
          </p:nvGrpSpPr>
          <p:grpSpPr>
            <a:xfrm>
              <a:off x="2161373" y="2395450"/>
              <a:ext cx="70461" cy="72000"/>
              <a:chOff x="5800094" y="2078182"/>
              <a:chExt cx="70461" cy="72000"/>
            </a:xfrm>
          </p:grpSpPr>
          <p:cxnSp>
            <p:nvCxnSpPr>
              <p:cNvPr id="609" name="Straight Connector 608">
                <a:extLst>
                  <a:ext uri="{FF2B5EF4-FFF2-40B4-BE49-F238E27FC236}">
                    <a16:creationId xmlns:a16="http://schemas.microsoft.com/office/drawing/2014/main" id="{7819414B-1B40-444E-B141-50C54035485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10" name="Straight Connector 609">
                <a:extLst>
                  <a:ext uri="{FF2B5EF4-FFF2-40B4-BE49-F238E27FC236}">
                    <a16:creationId xmlns:a16="http://schemas.microsoft.com/office/drawing/2014/main" id="{CE2CE40A-21C0-4253-AA2E-FB9AE7DDA35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11" name="Group 610">
              <a:extLst>
                <a:ext uri="{FF2B5EF4-FFF2-40B4-BE49-F238E27FC236}">
                  <a16:creationId xmlns:a16="http://schemas.microsoft.com/office/drawing/2014/main" id="{F52C8BDD-20A4-4083-B8F4-1CBAE0FCC65E}"/>
                </a:ext>
              </a:extLst>
            </p:cNvPr>
            <p:cNvGrpSpPr/>
            <p:nvPr/>
          </p:nvGrpSpPr>
          <p:grpSpPr>
            <a:xfrm>
              <a:off x="2139929" y="2393035"/>
              <a:ext cx="70461" cy="72000"/>
              <a:chOff x="5800094" y="2078182"/>
              <a:chExt cx="70461" cy="72000"/>
            </a:xfrm>
          </p:grpSpPr>
          <p:cxnSp>
            <p:nvCxnSpPr>
              <p:cNvPr id="612" name="Straight Connector 611">
                <a:extLst>
                  <a:ext uri="{FF2B5EF4-FFF2-40B4-BE49-F238E27FC236}">
                    <a16:creationId xmlns:a16="http://schemas.microsoft.com/office/drawing/2014/main" id="{BAD70784-9483-4A50-A204-AD83DBAABEE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13" name="Straight Connector 612">
                <a:extLst>
                  <a:ext uri="{FF2B5EF4-FFF2-40B4-BE49-F238E27FC236}">
                    <a16:creationId xmlns:a16="http://schemas.microsoft.com/office/drawing/2014/main" id="{43246628-D293-48AC-8589-EA9187DFD43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14" name="Group 613">
              <a:extLst>
                <a:ext uri="{FF2B5EF4-FFF2-40B4-BE49-F238E27FC236}">
                  <a16:creationId xmlns:a16="http://schemas.microsoft.com/office/drawing/2014/main" id="{F59D86F7-F586-446C-A570-2AFA17A60E74}"/>
                </a:ext>
              </a:extLst>
            </p:cNvPr>
            <p:cNvGrpSpPr/>
            <p:nvPr/>
          </p:nvGrpSpPr>
          <p:grpSpPr>
            <a:xfrm>
              <a:off x="2120616" y="2392765"/>
              <a:ext cx="70461" cy="72000"/>
              <a:chOff x="5800094" y="2078182"/>
              <a:chExt cx="70461" cy="72000"/>
            </a:xfrm>
          </p:grpSpPr>
          <p:cxnSp>
            <p:nvCxnSpPr>
              <p:cNvPr id="615" name="Straight Connector 614">
                <a:extLst>
                  <a:ext uri="{FF2B5EF4-FFF2-40B4-BE49-F238E27FC236}">
                    <a16:creationId xmlns:a16="http://schemas.microsoft.com/office/drawing/2014/main" id="{5DEBB1A1-C922-4EA3-A68C-509EB26AD9A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16" name="Straight Connector 615">
                <a:extLst>
                  <a:ext uri="{FF2B5EF4-FFF2-40B4-BE49-F238E27FC236}">
                    <a16:creationId xmlns:a16="http://schemas.microsoft.com/office/drawing/2014/main" id="{D3D72FC9-FB6E-4AF5-9F00-2DDB8B51D05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17" name="Group 616">
              <a:extLst>
                <a:ext uri="{FF2B5EF4-FFF2-40B4-BE49-F238E27FC236}">
                  <a16:creationId xmlns:a16="http://schemas.microsoft.com/office/drawing/2014/main" id="{ED6597B8-381B-4CB6-B0B7-31170C36B64F}"/>
                </a:ext>
              </a:extLst>
            </p:cNvPr>
            <p:cNvGrpSpPr/>
            <p:nvPr/>
          </p:nvGrpSpPr>
          <p:grpSpPr>
            <a:xfrm>
              <a:off x="2120616" y="2373595"/>
              <a:ext cx="70461" cy="72000"/>
              <a:chOff x="5800094" y="2078182"/>
              <a:chExt cx="70461" cy="72000"/>
            </a:xfrm>
          </p:grpSpPr>
          <p:cxnSp>
            <p:nvCxnSpPr>
              <p:cNvPr id="618" name="Straight Connector 617">
                <a:extLst>
                  <a:ext uri="{FF2B5EF4-FFF2-40B4-BE49-F238E27FC236}">
                    <a16:creationId xmlns:a16="http://schemas.microsoft.com/office/drawing/2014/main" id="{18B6D834-7850-40DA-81DF-33C91FD95F5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19" name="Straight Connector 618">
                <a:extLst>
                  <a:ext uri="{FF2B5EF4-FFF2-40B4-BE49-F238E27FC236}">
                    <a16:creationId xmlns:a16="http://schemas.microsoft.com/office/drawing/2014/main" id="{9E9C702C-C4D2-4A82-99F0-8ECBE913B98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20" name="Group 619">
              <a:extLst>
                <a:ext uri="{FF2B5EF4-FFF2-40B4-BE49-F238E27FC236}">
                  <a16:creationId xmlns:a16="http://schemas.microsoft.com/office/drawing/2014/main" id="{EAE3C799-ED22-4EB5-AB7F-F9B58CD3FF54}"/>
                </a:ext>
              </a:extLst>
            </p:cNvPr>
            <p:cNvGrpSpPr/>
            <p:nvPr/>
          </p:nvGrpSpPr>
          <p:grpSpPr>
            <a:xfrm>
              <a:off x="2118673" y="2352905"/>
              <a:ext cx="70461" cy="72000"/>
              <a:chOff x="5800094" y="2078182"/>
              <a:chExt cx="70461" cy="72000"/>
            </a:xfrm>
          </p:grpSpPr>
          <p:cxnSp>
            <p:nvCxnSpPr>
              <p:cNvPr id="621" name="Straight Connector 620">
                <a:extLst>
                  <a:ext uri="{FF2B5EF4-FFF2-40B4-BE49-F238E27FC236}">
                    <a16:creationId xmlns:a16="http://schemas.microsoft.com/office/drawing/2014/main" id="{9C683641-8F1B-49FC-BB1B-48CA7E4891B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22" name="Straight Connector 621">
                <a:extLst>
                  <a:ext uri="{FF2B5EF4-FFF2-40B4-BE49-F238E27FC236}">
                    <a16:creationId xmlns:a16="http://schemas.microsoft.com/office/drawing/2014/main" id="{2D613FD6-F62A-4394-88BA-6D447D6E09E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23" name="Group 622">
              <a:extLst>
                <a:ext uri="{FF2B5EF4-FFF2-40B4-BE49-F238E27FC236}">
                  <a16:creationId xmlns:a16="http://schemas.microsoft.com/office/drawing/2014/main" id="{0152BA36-2DD9-449B-85F9-F08511F4F7DC}"/>
                </a:ext>
              </a:extLst>
            </p:cNvPr>
            <p:cNvGrpSpPr/>
            <p:nvPr/>
          </p:nvGrpSpPr>
          <p:grpSpPr>
            <a:xfrm>
              <a:off x="2120616" y="2338713"/>
              <a:ext cx="70461" cy="72000"/>
              <a:chOff x="5800094" y="2078182"/>
              <a:chExt cx="70461" cy="72000"/>
            </a:xfrm>
          </p:grpSpPr>
          <p:cxnSp>
            <p:nvCxnSpPr>
              <p:cNvPr id="624" name="Straight Connector 623">
                <a:extLst>
                  <a:ext uri="{FF2B5EF4-FFF2-40B4-BE49-F238E27FC236}">
                    <a16:creationId xmlns:a16="http://schemas.microsoft.com/office/drawing/2014/main" id="{BF70BB79-A250-4669-B1ED-9DD223C0BFE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25" name="Straight Connector 624">
                <a:extLst>
                  <a:ext uri="{FF2B5EF4-FFF2-40B4-BE49-F238E27FC236}">
                    <a16:creationId xmlns:a16="http://schemas.microsoft.com/office/drawing/2014/main" id="{E63BE8ED-A1B5-4DCC-975F-82F92E14413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26" name="Group 625">
              <a:extLst>
                <a:ext uri="{FF2B5EF4-FFF2-40B4-BE49-F238E27FC236}">
                  <a16:creationId xmlns:a16="http://schemas.microsoft.com/office/drawing/2014/main" id="{03A2F85D-B08E-4F35-99A3-D38DE481A8F9}"/>
                </a:ext>
              </a:extLst>
            </p:cNvPr>
            <p:cNvGrpSpPr/>
            <p:nvPr/>
          </p:nvGrpSpPr>
          <p:grpSpPr>
            <a:xfrm>
              <a:off x="2118673" y="2316692"/>
              <a:ext cx="70461" cy="72000"/>
              <a:chOff x="5800094" y="2078182"/>
              <a:chExt cx="70461" cy="72000"/>
            </a:xfrm>
          </p:grpSpPr>
          <p:cxnSp>
            <p:nvCxnSpPr>
              <p:cNvPr id="627" name="Straight Connector 626">
                <a:extLst>
                  <a:ext uri="{FF2B5EF4-FFF2-40B4-BE49-F238E27FC236}">
                    <a16:creationId xmlns:a16="http://schemas.microsoft.com/office/drawing/2014/main" id="{106AB3A3-0186-4EAF-8CC0-F141E5D1746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28" name="Straight Connector 627">
                <a:extLst>
                  <a:ext uri="{FF2B5EF4-FFF2-40B4-BE49-F238E27FC236}">
                    <a16:creationId xmlns:a16="http://schemas.microsoft.com/office/drawing/2014/main" id="{D1C0C66E-DDF8-40A5-A504-C074B642FFF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29" name="Group 628">
              <a:extLst>
                <a:ext uri="{FF2B5EF4-FFF2-40B4-BE49-F238E27FC236}">
                  <a16:creationId xmlns:a16="http://schemas.microsoft.com/office/drawing/2014/main" id="{2D5181EE-F183-49A9-A24B-978F16AE8974}"/>
                </a:ext>
              </a:extLst>
            </p:cNvPr>
            <p:cNvGrpSpPr/>
            <p:nvPr/>
          </p:nvGrpSpPr>
          <p:grpSpPr>
            <a:xfrm>
              <a:off x="2116586" y="2299348"/>
              <a:ext cx="70461" cy="72000"/>
              <a:chOff x="5800094" y="2078182"/>
              <a:chExt cx="70461" cy="72000"/>
            </a:xfrm>
          </p:grpSpPr>
          <p:cxnSp>
            <p:nvCxnSpPr>
              <p:cNvPr id="630" name="Straight Connector 629">
                <a:extLst>
                  <a:ext uri="{FF2B5EF4-FFF2-40B4-BE49-F238E27FC236}">
                    <a16:creationId xmlns:a16="http://schemas.microsoft.com/office/drawing/2014/main" id="{19D069DA-3C0F-4F1B-8463-F1EE9CC7606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1" name="Straight Connector 630">
                <a:extLst>
                  <a:ext uri="{FF2B5EF4-FFF2-40B4-BE49-F238E27FC236}">
                    <a16:creationId xmlns:a16="http://schemas.microsoft.com/office/drawing/2014/main" id="{DAE492ED-113D-4792-AAEC-B850127F9D2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32" name="Group 631">
              <a:extLst>
                <a:ext uri="{FF2B5EF4-FFF2-40B4-BE49-F238E27FC236}">
                  <a16:creationId xmlns:a16="http://schemas.microsoft.com/office/drawing/2014/main" id="{6D633985-0CDD-47ED-9D45-FC6FE6E229B3}"/>
                </a:ext>
              </a:extLst>
            </p:cNvPr>
            <p:cNvGrpSpPr/>
            <p:nvPr/>
          </p:nvGrpSpPr>
          <p:grpSpPr>
            <a:xfrm>
              <a:off x="2118673" y="2279240"/>
              <a:ext cx="70461" cy="72000"/>
              <a:chOff x="5800094" y="2078182"/>
              <a:chExt cx="70461" cy="72000"/>
            </a:xfrm>
          </p:grpSpPr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70E24D89-F1BF-450D-87B8-3DB43186ABE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6658BDF7-48F1-428A-8A55-F7A50B4178F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35" name="Group 634">
              <a:extLst>
                <a:ext uri="{FF2B5EF4-FFF2-40B4-BE49-F238E27FC236}">
                  <a16:creationId xmlns:a16="http://schemas.microsoft.com/office/drawing/2014/main" id="{BD690FF1-CFAE-4DA1-8DA4-50304B2F5697}"/>
                </a:ext>
              </a:extLst>
            </p:cNvPr>
            <p:cNvGrpSpPr/>
            <p:nvPr/>
          </p:nvGrpSpPr>
          <p:grpSpPr>
            <a:xfrm>
              <a:off x="2080228" y="2277843"/>
              <a:ext cx="70461" cy="72000"/>
              <a:chOff x="5800094" y="2078182"/>
              <a:chExt cx="70461" cy="72000"/>
            </a:xfrm>
          </p:grpSpPr>
          <p:cxnSp>
            <p:nvCxnSpPr>
              <p:cNvPr id="636" name="Straight Connector 635">
                <a:extLst>
                  <a:ext uri="{FF2B5EF4-FFF2-40B4-BE49-F238E27FC236}">
                    <a16:creationId xmlns:a16="http://schemas.microsoft.com/office/drawing/2014/main" id="{75DFD687-A88B-4347-82D9-BBEEC97C568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7" name="Straight Connector 636">
                <a:extLst>
                  <a:ext uri="{FF2B5EF4-FFF2-40B4-BE49-F238E27FC236}">
                    <a16:creationId xmlns:a16="http://schemas.microsoft.com/office/drawing/2014/main" id="{166E0AF5-62BF-4A53-A6D2-1C4EB3CF163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38" name="Group 637">
              <a:extLst>
                <a:ext uri="{FF2B5EF4-FFF2-40B4-BE49-F238E27FC236}">
                  <a16:creationId xmlns:a16="http://schemas.microsoft.com/office/drawing/2014/main" id="{5F1738F7-278D-434B-86CE-6FA6786B392E}"/>
                </a:ext>
              </a:extLst>
            </p:cNvPr>
            <p:cNvGrpSpPr/>
            <p:nvPr/>
          </p:nvGrpSpPr>
          <p:grpSpPr>
            <a:xfrm>
              <a:off x="2068482" y="2278458"/>
              <a:ext cx="70461" cy="72000"/>
              <a:chOff x="5800094" y="2078182"/>
              <a:chExt cx="70461" cy="72000"/>
            </a:xfrm>
          </p:grpSpPr>
          <p:cxnSp>
            <p:nvCxnSpPr>
              <p:cNvPr id="639" name="Straight Connector 638">
                <a:extLst>
                  <a:ext uri="{FF2B5EF4-FFF2-40B4-BE49-F238E27FC236}">
                    <a16:creationId xmlns:a16="http://schemas.microsoft.com/office/drawing/2014/main" id="{3C5DBCF4-C949-4FAA-99E1-5A289008BDB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40" name="Straight Connector 639">
                <a:extLst>
                  <a:ext uri="{FF2B5EF4-FFF2-40B4-BE49-F238E27FC236}">
                    <a16:creationId xmlns:a16="http://schemas.microsoft.com/office/drawing/2014/main" id="{B6D4932D-EA3B-41D1-A346-B212B99BD10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44" name="Group 643">
              <a:extLst>
                <a:ext uri="{FF2B5EF4-FFF2-40B4-BE49-F238E27FC236}">
                  <a16:creationId xmlns:a16="http://schemas.microsoft.com/office/drawing/2014/main" id="{5576B165-1B8B-47F4-8898-7DC20E5B36BB}"/>
                </a:ext>
              </a:extLst>
            </p:cNvPr>
            <p:cNvGrpSpPr/>
            <p:nvPr/>
          </p:nvGrpSpPr>
          <p:grpSpPr>
            <a:xfrm>
              <a:off x="2099682" y="2278458"/>
              <a:ext cx="70461" cy="72000"/>
              <a:chOff x="5800094" y="2078182"/>
              <a:chExt cx="70461" cy="72000"/>
            </a:xfrm>
          </p:grpSpPr>
          <p:cxnSp>
            <p:nvCxnSpPr>
              <p:cNvPr id="645" name="Straight Connector 644">
                <a:extLst>
                  <a:ext uri="{FF2B5EF4-FFF2-40B4-BE49-F238E27FC236}">
                    <a16:creationId xmlns:a16="http://schemas.microsoft.com/office/drawing/2014/main" id="{45211D49-6108-4B6D-9433-972B222F2D3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46" name="Straight Connector 645">
                <a:extLst>
                  <a:ext uri="{FF2B5EF4-FFF2-40B4-BE49-F238E27FC236}">
                    <a16:creationId xmlns:a16="http://schemas.microsoft.com/office/drawing/2014/main" id="{15B8F779-C2AD-4D54-96AA-C4FF5E875D7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47" name="Group 646">
              <a:extLst>
                <a:ext uri="{FF2B5EF4-FFF2-40B4-BE49-F238E27FC236}">
                  <a16:creationId xmlns:a16="http://schemas.microsoft.com/office/drawing/2014/main" id="{57DF4965-FB41-4A08-97FF-D6D9E8BE6313}"/>
                </a:ext>
              </a:extLst>
            </p:cNvPr>
            <p:cNvGrpSpPr/>
            <p:nvPr/>
          </p:nvGrpSpPr>
          <p:grpSpPr>
            <a:xfrm>
              <a:off x="2044929" y="2259974"/>
              <a:ext cx="70461" cy="72000"/>
              <a:chOff x="5800094" y="2078182"/>
              <a:chExt cx="70461" cy="72000"/>
            </a:xfrm>
          </p:grpSpPr>
          <p:cxnSp>
            <p:nvCxnSpPr>
              <p:cNvPr id="648" name="Straight Connector 647">
                <a:extLst>
                  <a:ext uri="{FF2B5EF4-FFF2-40B4-BE49-F238E27FC236}">
                    <a16:creationId xmlns:a16="http://schemas.microsoft.com/office/drawing/2014/main" id="{1E02B6C9-1D55-4539-A483-6B128F1D41F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49" name="Straight Connector 648">
                <a:extLst>
                  <a:ext uri="{FF2B5EF4-FFF2-40B4-BE49-F238E27FC236}">
                    <a16:creationId xmlns:a16="http://schemas.microsoft.com/office/drawing/2014/main" id="{84F0C77D-79E3-492D-8BC6-0F0D083BC00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50" name="Group 649">
              <a:extLst>
                <a:ext uri="{FF2B5EF4-FFF2-40B4-BE49-F238E27FC236}">
                  <a16:creationId xmlns:a16="http://schemas.microsoft.com/office/drawing/2014/main" id="{D089A0EE-0E94-4D38-8A82-077D1B1EA777}"/>
                </a:ext>
              </a:extLst>
            </p:cNvPr>
            <p:cNvGrpSpPr/>
            <p:nvPr/>
          </p:nvGrpSpPr>
          <p:grpSpPr>
            <a:xfrm>
              <a:off x="2044930" y="2230041"/>
              <a:ext cx="70461" cy="72000"/>
              <a:chOff x="5800094" y="2078182"/>
              <a:chExt cx="70461" cy="72000"/>
            </a:xfrm>
          </p:grpSpPr>
          <p:cxnSp>
            <p:nvCxnSpPr>
              <p:cNvPr id="651" name="Straight Connector 650">
                <a:extLst>
                  <a:ext uri="{FF2B5EF4-FFF2-40B4-BE49-F238E27FC236}">
                    <a16:creationId xmlns:a16="http://schemas.microsoft.com/office/drawing/2014/main" id="{3CBE45DC-FBD1-4029-99A3-E5904754784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52" name="Straight Connector 651">
                <a:extLst>
                  <a:ext uri="{FF2B5EF4-FFF2-40B4-BE49-F238E27FC236}">
                    <a16:creationId xmlns:a16="http://schemas.microsoft.com/office/drawing/2014/main" id="{7A7F53D3-29F6-4EB8-A823-6F75EA34BC6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53" name="Group 652">
              <a:extLst>
                <a:ext uri="{FF2B5EF4-FFF2-40B4-BE49-F238E27FC236}">
                  <a16:creationId xmlns:a16="http://schemas.microsoft.com/office/drawing/2014/main" id="{7C44D001-CB81-4E9C-8844-AB06F2A915D6}"/>
                </a:ext>
              </a:extLst>
            </p:cNvPr>
            <p:cNvGrpSpPr/>
            <p:nvPr/>
          </p:nvGrpSpPr>
          <p:grpSpPr>
            <a:xfrm>
              <a:off x="2036973" y="2212427"/>
              <a:ext cx="70461" cy="72000"/>
              <a:chOff x="5800094" y="2078182"/>
              <a:chExt cx="70461" cy="72000"/>
            </a:xfrm>
          </p:grpSpPr>
          <p:cxnSp>
            <p:nvCxnSpPr>
              <p:cNvPr id="654" name="Straight Connector 653">
                <a:extLst>
                  <a:ext uri="{FF2B5EF4-FFF2-40B4-BE49-F238E27FC236}">
                    <a16:creationId xmlns:a16="http://schemas.microsoft.com/office/drawing/2014/main" id="{4F0510CF-1127-4DC9-A55F-59D7A728627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55" name="Straight Connector 654">
                <a:extLst>
                  <a:ext uri="{FF2B5EF4-FFF2-40B4-BE49-F238E27FC236}">
                    <a16:creationId xmlns:a16="http://schemas.microsoft.com/office/drawing/2014/main" id="{00883301-0FAD-483A-BEC9-A8B239D98F3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56" name="Group 655">
              <a:extLst>
                <a:ext uri="{FF2B5EF4-FFF2-40B4-BE49-F238E27FC236}">
                  <a16:creationId xmlns:a16="http://schemas.microsoft.com/office/drawing/2014/main" id="{1CD61662-5D72-43F7-84C7-0B5EBE832281}"/>
                </a:ext>
              </a:extLst>
            </p:cNvPr>
            <p:cNvGrpSpPr/>
            <p:nvPr/>
          </p:nvGrpSpPr>
          <p:grpSpPr>
            <a:xfrm>
              <a:off x="2037218" y="2191492"/>
              <a:ext cx="70461" cy="72000"/>
              <a:chOff x="5800094" y="2078182"/>
              <a:chExt cx="70461" cy="72000"/>
            </a:xfrm>
          </p:grpSpPr>
          <p:cxnSp>
            <p:nvCxnSpPr>
              <p:cNvPr id="657" name="Straight Connector 656">
                <a:extLst>
                  <a:ext uri="{FF2B5EF4-FFF2-40B4-BE49-F238E27FC236}">
                    <a16:creationId xmlns:a16="http://schemas.microsoft.com/office/drawing/2014/main" id="{765C7C83-00E1-437C-9C6E-43C3A3138AE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58" name="Straight Connector 657">
                <a:extLst>
                  <a:ext uri="{FF2B5EF4-FFF2-40B4-BE49-F238E27FC236}">
                    <a16:creationId xmlns:a16="http://schemas.microsoft.com/office/drawing/2014/main" id="{CA221848-384D-419D-BD03-8CB69FB631D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59" name="Group 658">
              <a:extLst>
                <a:ext uri="{FF2B5EF4-FFF2-40B4-BE49-F238E27FC236}">
                  <a16:creationId xmlns:a16="http://schemas.microsoft.com/office/drawing/2014/main" id="{CE68B810-07D7-4A7D-AF87-777101802F66}"/>
                </a:ext>
              </a:extLst>
            </p:cNvPr>
            <p:cNvGrpSpPr/>
            <p:nvPr/>
          </p:nvGrpSpPr>
          <p:grpSpPr>
            <a:xfrm>
              <a:off x="2018458" y="2179524"/>
              <a:ext cx="70461" cy="72000"/>
              <a:chOff x="5800094" y="2078182"/>
              <a:chExt cx="70461" cy="72000"/>
            </a:xfrm>
          </p:grpSpPr>
          <p:cxnSp>
            <p:nvCxnSpPr>
              <p:cNvPr id="660" name="Straight Connector 659">
                <a:extLst>
                  <a:ext uri="{FF2B5EF4-FFF2-40B4-BE49-F238E27FC236}">
                    <a16:creationId xmlns:a16="http://schemas.microsoft.com/office/drawing/2014/main" id="{36D4D80A-D18F-4347-BC5B-46BD1CC3BB0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61" name="Straight Connector 660">
                <a:extLst>
                  <a:ext uri="{FF2B5EF4-FFF2-40B4-BE49-F238E27FC236}">
                    <a16:creationId xmlns:a16="http://schemas.microsoft.com/office/drawing/2014/main" id="{56D3ECFC-B6CB-4D5A-B328-87C07ED3993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62" name="Group 661">
              <a:extLst>
                <a:ext uri="{FF2B5EF4-FFF2-40B4-BE49-F238E27FC236}">
                  <a16:creationId xmlns:a16="http://schemas.microsoft.com/office/drawing/2014/main" id="{09DB6590-3AAA-4F0B-84BC-3D0CCE4596EC}"/>
                </a:ext>
              </a:extLst>
            </p:cNvPr>
            <p:cNvGrpSpPr/>
            <p:nvPr/>
          </p:nvGrpSpPr>
          <p:grpSpPr>
            <a:xfrm>
              <a:off x="1995238" y="2166976"/>
              <a:ext cx="70461" cy="72000"/>
              <a:chOff x="5800094" y="2078182"/>
              <a:chExt cx="70461" cy="72000"/>
            </a:xfrm>
          </p:grpSpPr>
          <p:cxnSp>
            <p:nvCxnSpPr>
              <p:cNvPr id="663" name="Straight Connector 662">
                <a:extLst>
                  <a:ext uri="{FF2B5EF4-FFF2-40B4-BE49-F238E27FC236}">
                    <a16:creationId xmlns:a16="http://schemas.microsoft.com/office/drawing/2014/main" id="{54BD9D22-14FC-4199-99B7-21C80D89823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64" name="Straight Connector 663">
                <a:extLst>
                  <a:ext uri="{FF2B5EF4-FFF2-40B4-BE49-F238E27FC236}">
                    <a16:creationId xmlns:a16="http://schemas.microsoft.com/office/drawing/2014/main" id="{24B5D6F4-7E50-4ED3-B775-1F76BBBCC57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65" name="Group 664">
              <a:extLst>
                <a:ext uri="{FF2B5EF4-FFF2-40B4-BE49-F238E27FC236}">
                  <a16:creationId xmlns:a16="http://schemas.microsoft.com/office/drawing/2014/main" id="{71EDB133-4CD9-4080-B17D-A46CC733946B}"/>
                </a:ext>
              </a:extLst>
            </p:cNvPr>
            <p:cNvGrpSpPr/>
            <p:nvPr/>
          </p:nvGrpSpPr>
          <p:grpSpPr>
            <a:xfrm>
              <a:off x="1973695" y="2162518"/>
              <a:ext cx="70461" cy="72000"/>
              <a:chOff x="5800094" y="2078182"/>
              <a:chExt cx="70461" cy="72000"/>
            </a:xfrm>
          </p:grpSpPr>
          <p:cxnSp>
            <p:nvCxnSpPr>
              <p:cNvPr id="666" name="Straight Connector 665">
                <a:extLst>
                  <a:ext uri="{FF2B5EF4-FFF2-40B4-BE49-F238E27FC236}">
                    <a16:creationId xmlns:a16="http://schemas.microsoft.com/office/drawing/2014/main" id="{6D502074-658C-42A3-99C4-F6DB579B9EA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67" name="Straight Connector 666">
                <a:extLst>
                  <a:ext uri="{FF2B5EF4-FFF2-40B4-BE49-F238E27FC236}">
                    <a16:creationId xmlns:a16="http://schemas.microsoft.com/office/drawing/2014/main" id="{EC70F627-307A-4CD2-B0A3-B5444617869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68" name="Group 667">
              <a:extLst>
                <a:ext uri="{FF2B5EF4-FFF2-40B4-BE49-F238E27FC236}">
                  <a16:creationId xmlns:a16="http://schemas.microsoft.com/office/drawing/2014/main" id="{1A74BBE7-6D4F-4433-95D5-2E0218649413}"/>
                </a:ext>
              </a:extLst>
            </p:cNvPr>
            <p:cNvGrpSpPr/>
            <p:nvPr/>
          </p:nvGrpSpPr>
          <p:grpSpPr>
            <a:xfrm>
              <a:off x="1954348" y="2161358"/>
              <a:ext cx="70461" cy="72000"/>
              <a:chOff x="5800094" y="2078182"/>
              <a:chExt cx="70461" cy="72000"/>
            </a:xfrm>
          </p:grpSpPr>
          <p:cxnSp>
            <p:nvCxnSpPr>
              <p:cNvPr id="669" name="Straight Connector 668">
                <a:extLst>
                  <a:ext uri="{FF2B5EF4-FFF2-40B4-BE49-F238E27FC236}">
                    <a16:creationId xmlns:a16="http://schemas.microsoft.com/office/drawing/2014/main" id="{B0882A0A-C508-4D11-8AE1-221F6AB8670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70" name="Straight Connector 669">
                <a:extLst>
                  <a:ext uri="{FF2B5EF4-FFF2-40B4-BE49-F238E27FC236}">
                    <a16:creationId xmlns:a16="http://schemas.microsoft.com/office/drawing/2014/main" id="{3A14206E-9D3F-46AF-91BA-F37CE211294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71" name="Group 670">
              <a:extLst>
                <a:ext uri="{FF2B5EF4-FFF2-40B4-BE49-F238E27FC236}">
                  <a16:creationId xmlns:a16="http://schemas.microsoft.com/office/drawing/2014/main" id="{CAD7A6DD-034C-47DE-9D04-2D4C3B72FB6F}"/>
                </a:ext>
              </a:extLst>
            </p:cNvPr>
            <p:cNvGrpSpPr/>
            <p:nvPr/>
          </p:nvGrpSpPr>
          <p:grpSpPr>
            <a:xfrm>
              <a:off x="1936738" y="2156790"/>
              <a:ext cx="70461" cy="72000"/>
              <a:chOff x="5800094" y="2078182"/>
              <a:chExt cx="70461" cy="72000"/>
            </a:xfrm>
          </p:grpSpPr>
          <p:cxnSp>
            <p:nvCxnSpPr>
              <p:cNvPr id="672" name="Straight Connector 671">
                <a:extLst>
                  <a:ext uri="{FF2B5EF4-FFF2-40B4-BE49-F238E27FC236}">
                    <a16:creationId xmlns:a16="http://schemas.microsoft.com/office/drawing/2014/main" id="{63626F6C-FA66-4900-B341-7077BFCE245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73" name="Straight Connector 672">
                <a:extLst>
                  <a:ext uri="{FF2B5EF4-FFF2-40B4-BE49-F238E27FC236}">
                    <a16:creationId xmlns:a16="http://schemas.microsoft.com/office/drawing/2014/main" id="{C284B57A-5353-44EA-872C-984A1A1EB70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74" name="Group 673">
              <a:extLst>
                <a:ext uri="{FF2B5EF4-FFF2-40B4-BE49-F238E27FC236}">
                  <a16:creationId xmlns:a16="http://schemas.microsoft.com/office/drawing/2014/main" id="{A703DB9F-5F52-41CC-A2DD-F5B5A4BCE65C}"/>
                </a:ext>
              </a:extLst>
            </p:cNvPr>
            <p:cNvGrpSpPr/>
            <p:nvPr/>
          </p:nvGrpSpPr>
          <p:grpSpPr>
            <a:xfrm>
              <a:off x="1914749" y="2128448"/>
              <a:ext cx="70461" cy="72000"/>
              <a:chOff x="5800094" y="2078182"/>
              <a:chExt cx="70461" cy="72000"/>
            </a:xfrm>
          </p:grpSpPr>
          <p:cxnSp>
            <p:nvCxnSpPr>
              <p:cNvPr id="675" name="Straight Connector 674">
                <a:extLst>
                  <a:ext uri="{FF2B5EF4-FFF2-40B4-BE49-F238E27FC236}">
                    <a16:creationId xmlns:a16="http://schemas.microsoft.com/office/drawing/2014/main" id="{87C83BB9-5CEA-4B06-9C33-D608D249236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76" name="Straight Connector 675">
                <a:extLst>
                  <a:ext uri="{FF2B5EF4-FFF2-40B4-BE49-F238E27FC236}">
                    <a16:creationId xmlns:a16="http://schemas.microsoft.com/office/drawing/2014/main" id="{5955D888-1E59-4977-A959-6B5D29E9CD6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77" name="Group 676">
              <a:extLst>
                <a:ext uri="{FF2B5EF4-FFF2-40B4-BE49-F238E27FC236}">
                  <a16:creationId xmlns:a16="http://schemas.microsoft.com/office/drawing/2014/main" id="{EB4EFCE3-90EE-4F4F-91B4-4767290B66DA}"/>
                </a:ext>
              </a:extLst>
            </p:cNvPr>
            <p:cNvGrpSpPr/>
            <p:nvPr/>
          </p:nvGrpSpPr>
          <p:grpSpPr>
            <a:xfrm>
              <a:off x="1902142" y="2106845"/>
              <a:ext cx="70461" cy="72000"/>
              <a:chOff x="5800094" y="2078182"/>
              <a:chExt cx="70461" cy="72000"/>
            </a:xfrm>
          </p:grpSpPr>
          <p:cxnSp>
            <p:nvCxnSpPr>
              <p:cNvPr id="678" name="Straight Connector 677">
                <a:extLst>
                  <a:ext uri="{FF2B5EF4-FFF2-40B4-BE49-F238E27FC236}">
                    <a16:creationId xmlns:a16="http://schemas.microsoft.com/office/drawing/2014/main" id="{96B0EA99-F576-44B5-8D78-A66813B7FC0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79" name="Straight Connector 678">
                <a:extLst>
                  <a:ext uri="{FF2B5EF4-FFF2-40B4-BE49-F238E27FC236}">
                    <a16:creationId xmlns:a16="http://schemas.microsoft.com/office/drawing/2014/main" id="{D843611D-41E6-4478-AF51-E4C17D7873F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80" name="Group 679">
              <a:extLst>
                <a:ext uri="{FF2B5EF4-FFF2-40B4-BE49-F238E27FC236}">
                  <a16:creationId xmlns:a16="http://schemas.microsoft.com/office/drawing/2014/main" id="{45246E4D-914F-43AB-B54A-2422AC67FCF4}"/>
                </a:ext>
              </a:extLst>
            </p:cNvPr>
            <p:cNvGrpSpPr/>
            <p:nvPr/>
          </p:nvGrpSpPr>
          <p:grpSpPr>
            <a:xfrm>
              <a:off x="1882943" y="2105084"/>
              <a:ext cx="70461" cy="72000"/>
              <a:chOff x="5800094" y="2078182"/>
              <a:chExt cx="70461" cy="72000"/>
            </a:xfrm>
          </p:grpSpPr>
          <p:cxnSp>
            <p:nvCxnSpPr>
              <p:cNvPr id="681" name="Straight Connector 680">
                <a:extLst>
                  <a:ext uri="{FF2B5EF4-FFF2-40B4-BE49-F238E27FC236}">
                    <a16:creationId xmlns:a16="http://schemas.microsoft.com/office/drawing/2014/main" id="{59B97A1C-E50A-4EB6-B28A-7523FFC066B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2" name="Straight Connector 681">
                <a:extLst>
                  <a:ext uri="{FF2B5EF4-FFF2-40B4-BE49-F238E27FC236}">
                    <a16:creationId xmlns:a16="http://schemas.microsoft.com/office/drawing/2014/main" id="{3F831642-E0AA-4C11-B90B-8B63BEE5154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83" name="Group 682">
              <a:extLst>
                <a:ext uri="{FF2B5EF4-FFF2-40B4-BE49-F238E27FC236}">
                  <a16:creationId xmlns:a16="http://schemas.microsoft.com/office/drawing/2014/main" id="{7F55EAA1-6197-45F1-A7BF-AFE30FF7EF2B}"/>
                </a:ext>
              </a:extLst>
            </p:cNvPr>
            <p:cNvGrpSpPr/>
            <p:nvPr/>
          </p:nvGrpSpPr>
          <p:grpSpPr>
            <a:xfrm>
              <a:off x="1863252" y="2104998"/>
              <a:ext cx="70461" cy="72000"/>
              <a:chOff x="5800094" y="2078182"/>
              <a:chExt cx="70461" cy="72000"/>
            </a:xfrm>
          </p:grpSpPr>
          <p:cxnSp>
            <p:nvCxnSpPr>
              <p:cNvPr id="684" name="Straight Connector 683">
                <a:extLst>
                  <a:ext uri="{FF2B5EF4-FFF2-40B4-BE49-F238E27FC236}">
                    <a16:creationId xmlns:a16="http://schemas.microsoft.com/office/drawing/2014/main" id="{84EC2F18-338D-4BBE-AC0E-E1F713F0F02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5" name="Straight Connector 684">
                <a:extLst>
                  <a:ext uri="{FF2B5EF4-FFF2-40B4-BE49-F238E27FC236}">
                    <a16:creationId xmlns:a16="http://schemas.microsoft.com/office/drawing/2014/main" id="{E917F7EE-C1A5-446E-97CB-8729285E0FD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686" name="Group 685">
              <a:extLst>
                <a:ext uri="{FF2B5EF4-FFF2-40B4-BE49-F238E27FC236}">
                  <a16:creationId xmlns:a16="http://schemas.microsoft.com/office/drawing/2014/main" id="{9F957F1C-4CDF-41D2-AD0E-D5EABC682F34}"/>
                </a:ext>
              </a:extLst>
            </p:cNvPr>
            <p:cNvGrpSpPr/>
            <p:nvPr/>
          </p:nvGrpSpPr>
          <p:grpSpPr>
            <a:xfrm>
              <a:off x="1844156" y="2104998"/>
              <a:ext cx="70461" cy="72000"/>
              <a:chOff x="5800094" y="2078182"/>
              <a:chExt cx="70461" cy="72000"/>
            </a:xfrm>
          </p:grpSpPr>
          <p:cxnSp>
            <p:nvCxnSpPr>
              <p:cNvPr id="687" name="Straight Connector 686">
                <a:extLst>
                  <a:ext uri="{FF2B5EF4-FFF2-40B4-BE49-F238E27FC236}">
                    <a16:creationId xmlns:a16="http://schemas.microsoft.com/office/drawing/2014/main" id="{6A7D1736-6D73-4A8F-9C54-830C7DC1181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8" name="Straight Connector 687">
                <a:extLst>
                  <a:ext uri="{FF2B5EF4-FFF2-40B4-BE49-F238E27FC236}">
                    <a16:creationId xmlns:a16="http://schemas.microsoft.com/office/drawing/2014/main" id="{1872B762-B3DF-4B12-A447-DA4CC2881A1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1043" name="Group 1042">
            <a:extLst>
              <a:ext uri="{FF2B5EF4-FFF2-40B4-BE49-F238E27FC236}">
                <a16:creationId xmlns:a16="http://schemas.microsoft.com/office/drawing/2014/main" id="{875DED87-F53D-4756-BBCF-8D2FDDF28EB0}"/>
              </a:ext>
            </a:extLst>
          </p:cNvPr>
          <p:cNvGrpSpPr/>
          <p:nvPr/>
        </p:nvGrpSpPr>
        <p:grpSpPr>
          <a:xfrm>
            <a:off x="3055065" y="1912892"/>
            <a:ext cx="4060418" cy="2366781"/>
            <a:chOff x="1830092" y="2210042"/>
            <a:chExt cx="5413890" cy="3155708"/>
          </a:xfrm>
        </p:grpSpPr>
        <p:grpSp>
          <p:nvGrpSpPr>
            <p:cNvPr id="1044" name="Group 1043">
              <a:extLst>
                <a:ext uri="{FF2B5EF4-FFF2-40B4-BE49-F238E27FC236}">
                  <a16:creationId xmlns:a16="http://schemas.microsoft.com/office/drawing/2014/main" id="{DD4356A1-3540-403E-9DB4-2F7D2B84E934}"/>
                </a:ext>
              </a:extLst>
            </p:cNvPr>
            <p:cNvGrpSpPr/>
            <p:nvPr/>
          </p:nvGrpSpPr>
          <p:grpSpPr>
            <a:xfrm>
              <a:off x="7173521" y="5293750"/>
              <a:ext cx="70461" cy="72000"/>
              <a:chOff x="5800094" y="2078182"/>
              <a:chExt cx="70461" cy="72000"/>
            </a:xfrm>
          </p:grpSpPr>
          <p:cxnSp>
            <p:nvCxnSpPr>
              <p:cNvPr id="1222" name="Straight Connector 1221">
                <a:extLst>
                  <a:ext uri="{FF2B5EF4-FFF2-40B4-BE49-F238E27FC236}">
                    <a16:creationId xmlns:a16="http://schemas.microsoft.com/office/drawing/2014/main" id="{AC220832-3A06-4982-A8E9-543F4EE755F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23" name="Straight Connector 1222">
                <a:extLst>
                  <a:ext uri="{FF2B5EF4-FFF2-40B4-BE49-F238E27FC236}">
                    <a16:creationId xmlns:a16="http://schemas.microsoft.com/office/drawing/2014/main" id="{FA67F146-223A-440D-946C-7C13D447A96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45" name="Group 1044">
              <a:extLst>
                <a:ext uri="{FF2B5EF4-FFF2-40B4-BE49-F238E27FC236}">
                  <a16:creationId xmlns:a16="http://schemas.microsoft.com/office/drawing/2014/main" id="{5EACA396-041D-43B4-B33C-520F3A453F83}"/>
                </a:ext>
              </a:extLst>
            </p:cNvPr>
            <p:cNvGrpSpPr/>
            <p:nvPr/>
          </p:nvGrpSpPr>
          <p:grpSpPr>
            <a:xfrm>
              <a:off x="6799449" y="5293750"/>
              <a:ext cx="70461" cy="72000"/>
              <a:chOff x="5800094" y="2078182"/>
              <a:chExt cx="70461" cy="72000"/>
            </a:xfrm>
          </p:grpSpPr>
          <p:cxnSp>
            <p:nvCxnSpPr>
              <p:cNvPr id="1220" name="Straight Connector 1219">
                <a:extLst>
                  <a:ext uri="{FF2B5EF4-FFF2-40B4-BE49-F238E27FC236}">
                    <a16:creationId xmlns:a16="http://schemas.microsoft.com/office/drawing/2014/main" id="{3FDE6317-74E5-466E-A865-03BD1D1FAC2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21" name="Straight Connector 1220">
                <a:extLst>
                  <a:ext uri="{FF2B5EF4-FFF2-40B4-BE49-F238E27FC236}">
                    <a16:creationId xmlns:a16="http://schemas.microsoft.com/office/drawing/2014/main" id="{CB5E88D8-041F-4429-8EDC-FF44CF53C43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46" name="Group 1045">
              <a:extLst>
                <a:ext uri="{FF2B5EF4-FFF2-40B4-BE49-F238E27FC236}">
                  <a16:creationId xmlns:a16="http://schemas.microsoft.com/office/drawing/2014/main" id="{CFEAB831-49FF-4107-8FF1-39F39E0430BC}"/>
                </a:ext>
              </a:extLst>
            </p:cNvPr>
            <p:cNvGrpSpPr/>
            <p:nvPr/>
          </p:nvGrpSpPr>
          <p:grpSpPr>
            <a:xfrm>
              <a:off x="6446669" y="5205126"/>
              <a:ext cx="70461" cy="72000"/>
              <a:chOff x="5800094" y="2078182"/>
              <a:chExt cx="70461" cy="72000"/>
            </a:xfrm>
          </p:grpSpPr>
          <p:cxnSp>
            <p:nvCxnSpPr>
              <p:cNvPr id="1218" name="Straight Connector 1217">
                <a:extLst>
                  <a:ext uri="{FF2B5EF4-FFF2-40B4-BE49-F238E27FC236}">
                    <a16:creationId xmlns:a16="http://schemas.microsoft.com/office/drawing/2014/main" id="{B8341D2E-69C3-464D-8F8D-2083CCEF95D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19" name="Straight Connector 1218">
                <a:extLst>
                  <a:ext uri="{FF2B5EF4-FFF2-40B4-BE49-F238E27FC236}">
                    <a16:creationId xmlns:a16="http://schemas.microsoft.com/office/drawing/2014/main" id="{446F2A7F-6DB5-4437-B0BD-0EC2E7A5830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47" name="Group 1046">
              <a:extLst>
                <a:ext uri="{FF2B5EF4-FFF2-40B4-BE49-F238E27FC236}">
                  <a16:creationId xmlns:a16="http://schemas.microsoft.com/office/drawing/2014/main" id="{21D7B871-EA38-4280-98E3-FBEAA961C33F}"/>
                </a:ext>
              </a:extLst>
            </p:cNvPr>
            <p:cNvGrpSpPr/>
            <p:nvPr/>
          </p:nvGrpSpPr>
          <p:grpSpPr>
            <a:xfrm>
              <a:off x="6223241" y="5205126"/>
              <a:ext cx="70461" cy="72000"/>
              <a:chOff x="5800094" y="2078182"/>
              <a:chExt cx="70461" cy="72000"/>
            </a:xfrm>
          </p:grpSpPr>
          <p:cxnSp>
            <p:nvCxnSpPr>
              <p:cNvPr id="1216" name="Straight Connector 1215">
                <a:extLst>
                  <a:ext uri="{FF2B5EF4-FFF2-40B4-BE49-F238E27FC236}">
                    <a16:creationId xmlns:a16="http://schemas.microsoft.com/office/drawing/2014/main" id="{ABCE367D-75ED-4BC5-82B8-C1CB3BB33AC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17" name="Straight Connector 1216">
                <a:extLst>
                  <a:ext uri="{FF2B5EF4-FFF2-40B4-BE49-F238E27FC236}">
                    <a16:creationId xmlns:a16="http://schemas.microsoft.com/office/drawing/2014/main" id="{9D0BFA8E-F630-4A92-9600-ABF5FF96A22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48" name="Group 1047">
              <a:extLst>
                <a:ext uri="{FF2B5EF4-FFF2-40B4-BE49-F238E27FC236}">
                  <a16:creationId xmlns:a16="http://schemas.microsoft.com/office/drawing/2014/main" id="{D275998D-36AB-4BFE-9B6A-14E743C583BF}"/>
                </a:ext>
              </a:extLst>
            </p:cNvPr>
            <p:cNvGrpSpPr/>
            <p:nvPr/>
          </p:nvGrpSpPr>
          <p:grpSpPr>
            <a:xfrm>
              <a:off x="6058047" y="5205126"/>
              <a:ext cx="70461" cy="72000"/>
              <a:chOff x="5800094" y="2078182"/>
              <a:chExt cx="70461" cy="72000"/>
            </a:xfrm>
          </p:grpSpPr>
          <p:cxnSp>
            <p:nvCxnSpPr>
              <p:cNvPr id="1214" name="Straight Connector 1213">
                <a:extLst>
                  <a:ext uri="{FF2B5EF4-FFF2-40B4-BE49-F238E27FC236}">
                    <a16:creationId xmlns:a16="http://schemas.microsoft.com/office/drawing/2014/main" id="{86B30477-E95E-4F31-8831-E29BEE433BF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15" name="Straight Connector 1214">
                <a:extLst>
                  <a:ext uri="{FF2B5EF4-FFF2-40B4-BE49-F238E27FC236}">
                    <a16:creationId xmlns:a16="http://schemas.microsoft.com/office/drawing/2014/main" id="{2074AF0B-B759-4002-AB5D-89967D657A4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49" name="Group 1048">
              <a:extLst>
                <a:ext uri="{FF2B5EF4-FFF2-40B4-BE49-F238E27FC236}">
                  <a16:creationId xmlns:a16="http://schemas.microsoft.com/office/drawing/2014/main" id="{19B51338-3BB3-44F5-8715-8EC4E953E9B7}"/>
                </a:ext>
              </a:extLst>
            </p:cNvPr>
            <p:cNvGrpSpPr/>
            <p:nvPr/>
          </p:nvGrpSpPr>
          <p:grpSpPr>
            <a:xfrm>
              <a:off x="5869850" y="5205126"/>
              <a:ext cx="70461" cy="72000"/>
              <a:chOff x="5800094" y="2078182"/>
              <a:chExt cx="70461" cy="72000"/>
            </a:xfrm>
          </p:grpSpPr>
          <p:cxnSp>
            <p:nvCxnSpPr>
              <p:cNvPr id="1212" name="Straight Connector 1211">
                <a:extLst>
                  <a:ext uri="{FF2B5EF4-FFF2-40B4-BE49-F238E27FC236}">
                    <a16:creationId xmlns:a16="http://schemas.microsoft.com/office/drawing/2014/main" id="{DC20B7D3-112C-4C64-9754-54E729101C1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13" name="Straight Connector 1212">
                <a:extLst>
                  <a:ext uri="{FF2B5EF4-FFF2-40B4-BE49-F238E27FC236}">
                    <a16:creationId xmlns:a16="http://schemas.microsoft.com/office/drawing/2014/main" id="{EB256D8A-1C98-444B-A11D-D1EF3DE96DA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50" name="Group 1049">
              <a:extLst>
                <a:ext uri="{FF2B5EF4-FFF2-40B4-BE49-F238E27FC236}">
                  <a16:creationId xmlns:a16="http://schemas.microsoft.com/office/drawing/2014/main" id="{44D35C90-4D47-47DB-978B-9AC4D2A088E1}"/>
                </a:ext>
              </a:extLst>
            </p:cNvPr>
            <p:cNvGrpSpPr/>
            <p:nvPr/>
          </p:nvGrpSpPr>
          <p:grpSpPr>
            <a:xfrm>
              <a:off x="5772713" y="5139876"/>
              <a:ext cx="70461" cy="72000"/>
              <a:chOff x="5800094" y="2078182"/>
              <a:chExt cx="70461" cy="72000"/>
            </a:xfrm>
          </p:grpSpPr>
          <p:cxnSp>
            <p:nvCxnSpPr>
              <p:cNvPr id="1210" name="Straight Connector 1209">
                <a:extLst>
                  <a:ext uri="{FF2B5EF4-FFF2-40B4-BE49-F238E27FC236}">
                    <a16:creationId xmlns:a16="http://schemas.microsoft.com/office/drawing/2014/main" id="{20B6275C-CED7-428E-B28A-D1B62DFBD52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11" name="Straight Connector 1210">
                <a:extLst>
                  <a:ext uri="{FF2B5EF4-FFF2-40B4-BE49-F238E27FC236}">
                    <a16:creationId xmlns:a16="http://schemas.microsoft.com/office/drawing/2014/main" id="{9CDD8D9C-272B-4308-A55B-4212ECFD7F9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51" name="Group 1050">
              <a:extLst>
                <a:ext uri="{FF2B5EF4-FFF2-40B4-BE49-F238E27FC236}">
                  <a16:creationId xmlns:a16="http://schemas.microsoft.com/office/drawing/2014/main" id="{44DD47A7-9BA0-462E-9F72-F3C044C1DB74}"/>
                </a:ext>
              </a:extLst>
            </p:cNvPr>
            <p:cNvGrpSpPr/>
            <p:nvPr/>
          </p:nvGrpSpPr>
          <p:grpSpPr>
            <a:xfrm>
              <a:off x="5614917" y="5139876"/>
              <a:ext cx="70461" cy="72000"/>
              <a:chOff x="5800094" y="2078182"/>
              <a:chExt cx="70461" cy="72000"/>
            </a:xfrm>
          </p:grpSpPr>
          <p:cxnSp>
            <p:nvCxnSpPr>
              <p:cNvPr id="1208" name="Straight Connector 1207">
                <a:extLst>
                  <a:ext uri="{FF2B5EF4-FFF2-40B4-BE49-F238E27FC236}">
                    <a16:creationId xmlns:a16="http://schemas.microsoft.com/office/drawing/2014/main" id="{055B500E-5E23-4E49-B311-E2D506BFC6F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09" name="Straight Connector 1208">
                <a:extLst>
                  <a:ext uri="{FF2B5EF4-FFF2-40B4-BE49-F238E27FC236}">
                    <a16:creationId xmlns:a16="http://schemas.microsoft.com/office/drawing/2014/main" id="{86A1A2CB-0B1A-40A9-821C-1CCD8B68B6F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52" name="Group 1051">
              <a:extLst>
                <a:ext uri="{FF2B5EF4-FFF2-40B4-BE49-F238E27FC236}">
                  <a16:creationId xmlns:a16="http://schemas.microsoft.com/office/drawing/2014/main" id="{659815EA-104A-4459-BC6F-941BE1391A41}"/>
                </a:ext>
              </a:extLst>
            </p:cNvPr>
            <p:cNvGrpSpPr/>
            <p:nvPr/>
          </p:nvGrpSpPr>
          <p:grpSpPr>
            <a:xfrm>
              <a:off x="5390201" y="5139876"/>
              <a:ext cx="70461" cy="72000"/>
              <a:chOff x="5800094" y="2078182"/>
              <a:chExt cx="70461" cy="72000"/>
            </a:xfrm>
          </p:grpSpPr>
          <p:cxnSp>
            <p:nvCxnSpPr>
              <p:cNvPr id="1206" name="Straight Connector 1205">
                <a:extLst>
                  <a:ext uri="{FF2B5EF4-FFF2-40B4-BE49-F238E27FC236}">
                    <a16:creationId xmlns:a16="http://schemas.microsoft.com/office/drawing/2014/main" id="{ACFDA9CA-EFCB-4CE9-9CB7-423113EB889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07" name="Straight Connector 1206">
                <a:extLst>
                  <a:ext uri="{FF2B5EF4-FFF2-40B4-BE49-F238E27FC236}">
                    <a16:creationId xmlns:a16="http://schemas.microsoft.com/office/drawing/2014/main" id="{55738712-2B34-4C80-863F-044DCA08E02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53" name="Group 1052">
              <a:extLst>
                <a:ext uri="{FF2B5EF4-FFF2-40B4-BE49-F238E27FC236}">
                  <a16:creationId xmlns:a16="http://schemas.microsoft.com/office/drawing/2014/main" id="{270272AF-76D9-4E31-8273-B4469FB06014}"/>
                </a:ext>
              </a:extLst>
            </p:cNvPr>
            <p:cNvGrpSpPr/>
            <p:nvPr/>
          </p:nvGrpSpPr>
          <p:grpSpPr>
            <a:xfrm>
              <a:off x="5305610" y="5103876"/>
              <a:ext cx="70461" cy="72000"/>
              <a:chOff x="5800094" y="2078182"/>
              <a:chExt cx="70461" cy="72000"/>
            </a:xfrm>
          </p:grpSpPr>
          <p:cxnSp>
            <p:nvCxnSpPr>
              <p:cNvPr id="1204" name="Straight Connector 1203">
                <a:extLst>
                  <a:ext uri="{FF2B5EF4-FFF2-40B4-BE49-F238E27FC236}">
                    <a16:creationId xmlns:a16="http://schemas.microsoft.com/office/drawing/2014/main" id="{F820358A-E050-4F81-908A-06EEA4E9874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05" name="Straight Connector 1204">
                <a:extLst>
                  <a:ext uri="{FF2B5EF4-FFF2-40B4-BE49-F238E27FC236}">
                    <a16:creationId xmlns:a16="http://schemas.microsoft.com/office/drawing/2014/main" id="{A10F527F-20B0-47ED-823E-8DAE1C8F8B3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54" name="Group 1053">
              <a:extLst>
                <a:ext uri="{FF2B5EF4-FFF2-40B4-BE49-F238E27FC236}">
                  <a16:creationId xmlns:a16="http://schemas.microsoft.com/office/drawing/2014/main" id="{6D8D9CE7-041A-4DF9-BA14-6093A96A57BA}"/>
                </a:ext>
              </a:extLst>
            </p:cNvPr>
            <p:cNvGrpSpPr/>
            <p:nvPr/>
          </p:nvGrpSpPr>
          <p:grpSpPr>
            <a:xfrm>
              <a:off x="5255521" y="5097743"/>
              <a:ext cx="70461" cy="72000"/>
              <a:chOff x="5800094" y="2078182"/>
              <a:chExt cx="70461" cy="72000"/>
            </a:xfrm>
          </p:grpSpPr>
          <p:cxnSp>
            <p:nvCxnSpPr>
              <p:cNvPr id="1202" name="Straight Connector 1201">
                <a:extLst>
                  <a:ext uri="{FF2B5EF4-FFF2-40B4-BE49-F238E27FC236}">
                    <a16:creationId xmlns:a16="http://schemas.microsoft.com/office/drawing/2014/main" id="{E9D06375-3C52-4078-B1EE-39E3F560D8F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03" name="Straight Connector 1202">
                <a:extLst>
                  <a:ext uri="{FF2B5EF4-FFF2-40B4-BE49-F238E27FC236}">
                    <a16:creationId xmlns:a16="http://schemas.microsoft.com/office/drawing/2014/main" id="{75706AC1-D4D7-4AAF-85A6-FDDFEDBC24B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55" name="Group 1054">
              <a:extLst>
                <a:ext uri="{FF2B5EF4-FFF2-40B4-BE49-F238E27FC236}">
                  <a16:creationId xmlns:a16="http://schemas.microsoft.com/office/drawing/2014/main" id="{182FA941-34B3-4C93-AAE6-69D0B374216B}"/>
                </a:ext>
              </a:extLst>
            </p:cNvPr>
            <p:cNvGrpSpPr/>
            <p:nvPr/>
          </p:nvGrpSpPr>
          <p:grpSpPr>
            <a:xfrm>
              <a:off x="5114835" y="5097743"/>
              <a:ext cx="70461" cy="72000"/>
              <a:chOff x="5800094" y="2078182"/>
              <a:chExt cx="70461" cy="72000"/>
            </a:xfrm>
          </p:grpSpPr>
          <p:cxnSp>
            <p:nvCxnSpPr>
              <p:cNvPr id="1200" name="Straight Connector 1199">
                <a:extLst>
                  <a:ext uri="{FF2B5EF4-FFF2-40B4-BE49-F238E27FC236}">
                    <a16:creationId xmlns:a16="http://schemas.microsoft.com/office/drawing/2014/main" id="{A8CD5CA5-3443-4C65-8974-829765F73A3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201" name="Straight Connector 1200">
                <a:extLst>
                  <a:ext uri="{FF2B5EF4-FFF2-40B4-BE49-F238E27FC236}">
                    <a16:creationId xmlns:a16="http://schemas.microsoft.com/office/drawing/2014/main" id="{1A347707-BB0A-4DEC-BB81-424C0AA61C3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56" name="Group 1055">
              <a:extLst>
                <a:ext uri="{FF2B5EF4-FFF2-40B4-BE49-F238E27FC236}">
                  <a16:creationId xmlns:a16="http://schemas.microsoft.com/office/drawing/2014/main" id="{6FC37216-3608-420A-8285-A9D65F4B46FC}"/>
                </a:ext>
              </a:extLst>
            </p:cNvPr>
            <p:cNvGrpSpPr/>
            <p:nvPr/>
          </p:nvGrpSpPr>
          <p:grpSpPr>
            <a:xfrm>
              <a:off x="5072983" y="5097743"/>
              <a:ext cx="70461" cy="72000"/>
              <a:chOff x="5800094" y="2078182"/>
              <a:chExt cx="70461" cy="72000"/>
            </a:xfrm>
          </p:grpSpPr>
          <p:cxnSp>
            <p:nvCxnSpPr>
              <p:cNvPr id="1198" name="Straight Connector 1197">
                <a:extLst>
                  <a:ext uri="{FF2B5EF4-FFF2-40B4-BE49-F238E27FC236}">
                    <a16:creationId xmlns:a16="http://schemas.microsoft.com/office/drawing/2014/main" id="{5C24F052-CBC3-43A2-B165-0BDC2209891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99" name="Straight Connector 1198">
                <a:extLst>
                  <a:ext uri="{FF2B5EF4-FFF2-40B4-BE49-F238E27FC236}">
                    <a16:creationId xmlns:a16="http://schemas.microsoft.com/office/drawing/2014/main" id="{FC57F1BA-1558-4AE9-ABF2-CA615056570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57" name="Group 1056">
              <a:extLst>
                <a:ext uri="{FF2B5EF4-FFF2-40B4-BE49-F238E27FC236}">
                  <a16:creationId xmlns:a16="http://schemas.microsoft.com/office/drawing/2014/main" id="{CCD93634-654F-4A60-BC78-C484F12D712F}"/>
                </a:ext>
              </a:extLst>
            </p:cNvPr>
            <p:cNvGrpSpPr/>
            <p:nvPr/>
          </p:nvGrpSpPr>
          <p:grpSpPr>
            <a:xfrm>
              <a:off x="5029991" y="5011042"/>
              <a:ext cx="70461" cy="72000"/>
              <a:chOff x="5800094" y="2078182"/>
              <a:chExt cx="70461" cy="72000"/>
            </a:xfrm>
          </p:grpSpPr>
          <p:cxnSp>
            <p:nvCxnSpPr>
              <p:cNvPr id="1196" name="Straight Connector 1195">
                <a:extLst>
                  <a:ext uri="{FF2B5EF4-FFF2-40B4-BE49-F238E27FC236}">
                    <a16:creationId xmlns:a16="http://schemas.microsoft.com/office/drawing/2014/main" id="{BEC4CA4E-A20C-4470-8336-E37206E4E54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97" name="Straight Connector 1196">
                <a:extLst>
                  <a:ext uri="{FF2B5EF4-FFF2-40B4-BE49-F238E27FC236}">
                    <a16:creationId xmlns:a16="http://schemas.microsoft.com/office/drawing/2014/main" id="{6F4079A4-A3AA-4941-83DA-839F09B1A53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58" name="Group 1057">
              <a:extLst>
                <a:ext uri="{FF2B5EF4-FFF2-40B4-BE49-F238E27FC236}">
                  <a16:creationId xmlns:a16="http://schemas.microsoft.com/office/drawing/2014/main" id="{5B6D8AF1-2B53-45E9-995F-31C76F08E3D6}"/>
                </a:ext>
              </a:extLst>
            </p:cNvPr>
            <p:cNvGrpSpPr/>
            <p:nvPr/>
          </p:nvGrpSpPr>
          <p:grpSpPr>
            <a:xfrm>
              <a:off x="4946577" y="4998451"/>
              <a:ext cx="70461" cy="72000"/>
              <a:chOff x="5800094" y="2078182"/>
              <a:chExt cx="70461" cy="72000"/>
            </a:xfrm>
          </p:grpSpPr>
          <p:cxnSp>
            <p:nvCxnSpPr>
              <p:cNvPr id="1194" name="Straight Connector 1193">
                <a:extLst>
                  <a:ext uri="{FF2B5EF4-FFF2-40B4-BE49-F238E27FC236}">
                    <a16:creationId xmlns:a16="http://schemas.microsoft.com/office/drawing/2014/main" id="{4A3D73F7-472E-48D5-AFFA-87BD4756E1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95" name="Straight Connector 1194">
                <a:extLst>
                  <a:ext uri="{FF2B5EF4-FFF2-40B4-BE49-F238E27FC236}">
                    <a16:creationId xmlns:a16="http://schemas.microsoft.com/office/drawing/2014/main" id="{113E4FCA-063C-4523-914D-AF2FD221F48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59" name="Group 1058">
              <a:extLst>
                <a:ext uri="{FF2B5EF4-FFF2-40B4-BE49-F238E27FC236}">
                  <a16:creationId xmlns:a16="http://schemas.microsoft.com/office/drawing/2014/main" id="{5E537081-EBAE-4D3E-8A49-1DFE62C200A5}"/>
                </a:ext>
              </a:extLst>
            </p:cNvPr>
            <p:cNvGrpSpPr/>
            <p:nvPr/>
          </p:nvGrpSpPr>
          <p:grpSpPr>
            <a:xfrm>
              <a:off x="4846340" y="4994201"/>
              <a:ext cx="70461" cy="72000"/>
              <a:chOff x="5800094" y="2078182"/>
              <a:chExt cx="70461" cy="72000"/>
            </a:xfrm>
          </p:grpSpPr>
          <p:cxnSp>
            <p:nvCxnSpPr>
              <p:cNvPr id="1192" name="Straight Connector 1191">
                <a:extLst>
                  <a:ext uri="{FF2B5EF4-FFF2-40B4-BE49-F238E27FC236}">
                    <a16:creationId xmlns:a16="http://schemas.microsoft.com/office/drawing/2014/main" id="{FEA37CA8-7ED0-4A1E-83ED-6AF8D0CBF98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93" name="Straight Connector 1192">
                <a:extLst>
                  <a:ext uri="{FF2B5EF4-FFF2-40B4-BE49-F238E27FC236}">
                    <a16:creationId xmlns:a16="http://schemas.microsoft.com/office/drawing/2014/main" id="{A7B20E00-1EC1-4B95-94BB-7F12DF3A544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60" name="Group 1059">
              <a:extLst>
                <a:ext uri="{FF2B5EF4-FFF2-40B4-BE49-F238E27FC236}">
                  <a16:creationId xmlns:a16="http://schemas.microsoft.com/office/drawing/2014/main" id="{A26882E0-65B5-4E37-A0E2-F77214204515}"/>
                </a:ext>
              </a:extLst>
            </p:cNvPr>
            <p:cNvGrpSpPr/>
            <p:nvPr/>
          </p:nvGrpSpPr>
          <p:grpSpPr>
            <a:xfrm>
              <a:off x="4772468" y="4960994"/>
              <a:ext cx="70461" cy="72000"/>
              <a:chOff x="5800094" y="2078182"/>
              <a:chExt cx="70461" cy="72000"/>
            </a:xfrm>
          </p:grpSpPr>
          <p:cxnSp>
            <p:nvCxnSpPr>
              <p:cNvPr id="1190" name="Straight Connector 1189">
                <a:extLst>
                  <a:ext uri="{FF2B5EF4-FFF2-40B4-BE49-F238E27FC236}">
                    <a16:creationId xmlns:a16="http://schemas.microsoft.com/office/drawing/2014/main" id="{2C1D5E16-55DF-4DD9-9B9F-BA5ED379442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91" name="Straight Connector 1190">
                <a:extLst>
                  <a:ext uri="{FF2B5EF4-FFF2-40B4-BE49-F238E27FC236}">
                    <a16:creationId xmlns:a16="http://schemas.microsoft.com/office/drawing/2014/main" id="{3839BC42-65ED-48F4-923C-621CBF15689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61" name="Group 1060">
              <a:extLst>
                <a:ext uri="{FF2B5EF4-FFF2-40B4-BE49-F238E27FC236}">
                  <a16:creationId xmlns:a16="http://schemas.microsoft.com/office/drawing/2014/main" id="{2B9217B4-5A02-4C9F-A599-E79BFE80B1A7}"/>
                </a:ext>
              </a:extLst>
            </p:cNvPr>
            <p:cNvGrpSpPr/>
            <p:nvPr/>
          </p:nvGrpSpPr>
          <p:grpSpPr>
            <a:xfrm>
              <a:off x="4743376" y="4940413"/>
              <a:ext cx="70461" cy="72000"/>
              <a:chOff x="5800094" y="2078182"/>
              <a:chExt cx="70461" cy="72000"/>
            </a:xfrm>
          </p:grpSpPr>
          <p:cxnSp>
            <p:nvCxnSpPr>
              <p:cNvPr id="1188" name="Straight Connector 1187">
                <a:extLst>
                  <a:ext uri="{FF2B5EF4-FFF2-40B4-BE49-F238E27FC236}">
                    <a16:creationId xmlns:a16="http://schemas.microsoft.com/office/drawing/2014/main" id="{1A306AE2-9D78-4464-999F-31BE60FD1A2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9" name="Straight Connector 1188">
                <a:extLst>
                  <a:ext uri="{FF2B5EF4-FFF2-40B4-BE49-F238E27FC236}">
                    <a16:creationId xmlns:a16="http://schemas.microsoft.com/office/drawing/2014/main" id="{7EBECE67-D644-4691-A580-09A6D9518A4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62" name="Group 1061">
              <a:extLst>
                <a:ext uri="{FF2B5EF4-FFF2-40B4-BE49-F238E27FC236}">
                  <a16:creationId xmlns:a16="http://schemas.microsoft.com/office/drawing/2014/main" id="{E9749D01-203F-4E4E-97DF-45D04D901246}"/>
                </a:ext>
              </a:extLst>
            </p:cNvPr>
            <p:cNvGrpSpPr/>
            <p:nvPr/>
          </p:nvGrpSpPr>
          <p:grpSpPr>
            <a:xfrm>
              <a:off x="4672232" y="4924994"/>
              <a:ext cx="70461" cy="72000"/>
              <a:chOff x="5800094" y="2078182"/>
              <a:chExt cx="70461" cy="72000"/>
            </a:xfrm>
          </p:grpSpPr>
          <p:cxnSp>
            <p:nvCxnSpPr>
              <p:cNvPr id="1186" name="Straight Connector 1185">
                <a:extLst>
                  <a:ext uri="{FF2B5EF4-FFF2-40B4-BE49-F238E27FC236}">
                    <a16:creationId xmlns:a16="http://schemas.microsoft.com/office/drawing/2014/main" id="{2DCA6308-2E5A-43DA-8D4E-E5294E194A7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7" name="Straight Connector 1186">
                <a:extLst>
                  <a:ext uri="{FF2B5EF4-FFF2-40B4-BE49-F238E27FC236}">
                    <a16:creationId xmlns:a16="http://schemas.microsoft.com/office/drawing/2014/main" id="{6A173561-268C-4DAE-8458-35DCF74614D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63" name="Group 1062">
              <a:extLst>
                <a:ext uri="{FF2B5EF4-FFF2-40B4-BE49-F238E27FC236}">
                  <a16:creationId xmlns:a16="http://schemas.microsoft.com/office/drawing/2014/main" id="{623742F1-FB23-4AAB-B93F-DC4B8B5029CB}"/>
                </a:ext>
              </a:extLst>
            </p:cNvPr>
            <p:cNvGrpSpPr/>
            <p:nvPr/>
          </p:nvGrpSpPr>
          <p:grpSpPr>
            <a:xfrm>
              <a:off x="4593596" y="4899142"/>
              <a:ext cx="70461" cy="72000"/>
              <a:chOff x="5800094" y="2078182"/>
              <a:chExt cx="70461" cy="72000"/>
            </a:xfrm>
          </p:grpSpPr>
          <p:cxnSp>
            <p:nvCxnSpPr>
              <p:cNvPr id="1184" name="Straight Connector 1183">
                <a:extLst>
                  <a:ext uri="{FF2B5EF4-FFF2-40B4-BE49-F238E27FC236}">
                    <a16:creationId xmlns:a16="http://schemas.microsoft.com/office/drawing/2014/main" id="{0F082639-A1E6-46AC-984E-99516C9F0A4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5" name="Straight Connector 1184">
                <a:extLst>
                  <a:ext uri="{FF2B5EF4-FFF2-40B4-BE49-F238E27FC236}">
                    <a16:creationId xmlns:a16="http://schemas.microsoft.com/office/drawing/2014/main" id="{4D223233-E21D-41A9-82A1-5504AFB77C1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64" name="Group 1063">
              <a:extLst>
                <a:ext uri="{FF2B5EF4-FFF2-40B4-BE49-F238E27FC236}">
                  <a16:creationId xmlns:a16="http://schemas.microsoft.com/office/drawing/2014/main" id="{CBAA1A2B-8226-48AF-8352-8BDE8EB672CB}"/>
                </a:ext>
              </a:extLst>
            </p:cNvPr>
            <p:cNvGrpSpPr/>
            <p:nvPr/>
          </p:nvGrpSpPr>
          <p:grpSpPr>
            <a:xfrm>
              <a:off x="4519445" y="4864384"/>
              <a:ext cx="70461" cy="72000"/>
              <a:chOff x="5800094" y="2078182"/>
              <a:chExt cx="70461" cy="72000"/>
            </a:xfrm>
          </p:grpSpPr>
          <p:cxnSp>
            <p:nvCxnSpPr>
              <p:cNvPr id="1182" name="Straight Connector 1181">
                <a:extLst>
                  <a:ext uri="{FF2B5EF4-FFF2-40B4-BE49-F238E27FC236}">
                    <a16:creationId xmlns:a16="http://schemas.microsoft.com/office/drawing/2014/main" id="{A06AF7E9-8470-45FD-A5CF-CA22215C58C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3" name="Straight Connector 1182">
                <a:extLst>
                  <a:ext uri="{FF2B5EF4-FFF2-40B4-BE49-F238E27FC236}">
                    <a16:creationId xmlns:a16="http://schemas.microsoft.com/office/drawing/2014/main" id="{29C95C1E-4BBA-4B36-8B64-BB5C41F2894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65" name="Group 1064">
              <a:extLst>
                <a:ext uri="{FF2B5EF4-FFF2-40B4-BE49-F238E27FC236}">
                  <a16:creationId xmlns:a16="http://schemas.microsoft.com/office/drawing/2014/main" id="{1F699802-6FCC-4376-AA99-27E12F11326C}"/>
                </a:ext>
              </a:extLst>
            </p:cNvPr>
            <p:cNvGrpSpPr/>
            <p:nvPr/>
          </p:nvGrpSpPr>
          <p:grpSpPr>
            <a:xfrm>
              <a:off x="4470750" y="4851291"/>
              <a:ext cx="70461" cy="72000"/>
              <a:chOff x="5800094" y="2078182"/>
              <a:chExt cx="70461" cy="72000"/>
            </a:xfrm>
          </p:grpSpPr>
          <p:cxnSp>
            <p:nvCxnSpPr>
              <p:cNvPr id="1180" name="Straight Connector 1179">
                <a:extLst>
                  <a:ext uri="{FF2B5EF4-FFF2-40B4-BE49-F238E27FC236}">
                    <a16:creationId xmlns:a16="http://schemas.microsoft.com/office/drawing/2014/main" id="{52EF5334-4CEF-4338-A409-55C76BB31FB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1" name="Straight Connector 1180">
                <a:extLst>
                  <a:ext uri="{FF2B5EF4-FFF2-40B4-BE49-F238E27FC236}">
                    <a16:creationId xmlns:a16="http://schemas.microsoft.com/office/drawing/2014/main" id="{AB6D2C03-B320-4A8D-92F4-28BF9450715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66" name="Group 1065">
              <a:extLst>
                <a:ext uri="{FF2B5EF4-FFF2-40B4-BE49-F238E27FC236}">
                  <a16:creationId xmlns:a16="http://schemas.microsoft.com/office/drawing/2014/main" id="{4ED086E6-8AEC-4C03-981E-A28A4DF8E047}"/>
                </a:ext>
              </a:extLst>
            </p:cNvPr>
            <p:cNvGrpSpPr/>
            <p:nvPr/>
          </p:nvGrpSpPr>
          <p:grpSpPr>
            <a:xfrm>
              <a:off x="4276111" y="4847484"/>
              <a:ext cx="70461" cy="72000"/>
              <a:chOff x="5800094" y="2078182"/>
              <a:chExt cx="70461" cy="72000"/>
            </a:xfrm>
          </p:grpSpPr>
          <p:cxnSp>
            <p:nvCxnSpPr>
              <p:cNvPr id="1178" name="Straight Connector 1177">
                <a:extLst>
                  <a:ext uri="{FF2B5EF4-FFF2-40B4-BE49-F238E27FC236}">
                    <a16:creationId xmlns:a16="http://schemas.microsoft.com/office/drawing/2014/main" id="{530E7AC7-6DC8-4859-B64C-DC4011ACC4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79" name="Straight Connector 1178">
                <a:extLst>
                  <a:ext uri="{FF2B5EF4-FFF2-40B4-BE49-F238E27FC236}">
                    <a16:creationId xmlns:a16="http://schemas.microsoft.com/office/drawing/2014/main" id="{01304800-BC6C-4B0E-BA61-001456D21B2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67" name="Group 1066">
              <a:extLst>
                <a:ext uri="{FF2B5EF4-FFF2-40B4-BE49-F238E27FC236}">
                  <a16:creationId xmlns:a16="http://schemas.microsoft.com/office/drawing/2014/main" id="{184A28F0-EAC9-484A-9EE4-CB2ED02FF09C}"/>
                </a:ext>
              </a:extLst>
            </p:cNvPr>
            <p:cNvGrpSpPr/>
            <p:nvPr/>
          </p:nvGrpSpPr>
          <p:grpSpPr>
            <a:xfrm>
              <a:off x="4235431" y="4800347"/>
              <a:ext cx="70461" cy="72000"/>
              <a:chOff x="5800094" y="2078182"/>
              <a:chExt cx="70461" cy="72000"/>
            </a:xfrm>
          </p:grpSpPr>
          <p:cxnSp>
            <p:nvCxnSpPr>
              <p:cNvPr id="1176" name="Straight Connector 1175">
                <a:extLst>
                  <a:ext uri="{FF2B5EF4-FFF2-40B4-BE49-F238E27FC236}">
                    <a16:creationId xmlns:a16="http://schemas.microsoft.com/office/drawing/2014/main" id="{8717D697-5351-4924-8E86-F9A24C63AB3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77" name="Straight Connector 1176">
                <a:extLst>
                  <a:ext uri="{FF2B5EF4-FFF2-40B4-BE49-F238E27FC236}">
                    <a16:creationId xmlns:a16="http://schemas.microsoft.com/office/drawing/2014/main" id="{8A088648-508E-420D-B8AD-AD2E0B92567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68" name="Group 1067">
              <a:extLst>
                <a:ext uri="{FF2B5EF4-FFF2-40B4-BE49-F238E27FC236}">
                  <a16:creationId xmlns:a16="http://schemas.microsoft.com/office/drawing/2014/main" id="{2A6E4A84-F28A-480E-93A9-3151693689E5}"/>
                </a:ext>
              </a:extLst>
            </p:cNvPr>
            <p:cNvGrpSpPr/>
            <p:nvPr/>
          </p:nvGrpSpPr>
          <p:grpSpPr>
            <a:xfrm>
              <a:off x="4056608" y="4797203"/>
              <a:ext cx="70461" cy="72000"/>
              <a:chOff x="5800094" y="2078182"/>
              <a:chExt cx="70461" cy="72000"/>
            </a:xfrm>
          </p:grpSpPr>
          <p:cxnSp>
            <p:nvCxnSpPr>
              <p:cNvPr id="1174" name="Straight Connector 1173">
                <a:extLst>
                  <a:ext uri="{FF2B5EF4-FFF2-40B4-BE49-F238E27FC236}">
                    <a16:creationId xmlns:a16="http://schemas.microsoft.com/office/drawing/2014/main" id="{FD70691A-70F1-42FE-8709-BAD79D26DED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75" name="Straight Connector 1174">
                <a:extLst>
                  <a:ext uri="{FF2B5EF4-FFF2-40B4-BE49-F238E27FC236}">
                    <a16:creationId xmlns:a16="http://schemas.microsoft.com/office/drawing/2014/main" id="{84F41612-54EC-4E27-9AB8-2307368B686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69" name="Group 1068">
              <a:extLst>
                <a:ext uri="{FF2B5EF4-FFF2-40B4-BE49-F238E27FC236}">
                  <a16:creationId xmlns:a16="http://schemas.microsoft.com/office/drawing/2014/main" id="{99C7C696-7393-40D0-9D7C-DF3F5FD4C446}"/>
                </a:ext>
              </a:extLst>
            </p:cNvPr>
            <p:cNvGrpSpPr/>
            <p:nvPr/>
          </p:nvGrpSpPr>
          <p:grpSpPr>
            <a:xfrm>
              <a:off x="4014408" y="4793516"/>
              <a:ext cx="70461" cy="72000"/>
              <a:chOff x="5800094" y="2078182"/>
              <a:chExt cx="70461" cy="72000"/>
            </a:xfrm>
          </p:grpSpPr>
          <p:cxnSp>
            <p:nvCxnSpPr>
              <p:cNvPr id="1172" name="Straight Connector 1171">
                <a:extLst>
                  <a:ext uri="{FF2B5EF4-FFF2-40B4-BE49-F238E27FC236}">
                    <a16:creationId xmlns:a16="http://schemas.microsoft.com/office/drawing/2014/main" id="{480EC4DF-D9EF-4AFB-A3EF-9C368CCDAA2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73" name="Straight Connector 1172">
                <a:extLst>
                  <a:ext uri="{FF2B5EF4-FFF2-40B4-BE49-F238E27FC236}">
                    <a16:creationId xmlns:a16="http://schemas.microsoft.com/office/drawing/2014/main" id="{B9A502A4-060F-4099-8F62-5068666ED89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70" name="Group 1069">
              <a:extLst>
                <a:ext uri="{FF2B5EF4-FFF2-40B4-BE49-F238E27FC236}">
                  <a16:creationId xmlns:a16="http://schemas.microsoft.com/office/drawing/2014/main" id="{988C1F0C-99A3-4D44-92E2-9CD21AB6D658}"/>
                </a:ext>
              </a:extLst>
            </p:cNvPr>
            <p:cNvGrpSpPr/>
            <p:nvPr/>
          </p:nvGrpSpPr>
          <p:grpSpPr>
            <a:xfrm>
              <a:off x="3937450" y="4780950"/>
              <a:ext cx="70461" cy="72000"/>
              <a:chOff x="5800094" y="2078182"/>
              <a:chExt cx="70461" cy="72000"/>
            </a:xfrm>
          </p:grpSpPr>
          <p:cxnSp>
            <p:nvCxnSpPr>
              <p:cNvPr id="1170" name="Straight Connector 1169">
                <a:extLst>
                  <a:ext uri="{FF2B5EF4-FFF2-40B4-BE49-F238E27FC236}">
                    <a16:creationId xmlns:a16="http://schemas.microsoft.com/office/drawing/2014/main" id="{6F0EE5C9-191E-4C9D-84A0-4813AF10B2E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71" name="Straight Connector 1170">
                <a:extLst>
                  <a:ext uri="{FF2B5EF4-FFF2-40B4-BE49-F238E27FC236}">
                    <a16:creationId xmlns:a16="http://schemas.microsoft.com/office/drawing/2014/main" id="{8FBB2E4A-E698-47FA-AD94-55DA7C374FE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71" name="Group 1070">
              <a:extLst>
                <a:ext uri="{FF2B5EF4-FFF2-40B4-BE49-F238E27FC236}">
                  <a16:creationId xmlns:a16="http://schemas.microsoft.com/office/drawing/2014/main" id="{D67A9AED-8F13-4B92-9211-446ED32D70B4}"/>
                </a:ext>
              </a:extLst>
            </p:cNvPr>
            <p:cNvGrpSpPr/>
            <p:nvPr/>
          </p:nvGrpSpPr>
          <p:grpSpPr>
            <a:xfrm>
              <a:off x="3735245" y="4680608"/>
              <a:ext cx="70461" cy="72000"/>
              <a:chOff x="5800094" y="2078182"/>
              <a:chExt cx="70461" cy="72000"/>
            </a:xfrm>
          </p:grpSpPr>
          <p:cxnSp>
            <p:nvCxnSpPr>
              <p:cNvPr id="1168" name="Straight Connector 1167">
                <a:extLst>
                  <a:ext uri="{FF2B5EF4-FFF2-40B4-BE49-F238E27FC236}">
                    <a16:creationId xmlns:a16="http://schemas.microsoft.com/office/drawing/2014/main" id="{3F3C59B8-A4C9-4F05-B97D-55A3F91FFA3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69" name="Straight Connector 1168">
                <a:extLst>
                  <a:ext uri="{FF2B5EF4-FFF2-40B4-BE49-F238E27FC236}">
                    <a16:creationId xmlns:a16="http://schemas.microsoft.com/office/drawing/2014/main" id="{23E473B7-0DDD-43C6-906E-D278463E787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72" name="Group 1071">
              <a:extLst>
                <a:ext uri="{FF2B5EF4-FFF2-40B4-BE49-F238E27FC236}">
                  <a16:creationId xmlns:a16="http://schemas.microsoft.com/office/drawing/2014/main" id="{B9EAE637-79BE-49F1-9C26-46BE0E63D4B5}"/>
                </a:ext>
              </a:extLst>
            </p:cNvPr>
            <p:cNvGrpSpPr/>
            <p:nvPr/>
          </p:nvGrpSpPr>
          <p:grpSpPr>
            <a:xfrm>
              <a:off x="3610152" y="4592075"/>
              <a:ext cx="70461" cy="72000"/>
              <a:chOff x="5800094" y="2078182"/>
              <a:chExt cx="70461" cy="72000"/>
            </a:xfrm>
          </p:grpSpPr>
          <p:cxnSp>
            <p:nvCxnSpPr>
              <p:cNvPr id="1166" name="Straight Connector 1165">
                <a:extLst>
                  <a:ext uri="{FF2B5EF4-FFF2-40B4-BE49-F238E27FC236}">
                    <a16:creationId xmlns:a16="http://schemas.microsoft.com/office/drawing/2014/main" id="{6263520F-0AA7-46A7-8F6D-596C21611D3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67" name="Straight Connector 1166">
                <a:extLst>
                  <a:ext uri="{FF2B5EF4-FFF2-40B4-BE49-F238E27FC236}">
                    <a16:creationId xmlns:a16="http://schemas.microsoft.com/office/drawing/2014/main" id="{954C61CF-5785-421F-8965-65072CF6068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73" name="Group 1072">
              <a:extLst>
                <a:ext uri="{FF2B5EF4-FFF2-40B4-BE49-F238E27FC236}">
                  <a16:creationId xmlns:a16="http://schemas.microsoft.com/office/drawing/2014/main" id="{4A673C70-557F-4C83-84E0-97F65D54811E}"/>
                </a:ext>
              </a:extLst>
            </p:cNvPr>
            <p:cNvGrpSpPr/>
            <p:nvPr/>
          </p:nvGrpSpPr>
          <p:grpSpPr>
            <a:xfrm>
              <a:off x="3510199" y="4515017"/>
              <a:ext cx="70461" cy="72000"/>
              <a:chOff x="5800094" y="2078182"/>
              <a:chExt cx="70461" cy="72000"/>
            </a:xfrm>
          </p:grpSpPr>
          <p:cxnSp>
            <p:nvCxnSpPr>
              <p:cNvPr id="1164" name="Straight Connector 1163">
                <a:extLst>
                  <a:ext uri="{FF2B5EF4-FFF2-40B4-BE49-F238E27FC236}">
                    <a16:creationId xmlns:a16="http://schemas.microsoft.com/office/drawing/2014/main" id="{1355CE7A-D0AA-497F-9D3C-9C2823BF03E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65" name="Straight Connector 1164">
                <a:extLst>
                  <a:ext uri="{FF2B5EF4-FFF2-40B4-BE49-F238E27FC236}">
                    <a16:creationId xmlns:a16="http://schemas.microsoft.com/office/drawing/2014/main" id="{86105ABF-92E9-4CCB-83DA-442ED2AB896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74" name="Group 1073">
              <a:extLst>
                <a:ext uri="{FF2B5EF4-FFF2-40B4-BE49-F238E27FC236}">
                  <a16:creationId xmlns:a16="http://schemas.microsoft.com/office/drawing/2014/main" id="{B3103BB0-03A2-4C96-8603-2B1921EDEB63}"/>
                </a:ext>
              </a:extLst>
            </p:cNvPr>
            <p:cNvGrpSpPr/>
            <p:nvPr/>
          </p:nvGrpSpPr>
          <p:grpSpPr>
            <a:xfrm>
              <a:off x="3478843" y="4494071"/>
              <a:ext cx="70461" cy="72000"/>
              <a:chOff x="5800094" y="2078182"/>
              <a:chExt cx="70461" cy="72000"/>
            </a:xfrm>
          </p:grpSpPr>
          <p:cxnSp>
            <p:nvCxnSpPr>
              <p:cNvPr id="1162" name="Straight Connector 1161">
                <a:extLst>
                  <a:ext uri="{FF2B5EF4-FFF2-40B4-BE49-F238E27FC236}">
                    <a16:creationId xmlns:a16="http://schemas.microsoft.com/office/drawing/2014/main" id="{C9B337DC-7B13-42CC-BDB9-940DB4E9C4B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63" name="Straight Connector 1162">
                <a:extLst>
                  <a:ext uri="{FF2B5EF4-FFF2-40B4-BE49-F238E27FC236}">
                    <a16:creationId xmlns:a16="http://schemas.microsoft.com/office/drawing/2014/main" id="{CA3AF603-400E-440C-A85D-3CBEC59BE7C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75" name="Group 1074">
              <a:extLst>
                <a:ext uri="{FF2B5EF4-FFF2-40B4-BE49-F238E27FC236}">
                  <a16:creationId xmlns:a16="http://schemas.microsoft.com/office/drawing/2014/main" id="{C8824599-2145-4489-B30F-269747E63915}"/>
                </a:ext>
              </a:extLst>
            </p:cNvPr>
            <p:cNvGrpSpPr/>
            <p:nvPr/>
          </p:nvGrpSpPr>
          <p:grpSpPr>
            <a:xfrm>
              <a:off x="3449749" y="4473322"/>
              <a:ext cx="70461" cy="72000"/>
              <a:chOff x="5800094" y="2078182"/>
              <a:chExt cx="70461" cy="72000"/>
            </a:xfrm>
          </p:grpSpPr>
          <p:cxnSp>
            <p:nvCxnSpPr>
              <p:cNvPr id="1160" name="Straight Connector 1159">
                <a:extLst>
                  <a:ext uri="{FF2B5EF4-FFF2-40B4-BE49-F238E27FC236}">
                    <a16:creationId xmlns:a16="http://schemas.microsoft.com/office/drawing/2014/main" id="{0C343416-5209-49D1-AF47-A45396C0C4F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61" name="Straight Connector 1160">
                <a:extLst>
                  <a:ext uri="{FF2B5EF4-FFF2-40B4-BE49-F238E27FC236}">
                    <a16:creationId xmlns:a16="http://schemas.microsoft.com/office/drawing/2014/main" id="{CF7EA6DF-ECD8-459C-94F9-857D77E472F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76" name="Group 1075">
              <a:extLst>
                <a:ext uri="{FF2B5EF4-FFF2-40B4-BE49-F238E27FC236}">
                  <a16:creationId xmlns:a16="http://schemas.microsoft.com/office/drawing/2014/main" id="{C969CFEB-D742-4E5C-A447-3458FCE9A249}"/>
                </a:ext>
              </a:extLst>
            </p:cNvPr>
            <p:cNvGrpSpPr/>
            <p:nvPr/>
          </p:nvGrpSpPr>
          <p:grpSpPr>
            <a:xfrm>
              <a:off x="3412366" y="4451853"/>
              <a:ext cx="70461" cy="72000"/>
              <a:chOff x="5800094" y="2078182"/>
              <a:chExt cx="70461" cy="72000"/>
            </a:xfrm>
          </p:grpSpPr>
          <p:cxnSp>
            <p:nvCxnSpPr>
              <p:cNvPr id="1158" name="Straight Connector 1157">
                <a:extLst>
                  <a:ext uri="{FF2B5EF4-FFF2-40B4-BE49-F238E27FC236}">
                    <a16:creationId xmlns:a16="http://schemas.microsoft.com/office/drawing/2014/main" id="{9C3BCBB5-63CE-4DFE-B797-AA688A68410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59" name="Straight Connector 1158">
                <a:extLst>
                  <a:ext uri="{FF2B5EF4-FFF2-40B4-BE49-F238E27FC236}">
                    <a16:creationId xmlns:a16="http://schemas.microsoft.com/office/drawing/2014/main" id="{7FB3BDB2-9E6D-4EFF-89DC-AADCF7D0086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77" name="Group 1076">
              <a:extLst>
                <a:ext uri="{FF2B5EF4-FFF2-40B4-BE49-F238E27FC236}">
                  <a16:creationId xmlns:a16="http://schemas.microsoft.com/office/drawing/2014/main" id="{F0E58C23-D550-4FD3-9F66-0A657F3A96D2}"/>
                </a:ext>
              </a:extLst>
            </p:cNvPr>
            <p:cNvGrpSpPr/>
            <p:nvPr/>
          </p:nvGrpSpPr>
          <p:grpSpPr>
            <a:xfrm>
              <a:off x="3370590" y="4427506"/>
              <a:ext cx="70461" cy="72000"/>
              <a:chOff x="5800094" y="2078182"/>
              <a:chExt cx="70461" cy="72000"/>
            </a:xfrm>
          </p:grpSpPr>
          <p:cxnSp>
            <p:nvCxnSpPr>
              <p:cNvPr id="1156" name="Straight Connector 1155">
                <a:extLst>
                  <a:ext uri="{FF2B5EF4-FFF2-40B4-BE49-F238E27FC236}">
                    <a16:creationId xmlns:a16="http://schemas.microsoft.com/office/drawing/2014/main" id="{F913339E-DE1B-4D1D-91A8-42727F46EEF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57" name="Straight Connector 1156">
                <a:extLst>
                  <a:ext uri="{FF2B5EF4-FFF2-40B4-BE49-F238E27FC236}">
                    <a16:creationId xmlns:a16="http://schemas.microsoft.com/office/drawing/2014/main" id="{620ED37D-FD72-4EC6-9FA8-1321B5D1A7C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78" name="Group 1077">
              <a:extLst>
                <a:ext uri="{FF2B5EF4-FFF2-40B4-BE49-F238E27FC236}">
                  <a16:creationId xmlns:a16="http://schemas.microsoft.com/office/drawing/2014/main" id="{A53F3BD1-FD05-4785-8B79-E5AB41F5C245}"/>
                </a:ext>
              </a:extLst>
            </p:cNvPr>
            <p:cNvGrpSpPr/>
            <p:nvPr/>
          </p:nvGrpSpPr>
          <p:grpSpPr>
            <a:xfrm>
              <a:off x="3303894" y="4394258"/>
              <a:ext cx="70461" cy="72000"/>
              <a:chOff x="5800094" y="2078182"/>
              <a:chExt cx="70461" cy="72000"/>
            </a:xfrm>
          </p:grpSpPr>
          <p:cxnSp>
            <p:nvCxnSpPr>
              <p:cNvPr id="1154" name="Straight Connector 1153">
                <a:extLst>
                  <a:ext uri="{FF2B5EF4-FFF2-40B4-BE49-F238E27FC236}">
                    <a16:creationId xmlns:a16="http://schemas.microsoft.com/office/drawing/2014/main" id="{DECF8E77-8E30-4AE2-A092-843BA9B0C4F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55" name="Straight Connector 1154">
                <a:extLst>
                  <a:ext uri="{FF2B5EF4-FFF2-40B4-BE49-F238E27FC236}">
                    <a16:creationId xmlns:a16="http://schemas.microsoft.com/office/drawing/2014/main" id="{E7BF6C60-E04A-43BF-B18E-346D9E2D316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79" name="Group 1078">
              <a:extLst>
                <a:ext uri="{FF2B5EF4-FFF2-40B4-BE49-F238E27FC236}">
                  <a16:creationId xmlns:a16="http://schemas.microsoft.com/office/drawing/2014/main" id="{AA5BC15F-AD72-459C-9116-804D8F6AB96D}"/>
                </a:ext>
              </a:extLst>
            </p:cNvPr>
            <p:cNvGrpSpPr/>
            <p:nvPr/>
          </p:nvGrpSpPr>
          <p:grpSpPr>
            <a:xfrm>
              <a:off x="3282480" y="4374328"/>
              <a:ext cx="70461" cy="72000"/>
              <a:chOff x="5800094" y="2078182"/>
              <a:chExt cx="70461" cy="72000"/>
            </a:xfrm>
          </p:grpSpPr>
          <p:cxnSp>
            <p:nvCxnSpPr>
              <p:cNvPr id="1152" name="Straight Connector 1151">
                <a:extLst>
                  <a:ext uri="{FF2B5EF4-FFF2-40B4-BE49-F238E27FC236}">
                    <a16:creationId xmlns:a16="http://schemas.microsoft.com/office/drawing/2014/main" id="{BF041FCF-EFAE-4103-9859-0429D7CAF11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53" name="Straight Connector 1152">
                <a:extLst>
                  <a:ext uri="{FF2B5EF4-FFF2-40B4-BE49-F238E27FC236}">
                    <a16:creationId xmlns:a16="http://schemas.microsoft.com/office/drawing/2014/main" id="{9F7A0C9B-4F20-4A22-8756-75C869DFA08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80" name="Group 1079">
              <a:extLst>
                <a:ext uri="{FF2B5EF4-FFF2-40B4-BE49-F238E27FC236}">
                  <a16:creationId xmlns:a16="http://schemas.microsoft.com/office/drawing/2014/main" id="{CE090F1A-E7D7-489B-AA3D-59AF1B829226}"/>
                </a:ext>
              </a:extLst>
            </p:cNvPr>
            <p:cNvGrpSpPr/>
            <p:nvPr/>
          </p:nvGrpSpPr>
          <p:grpSpPr>
            <a:xfrm>
              <a:off x="3114390" y="4237436"/>
              <a:ext cx="70461" cy="72000"/>
              <a:chOff x="5800094" y="2078182"/>
              <a:chExt cx="70461" cy="72000"/>
            </a:xfrm>
          </p:grpSpPr>
          <p:cxnSp>
            <p:nvCxnSpPr>
              <p:cNvPr id="1150" name="Straight Connector 1149">
                <a:extLst>
                  <a:ext uri="{FF2B5EF4-FFF2-40B4-BE49-F238E27FC236}">
                    <a16:creationId xmlns:a16="http://schemas.microsoft.com/office/drawing/2014/main" id="{E4BB0E5B-AA49-4E8C-A912-715DC1C576C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51" name="Straight Connector 1150">
                <a:extLst>
                  <a:ext uri="{FF2B5EF4-FFF2-40B4-BE49-F238E27FC236}">
                    <a16:creationId xmlns:a16="http://schemas.microsoft.com/office/drawing/2014/main" id="{69041675-2766-41C4-B8B9-F467B8D18AF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81" name="Group 1080">
              <a:extLst>
                <a:ext uri="{FF2B5EF4-FFF2-40B4-BE49-F238E27FC236}">
                  <a16:creationId xmlns:a16="http://schemas.microsoft.com/office/drawing/2014/main" id="{76C77F9D-D772-4F5A-B1AD-C83FA7E30759}"/>
                </a:ext>
              </a:extLst>
            </p:cNvPr>
            <p:cNvGrpSpPr/>
            <p:nvPr/>
          </p:nvGrpSpPr>
          <p:grpSpPr>
            <a:xfrm>
              <a:off x="3042037" y="4164893"/>
              <a:ext cx="70461" cy="72000"/>
              <a:chOff x="5800094" y="2078182"/>
              <a:chExt cx="70461" cy="72000"/>
            </a:xfrm>
          </p:grpSpPr>
          <p:cxnSp>
            <p:nvCxnSpPr>
              <p:cNvPr id="1148" name="Straight Connector 1147">
                <a:extLst>
                  <a:ext uri="{FF2B5EF4-FFF2-40B4-BE49-F238E27FC236}">
                    <a16:creationId xmlns:a16="http://schemas.microsoft.com/office/drawing/2014/main" id="{2C3DC53E-BFD7-4109-9F31-D493AAFB536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49" name="Straight Connector 1148">
                <a:extLst>
                  <a:ext uri="{FF2B5EF4-FFF2-40B4-BE49-F238E27FC236}">
                    <a16:creationId xmlns:a16="http://schemas.microsoft.com/office/drawing/2014/main" id="{B65FEBAF-552B-4593-9F9F-5C73B8FB2BD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82" name="Group 1081">
              <a:extLst>
                <a:ext uri="{FF2B5EF4-FFF2-40B4-BE49-F238E27FC236}">
                  <a16:creationId xmlns:a16="http://schemas.microsoft.com/office/drawing/2014/main" id="{3B47DF8E-47EA-44B1-8D3C-A554DB0570F0}"/>
                </a:ext>
              </a:extLst>
            </p:cNvPr>
            <p:cNvGrpSpPr/>
            <p:nvPr/>
          </p:nvGrpSpPr>
          <p:grpSpPr>
            <a:xfrm>
              <a:off x="2995475" y="4106224"/>
              <a:ext cx="70461" cy="72000"/>
              <a:chOff x="5800094" y="2078182"/>
              <a:chExt cx="70461" cy="72000"/>
            </a:xfrm>
          </p:grpSpPr>
          <p:cxnSp>
            <p:nvCxnSpPr>
              <p:cNvPr id="1146" name="Straight Connector 1145">
                <a:extLst>
                  <a:ext uri="{FF2B5EF4-FFF2-40B4-BE49-F238E27FC236}">
                    <a16:creationId xmlns:a16="http://schemas.microsoft.com/office/drawing/2014/main" id="{7A0C2CCE-8757-4341-A8F6-1F87E0F2F1B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47" name="Straight Connector 1146">
                <a:extLst>
                  <a:ext uri="{FF2B5EF4-FFF2-40B4-BE49-F238E27FC236}">
                    <a16:creationId xmlns:a16="http://schemas.microsoft.com/office/drawing/2014/main" id="{8131E0F8-D14B-4313-896E-BC56BEEBED4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83" name="Group 1082">
              <a:extLst>
                <a:ext uri="{FF2B5EF4-FFF2-40B4-BE49-F238E27FC236}">
                  <a16:creationId xmlns:a16="http://schemas.microsoft.com/office/drawing/2014/main" id="{2EB1ADFF-7078-4674-8582-3E492A4941D9}"/>
                </a:ext>
              </a:extLst>
            </p:cNvPr>
            <p:cNvGrpSpPr/>
            <p:nvPr/>
          </p:nvGrpSpPr>
          <p:grpSpPr>
            <a:xfrm>
              <a:off x="2960244" y="4075656"/>
              <a:ext cx="70461" cy="72000"/>
              <a:chOff x="5800094" y="2078182"/>
              <a:chExt cx="70461" cy="72000"/>
            </a:xfrm>
          </p:grpSpPr>
          <p:cxnSp>
            <p:nvCxnSpPr>
              <p:cNvPr id="1144" name="Straight Connector 1143">
                <a:extLst>
                  <a:ext uri="{FF2B5EF4-FFF2-40B4-BE49-F238E27FC236}">
                    <a16:creationId xmlns:a16="http://schemas.microsoft.com/office/drawing/2014/main" id="{68C9A632-641B-4207-95D0-759640CAAE4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45" name="Straight Connector 1144">
                <a:extLst>
                  <a:ext uri="{FF2B5EF4-FFF2-40B4-BE49-F238E27FC236}">
                    <a16:creationId xmlns:a16="http://schemas.microsoft.com/office/drawing/2014/main" id="{17841245-55A2-46A0-A187-58041BC1AD6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84" name="Group 1083">
              <a:extLst>
                <a:ext uri="{FF2B5EF4-FFF2-40B4-BE49-F238E27FC236}">
                  <a16:creationId xmlns:a16="http://schemas.microsoft.com/office/drawing/2014/main" id="{D1B43D1B-40F7-455C-A63B-B1966C062150}"/>
                </a:ext>
              </a:extLst>
            </p:cNvPr>
            <p:cNvGrpSpPr/>
            <p:nvPr/>
          </p:nvGrpSpPr>
          <p:grpSpPr>
            <a:xfrm>
              <a:off x="2784413" y="3946413"/>
              <a:ext cx="70461" cy="72000"/>
              <a:chOff x="5800094" y="2078182"/>
              <a:chExt cx="70461" cy="72000"/>
            </a:xfrm>
          </p:grpSpPr>
          <p:cxnSp>
            <p:nvCxnSpPr>
              <p:cNvPr id="1142" name="Straight Connector 1141">
                <a:extLst>
                  <a:ext uri="{FF2B5EF4-FFF2-40B4-BE49-F238E27FC236}">
                    <a16:creationId xmlns:a16="http://schemas.microsoft.com/office/drawing/2014/main" id="{FBD8B7BC-160C-4595-92DC-E645900CCC2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43" name="Straight Connector 1142">
                <a:extLst>
                  <a:ext uri="{FF2B5EF4-FFF2-40B4-BE49-F238E27FC236}">
                    <a16:creationId xmlns:a16="http://schemas.microsoft.com/office/drawing/2014/main" id="{0457DEB1-5A71-4C8D-991E-5905A292235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85" name="Group 1084">
              <a:extLst>
                <a:ext uri="{FF2B5EF4-FFF2-40B4-BE49-F238E27FC236}">
                  <a16:creationId xmlns:a16="http://schemas.microsoft.com/office/drawing/2014/main" id="{6551B362-2E22-4288-9C2E-572B26D9F9CB}"/>
                </a:ext>
              </a:extLst>
            </p:cNvPr>
            <p:cNvGrpSpPr/>
            <p:nvPr/>
          </p:nvGrpSpPr>
          <p:grpSpPr>
            <a:xfrm>
              <a:off x="2710318" y="3898043"/>
              <a:ext cx="70461" cy="72000"/>
              <a:chOff x="5800094" y="2078182"/>
              <a:chExt cx="70461" cy="72000"/>
            </a:xfrm>
          </p:grpSpPr>
          <p:cxnSp>
            <p:nvCxnSpPr>
              <p:cNvPr id="1140" name="Straight Connector 1139">
                <a:extLst>
                  <a:ext uri="{FF2B5EF4-FFF2-40B4-BE49-F238E27FC236}">
                    <a16:creationId xmlns:a16="http://schemas.microsoft.com/office/drawing/2014/main" id="{CDCB4E88-65FE-4B52-9C09-3C6989F7FDF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41" name="Straight Connector 1140">
                <a:extLst>
                  <a:ext uri="{FF2B5EF4-FFF2-40B4-BE49-F238E27FC236}">
                    <a16:creationId xmlns:a16="http://schemas.microsoft.com/office/drawing/2014/main" id="{FE9671F0-DC19-4380-8009-D2EBDF1C592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86" name="Group 1085">
              <a:extLst>
                <a:ext uri="{FF2B5EF4-FFF2-40B4-BE49-F238E27FC236}">
                  <a16:creationId xmlns:a16="http://schemas.microsoft.com/office/drawing/2014/main" id="{8168E678-171F-4508-953F-704BC9B9ED76}"/>
                </a:ext>
              </a:extLst>
            </p:cNvPr>
            <p:cNvGrpSpPr/>
            <p:nvPr/>
          </p:nvGrpSpPr>
          <p:grpSpPr>
            <a:xfrm>
              <a:off x="2659465" y="3867179"/>
              <a:ext cx="70461" cy="72000"/>
              <a:chOff x="5800094" y="2078182"/>
              <a:chExt cx="70461" cy="72000"/>
            </a:xfrm>
          </p:grpSpPr>
          <p:cxnSp>
            <p:nvCxnSpPr>
              <p:cNvPr id="1138" name="Straight Connector 1137">
                <a:extLst>
                  <a:ext uri="{FF2B5EF4-FFF2-40B4-BE49-F238E27FC236}">
                    <a16:creationId xmlns:a16="http://schemas.microsoft.com/office/drawing/2014/main" id="{92265714-5A07-4580-96C9-F30DF78E466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39" name="Straight Connector 1138">
                <a:extLst>
                  <a:ext uri="{FF2B5EF4-FFF2-40B4-BE49-F238E27FC236}">
                    <a16:creationId xmlns:a16="http://schemas.microsoft.com/office/drawing/2014/main" id="{DC2B8004-389B-4347-9CEE-47B24301602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87" name="Group 1086">
              <a:extLst>
                <a:ext uri="{FF2B5EF4-FFF2-40B4-BE49-F238E27FC236}">
                  <a16:creationId xmlns:a16="http://schemas.microsoft.com/office/drawing/2014/main" id="{0A24237B-CDD6-4BE7-B08E-B69729FF11CA}"/>
                </a:ext>
              </a:extLst>
            </p:cNvPr>
            <p:cNvGrpSpPr/>
            <p:nvPr/>
          </p:nvGrpSpPr>
          <p:grpSpPr>
            <a:xfrm>
              <a:off x="2574703" y="3716288"/>
              <a:ext cx="70461" cy="72000"/>
              <a:chOff x="5800094" y="2078182"/>
              <a:chExt cx="70461" cy="72000"/>
            </a:xfrm>
          </p:grpSpPr>
          <p:cxnSp>
            <p:nvCxnSpPr>
              <p:cNvPr id="1136" name="Straight Connector 1135">
                <a:extLst>
                  <a:ext uri="{FF2B5EF4-FFF2-40B4-BE49-F238E27FC236}">
                    <a16:creationId xmlns:a16="http://schemas.microsoft.com/office/drawing/2014/main" id="{C60467E5-0EDA-4A32-B51D-F20F390C6CB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37" name="Straight Connector 1136">
                <a:extLst>
                  <a:ext uri="{FF2B5EF4-FFF2-40B4-BE49-F238E27FC236}">
                    <a16:creationId xmlns:a16="http://schemas.microsoft.com/office/drawing/2014/main" id="{7A60F79E-0ED3-40A7-AFAF-5A3000B7293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88" name="Group 1087">
              <a:extLst>
                <a:ext uri="{FF2B5EF4-FFF2-40B4-BE49-F238E27FC236}">
                  <a16:creationId xmlns:a16="http://schemas.microsoft.com/office/drawing/2014/main" id="{49D5B463-AA91-4043-B21A-9AE44B2BE768}"/>
                </a:ext>
              </a:extLst>
            </p:cNvPr>
            <p:cNvGrpSpPr/>
            <p:nvPr/>
          </p:nvGrpSpPr>
          <p:grpSpPr>
            <a:xfrm>
              <a:off x="2559176" y="3671161"/>
              <a:ext cx="70461" cy="72000"/>
              <a:chOff x="5800094" y="2078182"/>
              <a:chExt cx="70461" cy="72000"/>
            </a:xfrm>
          </p:grpSpPr>
          <p:cxnSp>
            <p:nvCxnSpPr>
              <p:cNvPr id="1134" name="Straight Connector 1133">
                <a:extLst>
                  <a:ext uri="{FF2B5EF4-FFF2-40B4-BE49-F238E27FC236}">
                    <a16:creationId xmlns:a16="http://schemas.microsoft.com/office/drawing/2014/main" id="{13AD7E84-56A2-4927-8CF6-5A51543AB48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35" name="Straight Connector 1134">
                <a:extLst>
                  <a:ext uri="{FF2B5EF4-FFF2-40B4-BE49-F238E27FC236}">
                    <a16:creationId xmlns:a16="http://schemas.microsoft.com/office/drawing/2014/main" id="{F77771E2-5E4E-4262-B4EE-035399023B4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89" name="Group 1088">
              <a:extLst>
                <a:ext uri="{FF2B5EF4-FFF2-40B4-BE49-F238E27FC236}">
                  <a16:creationId xmlns:a16="http://schemas.microsoft.com/office/drawing/2014/main" id="{5A6F9BEC-5790-4963-B0CE-1E16415FCC33}"/>
                </a:ext>
              </a:extLst>
            </p:cNvPr>
            <p:cNvGrpSpPr/>
            <p:nvPr/>
          </p:nvGrpSpPr>
          <p:grpSpPr>
            <a:xfrm>
              <a:off x="2514469" y="3596361"/>
              <a:ext cx="70461" cy="72000"/>
              <a:chOff x="5800094" y="2078182"/>
              <a:chExt cx="70461" cy="72000"/>
            </a:xfrm>
          </p:grpSpPr>
          <p:cxnSp>
            <p:nvCxnSpPr>
              <p:cNvPr id="1132" name="Straight Connector 1131">
                <a:extLst>
                  <a:ext uri="{FF2B5EF4-FFF2-40B4-BE49-F238E27FC236}">
                    <a16:creationId xmlns:a16="http://schemas.microsoft.com/office/drawing/2014/main" id="{BA41E8CB-F167-4F2B-B59B-A66006D2CCD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33" name="Straight Connector 1132">
                <a:extLst>
                  <a:ext uri="{FF2B5EF4-FFF2-40B4-BE49-F238E27FC236}">
                    <a16:creationId xmlns:a16="http://schemas.microsoft.com/office/drawing/2014/main" id="{0D6E99E0-0A42-4FC4-AC43-B6255A41FE4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90" name="Group 1089">
              <a:extLst>
                <a:ext uri="{FF2B5EF4-FFF2-40B4-BE49-F238E27FC236}">
                  <a16:creationId xmlns:a16="http://schemas.microsoft.com/office/drawing/2014/main" id="{081E32FC-25AC-4044-8A33-701C578F6635}"/>
                </a:ext>
              </a:extLst>
            </p:cNvPr>
            <p:cNvGrpSpPr/>
            <p:nvPr/>
          </p:nvGrpSpPr>
          <p:grpSpPr>
            <a:xfrm>
              <a:off x="2377309" y="3389825"/>
              <a:ext cx="70461" cy="72000"/>
              <a:chOff x="5800094" y="2078182"/>
              <a:chExt cx="70461" cy="72000"/>
            </a:xfrm>
          </p:grpSpPr>
          <p:cxnSp>
            <p:nvCxnSpPr>
              <p:cNvPr id="1130" name="Straight Connector 1129">
                <a:extLst>
                  <a:ext uri="{FF2B5EF4-FFF2-40B4-BE49-F238E27FC236}">
                    <a16:creationId xmlns:a16="http://schemas.microsoft.com/office/drawing/2014/main" id="{38B9FF6D-D2C0-441F-AF02-F8CC50EFE8E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31" name="Straight Connector 1130">
                <a:extLst>
                  <a:ext uri="{FF2B5EF4-FFF2-40B4-BE49-F238E27FC236}">
                    <a16:creationId xmlns:a16="http://schemas.microsoft.com/office/drawing/2014/main" id="{45EFFFE0-1414-4455-9D2D-89B192BB646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91" name="Group 1090">
              <a:extLst>
                <a:ext uri="{FF2B5EF4-FFF2-40B4-BE49-F238E27FC236}">
                  <a16:creationId xmlns:a16="http://schemas.microsoft.com/office/drawing/2014/main" id="{3C8EDC68-F395-4A28-91ED-9402BA309117}"/>
                </a:ext>
              </a:extLst>
            </p:cNvPr>
            <p:cNvGrpSpPr/>
            <p:nvPr/>
          </p:nvGrpSpPr>
          <p:grpSpPr>
            <a:xfrm>
              <a:off x="2330658" y="3327254"/>
              <a:ext cx="70461" cy="72000"/>
              <a:chOff x="5800094" y="2078182"/>
              <a:chExt cx="70461" cy="72000"/>
            </a:xfrm>
          </p:grpSpPr>
          <p:cxnSp>
            <p:nvCxnSpPr>
              <p:cNvPr id="1128" name="Straight Connector 1127">
                <a:extLst>
                  <a:ext uri="{FF2B5EF4-FFF2-40B4-BE49-F238E27FC236}">
                    <a16:creationId xmlns:a16="http://schemas.microsoft.com/office/drawing/2014/main" id="{48AE4D2F-48E3-40CD-86DF-CEA81A2F555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9" name="Straight Connector 1128">
                <a:extLst>
                  <a:ext uri="{FF2B5EF4-FFF2-40B4-BE49-F238E27FC236}">
                    <a16:creationId xmlns:a16="http://schemas.microsoft.com/office/drawing/2014/main" id="{15066448-760E-4062-AAD3-37F63EF8FC4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92" name="Group 1091">
              <a:extLst>
                <a:ext uri="{FF2B5EF4-FFF2-40B4-BE49-F238E27FC236}">
                  <a16:creationId xmlns:a16="http://schemas.microsoft.com/office/drawing/2014/main" id="{40A1D8DC-ED57-42C6-8935-66A10BCDFC12}"/>
                </a:ext>
              </a:extLst>
            </p:cNvPr>
            <p:cNvGrpSpPr/>
            <p:nvPr/>
          </p:nvGrpSpPr>
          <p:grpSpPr>
            <a:xfrm>
              <a:off x="2225453" y="3094018"/>
              <a:ext cx="70461" cy="72000"/>
              <a:chOff x="5800094" y="2078182"/>
              <a:chExt cx="70461" cy="72000"/>
            </a:xfrm>
          </p:grpSpPr>
          <p:cxnSp>
            <p:nvCxnSpPr>
              <p:cNvPr id="1126" name="Straight Connector 1125">
                <a:extLst>
                  <a:ext uri="{FF2B5EF4-FFF2-40B4-BE49-F238E27FC236}">
                    <a16:creationId xmlns:a16="http://schemas.microsoft.com/office/drawing/2014/main" id="{7D034962-2E47-4C85-B75B-CE6AA114717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7" name="Straight Connector 1126">
                <a:extLst>
                  <a:ext uri="{FF2B5EF4-FFF2-40B4-BE49-F238E27FC236}">
                    <a16:creationId xmlns:a16="http://schemas.microsoft.com/office/drawing/2014/main" id="{784F593E-741C-4D00-9844-571CB445AE4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93" name="Group 1092">
              <a:extLst>
                <a:ext uri="{FF2B5EF4-FFF2-40B4-BE49-F238E27FC236}">
                  <a16:creationId xmlns:a16="http://schemas.microsoft.com/office/drawing/2014/main" id="{598A44F8-8B17-47E8-B50A-8D4D401DB144}"/>
                </a:ext>
              </a:extLst>
            </p:cNvPr>
            <p:cNvGrpSpPr/>
            <p:nvPr/>
          </p:nvGrpSpPr>
          <p:grpSpPr>
            <a:xfrm>
              <a:off x="2154992" y="3078537"/>
              <a:ext cx="70461" cy="72000"/>
              <a:chOff x="5800094" y="2078182"/>
              <a:chExt cx="70461" cy="72000"/>
            </a:xfrm>
          </p:grpSpPr>
          <p:cxnSp>
            <p:nvCxnSpPr>
              <p:cNvPr id="1124" name="Straight Connector 1123">
                <a:extLst>
                  <a:ext uri="{FF2B5EF4-FFF2-40B4-BE49-F238E27FC236}">
                    <a16:creationId xmlns:a16="http://schemas.microsoft.com/office/drawing/2014/main" id="{ADCB832D-ACEC-4238-B1CA-92C025967A3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5" name="Straight Connector 1124">
                <a:extLst>
                  <a:ext uri="{FF2B5EF4-FFF2-40B4-BE49-F238E27FC236}">
                    <a16:creationId xmlns:a16="http://schemas.microsoft.com/office/drawing/2014/main" id="{8C992116-7717-4ED3-8CDE-C4FA9C33529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94" name="Group 1093">
              <a:extLst>
                <a:ext uri="{FF2B5EF4-FFF2-40B4-BE49-F238E27FC236}">
                  <a16:creationId xmlns:a16="http://schemas.microsoft.com/office/drawing/2014/main" id="{5E5AB1DF-4671-4531-A4C3-DE22AA89949A}"/>
                </a:ext>
              </a:extLst>
            </p:cNvPr>
            <p:cNvGrpSpPr/>
            <p:nvPr/>
          </p:nvGrpSpPr>
          <p:grpSpPr>
            <a:xfrm>
              <a:off x="2154992" y="2954427"/>
              <a:ext cx="70461" cy="72000"/>
              <a:chOff x="5800094" y="2078182"/>
              <a:chExt cx="70461" cy="72000"/>
            </a:xfrm>
          </p:grpSpPr>
          <p:cxnSp>
            <p:nvCxnSpPr>
              <p:cNvPr id="1122" name="Straight Connector 1121">
                <a:extLst>
                  <a:ext uri="{FF2B5EF4-FFF2-40B4-BE49-F238E27FC236}">
                    <a16:creationId xmlns:a16="http://schemas.microsoft.com/office/drawing/2014/main" id="{12E141AA-77D5-4D77-801D-F2344972E62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3" name="Straight Connector 1122">
                <a:extLst>
                  <a:ext uri="{FF2B5EF4-FFF2-40B4-BE49-F238E27FC236}">
                    <a16:creationId xmlns:a16="http://schemas.microsoft.com/office/drawing/2014/main" id="{057A8347-41C1-4017-B032-6C261BD73CE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95" name="Group 1094">
              <a:extLst>
                <a:ext uri="{FF2B5EF4-FFF2-40B4-BE49-F238E27FC236}">
                  <a16:creationId xmlns:a16="http://schemas.microsoft.com/office/drawing/2014/main" id="{6A66CEC3-5041-4F09-A3C0-7D1D778A70D4}"/>
                </a:ext>
              </a:extLst>
            </p:cNvPr>
            <p:cNvGrpSpPr/>
            <p:nvPr/>
          </p:nvGrpSpPr>
          <p:grpSpPr>
            <a:xfrm>
              <a:off x="2097732" y="2779195"/>
              <a:ext cx="70461" cy="72000"/>
              <a:chOff x="5800094" y="2078182"/>
              <a:chExt cx="70461" cy="72000"/>
            </a:xfrm>
          </p:grpSpPr>
          <p:cxnSp>
            <p:nvCxnSpPr>
              <p:cNvPr id="1120" name="Straight Connector 1119">
                <a:extLst>
                  <a:ext uri="{FF2B5EF4-FFF2-40B4-BE49-F238E27FC236}">
                    <a16:creationId xmlns:a16="http://schemas.microsoft.com/office/drawing/2014/main" id="{9F4BB2BF-8E42-4775-90D8-C0EE00DFFF3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1" name="Straight Connector 1120">
                <a:extLst>
                  <a:ext uri="{FF2B5EF4-FFF2-40B4-BE49-F238E27FC236}">
                    <a16:creationId xmlns:a16="http://schemas.microsoft.com/office/drawing/2014/main" id="{F7E2EEFD-54EC-402A-B824-00EFB251291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96" name="Group 1095">
              <a:extLst>
                <a:ext uri="{FF2B5EF4-FFF2-40B4-BE49-F238E27FC236}">
                  <a16:creationId xmlns:a16="http://schemas.microsoft.com/office/drawing/2014/main" id="{3B1B254A-CA5D-4A2B-9353-2EBFDC97ADD7}"/>
                </a:ext>
              </a:extLst>
            </p:cNvPr>
            <p:cNvGrpSpPr/>
            <p:nvPr/>
          </p:nvGrpSpPr>
          <p:grpSpPr>
            <a:xfrm>
              <a:off x="2087429" y="2732571"/>
              <a:ext cx="70461" cy="72000"/>
              <a:chOff x="5800094" y="2078182"/>
              <a:chExt cx="70461" cy="72000"/>
            </a:xfrm>
          </p:grpSpPr>
          <p:cxnSp>
            <p:nvCxnSpPr>
              <p:cNvPr id="1118" name="Straight Connector 1117">
                <a:extLst>
                  <a:ext uri="{FF2B5EF4-FFF2-40B4-BE49-F238E27FC236}">
                    <a16:creationId xmlns:a16="http://schemas.microsoft.com/office/drawing/2014/main" id="{41B34649-18E5-41CF-85E1-101B1DD31CC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19" name="Straight Connector 1118">
                <a:extLst>
                  <a:ext uri="{FF2B5EF4-FFF2-40B4-BE49-F238E27FC236}">
                    <a16:creationId xmlns:a16="http://schemas.microsoft.com/office/drawing/2014/main" id="{26C69FB5-01F7-4ED8-8BB8-D5FF2D1D48F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97" name="Group 1096">
              <a:extLst>
                <a:ext uri="{FF2B5EF4-FFF2-40B4-BE49-F238E27FC236}">
                  <a16:creationId xmlns:a16="http://schemas.microsoft.com/office/drawing/2014/main" id="{84F5FEA5-B425-44AB-8223-B53E4E651875}"/>
                </a:ext>
              </a:extLst>
            </p:cNvPr>
            <p:cNvGrpSpPr/>
            <p:nvPr/>
          </p:nvGrpSpPr>
          <p:grpSpPr>
            <a:xfrm>
              <a:off x="2063248" y="2653207"/>
              <a:ext cx="70461" cy="72000"/>
              <a:chOff x="5800094" y="2078182"/>
              <a:chExt cx="70461" cy="72000"/>
            </a:xfrm>
          </p:grpSpPr>
          <p:cxnSp>
            <p:nvCxnSpPr>
              <p:cNvPr id="1116" name="Straight Connector 1115">
                <a:extLst>
                  <a:ext uri="{FF2B5EF4-FFF2-40B4-BE49-F238E27FC236}">
                    <a16:creationId xmlns:a16="http://schemas.microsoft.com/office/drawing/2014/main" id="{E4F878CC-A8EC-4769-A14B-366A3CE3087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17" name="Straight Connector 1116">
                <a:extLst>
                  <a:ext uri="{FF2B5EF4-FFF2-40B4-BE49-F238E27FC236}">
                    <a16:creationId xmlns:a16="http://schemas.microsoft.com/office/drawing/2014/main" id="{BFE0A94E-7697-47B8-9105-9EE4315093C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98" name="Group 1097">
              <a:extLst>
                <a:ext uri="{FF2B5EF4-FFF2-40B4-BE49-F238E27FC236}">
                  <a16:creationId xmlns:a16="http://schemas.microsoft.com/office/drawing/2014/main" id="{2CA8B49D-938C-42FF-996F-E2908A599FE0}"/>
                </a:ext>
              </a:extLst>
            </p:cNvPr>
            <p:cNvGrpSpPr/>
            <p:nvPr/>
          </p:nvGrpSpPr>
          <p:grpSpPr>
            <a:xfrm>
              <a:off x="2027271" y="2582560"/>
              <a:ext cx="70461" cy="72000"/>
              <a:chOff x="5800094" y="2078182"/>
              <a:chExt cx="70461" cy="72000"/>
            </a:xfrm>
          </p:grpSpPr>
          <p:cxnSp>
            <p:nvCxnSpPr>
              <p:cNvPr id="1114" name="Straight Connector 1113">
                <a:extLst>
                  <a:ext uri="{FF2B5EF4-FFF2-40B4-BE49-F238E27FC236}">
                    <a16:creationId xmlns:a16="http://schemas.microsoft.com/office/drawing/2014/main" id="{2325D766-9D1F-485E-932E-D079C2A8BF2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15" name="Straight Connector 1114">
                <a:extLst>
                  <a:ext uri="{FF2B5EF4-FFF2-40B4-BE49-F238E27FC236}">
                    <a16:creationId xmlns:a16="http://schemas.microsoft.com/office/drawing/2014/main" id="{49346D9E-FDF1-495F-A20E-C22B67B2218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099" name="Group 1098">
              <a:extLst>
                <a:ext uri="{FF2B5EF4-FFF2-40B4-BE49-F238E27FC236}">
                  <a16:creationId xmlns:a16="http://schemas.microsoft.com/office/drawing/2014/main" id="{9FBA567C-7DE0-4EBD-A4E9-E9B824E79D83}"/>
                </a:ext>
              </a:extLst>
            </p:cNvPr>
            <p:cNvGrpSpPr/>
            <p:nvPr/>
          </p:nvGrpSpPr>
          <p:grpSpPr>
            <a:xfrm>
              <a:off x="2001105" y="2545503"/>
              <a:ext cx="70461" cy="72000"/>
              <a:chOff x="5800094" y="2078182"/>
              <a:chExt cx="70461" cy="72000"/>
            </a:xfrm>
          </p:grpSpPr>
          <p:cxnSp>
            <p:nvCxnSpPr>
              <p:cNvPr id="1112" name="Straight Connector 1111">
                <a:extLst>
                  <a:ext uri="{FF2B5EF4-FFF2-40B4-BE49-F238E27FC236}">
                    <a16:creationId xmlns:a16="http://schemas.microsoft.com/office/drawing/2014/main" id="{3AFD6A19-9CC2-4F97-8544-A5F9FD879FF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13" name="Straight Connector 1112">
                <a:extLst>
                  <a:ext uri="{FF2B5EF4-FFF2-40B4-BE49-F238E27FC236}">
                    <a16:creationId xmlns:a16="http://schemas.microsoft.com/office/drawing/2014/main" id="{646C4E2A-8530-4419-8432-1FE4EF39637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100" name="Group 1099">
              <a:extLst>
                <a:ext uri="{FF2B5EF4-FFF2-40B4-BE49-F238E27FC236}">
                  <a16:creationId xmlns:a16="http://schemas.microsoft.com/office/drawing/2014/main" id="{96C67B75-EFB0-4FC6-BA4A-17A1C445C1AE}"/>
                </a:ext>
              </a:extLst>
            </p:cNvPr>
            <p:cNvGrpSpPr/>
            <p:nvPr/>
          </p:nvGrpSpPr>
          <p:grpSpPr>
            <a:xfrm>
              <a:off x="1977722" y="2524975"/>
              <a:ext cx="70461" cy="72000"/>
              <a:chOff x="5800094" y="2078182"/>
              <a:chExt cx="70461" cy="72000"/>
            </a:xfrm>
          </p:grpSpPr>
          <p:cxnSp>
            <p:nvCxnSpPr>
              <p:cNvPr id="1110" name="Straight Connector 1109">
                <a:extLst>
                  <a:ext uri="{FF2B5EF4-FFF2-40B4-BE49-F238E27FC236}">
                    <a16:creationId xmlns:a16="http://schemas.microsoft.com/office/drawing/2014/main" id="{A5D67A8E-64F4-403C-87DD-636E3142C7D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11" name="Straight Connector 1110">
                <a:extLst>
                  <a:ext uri="{FF2B5EF4-FFF2-40B4-BE49-F238E27FC236}">
                    <a16:creationId xmlns:a16="http://schemas.microsoft.com/office/drawing/2014/main" id="{6639A16A-CCAE-4323-ABEC-BDC851BF835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101" name="Group 1100">
              <a:extLst>
                <a:ext uri="{FF2B5EF4-FFF2-40B4-BE49-F238E27FC236}">
                  <a16:creationId xmlns:a16="http://schemas.microsoft.com/office/drawing/2014/main" id="{BAB03081-4F89-4EAF-9E53-4156782242FB}"/>
                </a:ext>
              </a:extLst>
            </p:cNvPr>
            <p:cNvGrpSpPr/>
            <p:nvPr/>
          </p:nvGrpSpPr>
          <p:grpSpPr>
            <a:xfrm>
              <a:off x="1972225" y="2482776"/>
              <a:ext cx="70461" cy="72000"/>
              <a:chOff x="5800094" y="2078182"/>
              <a:chExt cx="70461" cy="72000"/>
            </a:xfrm>
          </p:grpSpPr>
          <p:cxnSp>
            <p:nvCxnSpPr>
              <p:cNvPr id="1108" name="Straight Connector 1107">
                <a:extLst>
                  <a:ext uri="{FF2B5EF4-FFF2-40B4-BE49-F238E27FC236}">
                    <a16:creationId xmlns:a16="http://schemas.microsoft.com/office/drawing/2014/main" id="{D65CB6D6-11D8-49DB-AB0A-3DD89D22B00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09" name="Straight Connector 1108">
                <a:extLst>
                  <a:ext uri="{FF2B5EF4-FFF2-40B4-BE49-F238E27FC236}">
                    <a16:creationId xmlns:a16="http://schemas.microsoft.com/office/drawing/2014/main" id="{3E43E24A-1255-47FF-BF7F-91D471FC384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102" name="Group 1101">
              <a:extLst>
                <a:ext uri="{FF2B5EF4-FFF2-40B4-BE49-F238E27FC236}">
                  <a16:creationId xmlns:a16="http://schemas.microsoft.com/office/drawing/2014/main" id="{16F03945-F180-42BF-B8F5-0A5E2C755B1E}"/>
                </a:ext>
              </a:extLst>
            </p:cNvPr>
            <p:cNvGrpSpPr/>
            <p:nvPr/>
          </p:nvGrpSpPr>
          <p:grpSpPr>
            <a:xfrm>
              <a:off x="1892656" y="2266716"/>
              <a:ext cx="70461" cy="72000"/>
              <a:chOff x="5800094" y="2078182"/>
              <a:chExt cx="70461" cy="72000"/>
            </a:xfrm>
          </p:grpSpPr>
          <p:cxnSp>
            <p:nvCxnSpPr>
              <p:cNvPr id="1106" name="Straight Connector 1105">
                <a:extLst>
                  <a:ext uri="{FF2B5EF4-FFF2-40B4-BE49-F238E27FC236}">
                    <a16:creationId xmlns:a16="http://schemas.microsoft.com/office/drawing/2014/main" id="{0012C92A-9383-4FB7-8270-2D90CE604B0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07" name="Straight Connector 1106">
                <a:extLst>
                  <a:ext uri="{FF2B5EF4-FFF2-40B4-BE49-F238E27FC236}">
                    <a16:creationId xmlns:a16="http://schemas.microsoft.com/office/drawing/2014/main" id="{01B6477E-E289-4BA1-9C06-71317ACAC7E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103" name="Group 1102">
              <a:extLst>
                <a:ext uri="{FF2B5EF4-FFF2-40B4-BE49-F238E27FC236}">
                  <a16:creationId xmlns:a16="http://schemas.microsoft.com/office/drawing/2014/main" id="{E004C6FC-3784-416D-BD2E-E4B55ED7F685}"/>
                </a:ext>
              </a:extLst>
            </p:cNvPr>
            <p:cNvGrpSpPr/>
            <p:nvPr/>
          </p:nvGrpSpPr>
          <p:grpSpPr>
            <a:xfrm>
              <a:off x="1830092" y="2210042"/>
              <a:ext cx="70461" cy="72000"/>
              <a:chOff x="5800094" y="2078182"/>
              <a:chExt cx="70461" cy="72000"/>
            </a:xfrm>
          </p:grpSpPr>
          <p:cxnSp>
            <p:nvCxnSpPr>
              <p:cNvPr id="1104" name="Straight Connector 1103">
                <a:extLst>
                  <a:ext uri="{FF2B5EF4-FFF2-40B4-BE49-F238E27FC236}">
                    <a16:creationId xmlns:a16="http://schemas.microsoft.com/office/drawing/2014/main" id="{8CB2C8EC-CD06-4CFF-81AE-16842323676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05" name="Straight Connector 1104">
                <a:extLst>
                  <a:ext uri="{FF2B5EF4-FFF2-40B4-BE49-F238E27FC236}">
                    <a16:creationId xmlns:a16="http://schemas.microsoft.com/office/drawing/2014/main" id="{6F973A6C-C2AC-433E-9691-740C1D5F8DB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1224" name="Group 1223">
            <a:extLst>
              <a:ext uri="{FF2B5EF4-FFF2-40B4-BE49-F238E27FC236}">
                <a16:creationId xmlns:a16="http://schemas.microsoft.com/office/drawing/2014/main" id="{AC5217C2-D32D-4908-A417-D5CA5CF6274C}"/>
              </a:ext>
            </a:extLst>
          </p:cNvPr>
          <p:cNvGrpSpPr/>
          <p:nvPr/>
        </p:nvGrpSpPr>
        <p:grpSpPr>
          <a:xfrm>
            <a:off x="3056675" y="1848245"/>
            <a:ext cx="2109129" cy="1717298"/>
            <a:chOff x="1832237" y="2123848"/>
            <a:chExt cx="2812172" cy="2289730"/>
          </a:xfrm>
        </p:grpSpPr>
        <p:grpSp>
          <p:nvGrpSpPr>
            <p:cNvPr id="1225" name="Group 1224">
              <a:extLst>
                <a:ext uri="{FF2B5EF4-FFF2-40B4-BE49-F238E27FC236}">
                  <a16:creationId xmlns:a16="http://schemas.microsoft.com/office/drawing/2014/main" id="{34F5A634-605A-42A4-ACDB-56E426E00EC6}"/>
                </a:ext>
              </a:extLst>
            </p:cNvPr>
            <p:cNvGrpSpPr/>
            <p:nvPr/>
          </p:nvGrpSpPr>
          <p:grpSpPr>
            <a:xfrm>
              <a:off x="4521441" y="4341578"/>
              <a:ext cx="70461" cy="72000"/>
              <a:chOff x="5800094" y="2078182"/>
              <a:chExt cx="70461" cy="72000"/>
            </a:xfrm>
          </p:grpSpPr>
          <p:cxnSp>
            <p:nvCxnSpPr>
              <p:cNvPr id="1637" name="Straight Connector 1636">
                <a:extLst>
                  <a:ext uri="{FF2B5EF4-FFF2-40B4-BE49-F238E27FC236}">
                    <a16:creationId xmlns:a16="http://schemas.microsoft.com/office/drawing/2014/main" id="{BCE2317D-85C1-4412-8692-78F07B1E5B5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38" name="Straight Connector 1637">
                <a:extLst>
                  <a:ext uri="{FF2B5EF4-FFF2-40B4-BE49-F238E27FC236}">
                    <a16:creationId xmlns:a16="http://schemas.microsoft.com/office/drawing/2014/main" id="{9F713814-BF3A-411F-B95D-C7560A89D7E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26" name="Group 1225">
              <a:extLst>
                <a:ext uri="{FF2B5EF4-FFF2-40B4-BE49-F238E27FC236}">
                  <a16:creationId xmlns:a16="http://schemas.microsoft.com/office/drawing/2014/main" id="{A22A9960-BC8E-4FE8-9A75-94B9B32ECFC3}"/>
                </a:ext>
              </a:extLst>
            </p:cNvPr>
            <p:cNvGrpSpPr/>
            <p:nvPr/>
          </p:nvGrpSpPr>
          <p:grpSpPr>
            <a:xfrm>
              <a:off x="4549170" y="4341578"/>
              <a:ext cx="70461" cy="72000"/>
              <a:chOff x="5800094" y="2078182"/>
              <a:chExt cx="70461" cy="72000"/>
            </a:xfrm>
          </p:grpSpPr>
          <p:cxnSp>
            <p:nvCxnSpPr>
              <p:cNvPr id="1635" name="Straight Connector 1634">
                <a:extLst>
                  <a:ext uri="{FF2B5EF4-FFF2-40B4-BE49-F238E27FC236}">
                    <a16:creationId xmlns:a16="http://schemas.microsoft.com/office/drawing/2014/main" id="{45532AA7-41AC-49CE-9E50-66CD70612BD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36" name="Straight Connector 1635">
                <a:extLst>
                  <a:ext uri="{FF2B5EF4-FFF2-40B4-BE49-F238E27FC236}">
                    <a16:creationId xmlns:a16="http://schemas.microsoft.com/office/drawing/2014/main" id="{90F1AAD5-8F05-4899-A690-2183484D7C8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27" name="Group 1226">
              <a:extLst>
                <a:ext uri="{FF2B5EF4-FFF2-40B4-BE49-F238E27FC236}">
                  <a16:creationId xmlns:a16="http://schemas.microsoft.com/office/drawing/2014/main" id="{968C1420-0BA8-446E-B3CD-FFB5AAEEF037}"/>
                </a:ext>
              </a:extLst>
            </p:cNvPr>
            <p:cNvGrpSpPr/>
            <p:nvPr/>
          </p:nvGrpSpPr>
          <p:grpSpPr>
            <a:xfrm>
              <a:off x="4573948" y="4341578"/>
              <a:ext cx="70461" cy="72000"/>
              <a:chOff x="5800094" y="2078182"/>
              <a:chExt cx="70461" cy="72000"/>
            </a:xfrm>
          </p:grpSpPr>
          <p:cxnSp>
            <p:nvCxnSpPr>
              <p:cNvPr id="1633" name="Straight Connector 1632">
                <a:extLst>
                  <a:ext uri="{FF2B5EF4-FFF2-40B4-BE49-F238E27FC236}">
                    <a16:creationId xmlns:a16="http://schemas.microsoft.com/office/drawing/2014/main" id="{E6DF0DC0-6697-4E14-93E9-29CD284915F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34" name="Straight Connector 1633">
                <a:extLst>
                  <a:ext uri="{FF2B5EF4-FFF2-40B4-BE49-F238E27FC236}">
                    <a16:creationId xmlns:a16="http://schemas.microsoft.com/office/drawing/2014/main" id="{A0B1124F-C71D-416F-8C21-4F6A799FC5B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28" name="Group 1227">
              <a:extLst>
                <a:ext uri="{FF2B5EF4-FFF2-40B4-BE49-F238E27FC236}">
                  <a16:creationId xmlns:a16="http://schemas.microsoft.com/office/drawing/2014/main" id="{C31CC2FB-1A63-4FC8-9215-FE297DE57D61}"/>
                </a:ext>
              </a:extLst>
            </p:cNvPr>
            <p:cNvGrpSpPr/>
            <p:nvPr/>
          </p:nvGrpSpPr>
          <p:grpSpPr>
            <a:xfrm>
              <a:off x="4337169" y="4341578"/>
              <a:ext cx="70461" cy="72000"/>
              <a:chOff x="5800094" y="2078182"/>
              <a:chExt cx="70461" cy="72000"/>
            </a:xfrm>
          </p:grpSpPr>
          <p:cxnSp>
            <p:nvCxnSpPr>
              <p:cNvPr id="1631" name="Straight Connector 1630">
                <a:extLst>
                  <a:ext uri="{FF2B5EF4-FFF2-40B4-BE49-F238E27FC236}">
                    <a16:creationId xmlns:a16="http://schemas.microsoft.com/office/drawing/2014/main" id="{7F478B14-EED8-4AA6-96EB-241E526DA86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32" name="Straight Connector 1631">
                <a:extLst>
                  <a:ext uri="{FF2B5EF4-FFF2-40B4-BE49-F238E27FC236}">
                    <a16:creationId xmlns:a16="http://schemas.microsoft.com/office/drawing/2014/main" id="{EB96B771-F44C-40E1-BD33-BAADEF866E7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29" name="Group 1228">
              <a:extLst>
                <a:ext uri="{FF2B5EF4-FFF2-40B4-BE49-F238E27FC236}">
                  <a16:creationId xmlns:a16="http://schemas.microsoft.com/office/drawing/2014/main" id="{09E286A5-D158-4A4F-B82E-1B5879281B97}"/>
                </a:ext>
              </a:extLst>
            </p:cNvPr>
            <p:cNvGrpSpPr/>
            <p:nvPr/>
          </p:nvGrpSpPr>
          <p:grpSpPr>
            <a:xfrm>
              <a:off x="4271794" y="4341578"/>
              <a:ext cx="70461" cy="72000"/>
              <a:chOff x="5800094" y="2078182"/>
              <a:chExt cx="70461" cy="72000"/>
            </a:xfrm>
          </p:grpSpPr>
          <p:cxnSp>
            <p:nvCxnSpPr>
              <p:cNvPr id="1629" name="Straight Connector 1628">
                <a:extLst>
                  <a:ext uri="{FF2B5EF4-FFF2-40B4-BE49-F238E27FC236}">
                    <a16:creationId xmlns:a16="http://schemas.microsoft.com/office/drawing/2014/main" id="{0E66C2C0-A23A-4450-B364-D92743A55FF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30" name="Straight Connector 1629">
                <a:extLst>
                  <a:ext uri="{FF2B5EF4-FFF2-40B4-BE49-F238E27FC236}">
                    <a16:creationId xmlns:a16="http://schemas.microsoft.com/office/drawing/2014/main" id="{2D324620-F442-4446-B296-8148D258892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30" name="Group 1229">
              <a:extLst>
                <a:ext uri="{FF2B5EF4-FFF2-40B4-BE49-F238E27FC236}">
                  <a16:creationId xmlns:a16="http://schemas.microsoft.com/office/drawing/2014/main" id="{94DC50AB-7017-4123-8132-2B7689B02BEB}"/>
                </a:ext>
              </a:extLst>
            </p:cNvPr>
            <p:cNvGrpSpPr/>
            <p:nvPr/>
          </p:nvGrpSpPr>
          <p:grpSpPr>
            <a:xfrm>
              <a:off x="4159529" y="4341578"/>
              <a:ext cx="70461" cy="72000"/>
              <a:chOff x="5800094" y="2078182"/>
              <a:chExt cx="70461" cy="72000"/>
            </a:xfrm>
          </p:grpSpPr>
          <p:cxnSp>
            <p:nvCxnSpPr>
              <p:cNvPr id="1627" name="Straight Connector 1626">
                <a:extLst>
                  <a:ext uri="{FF2B5EF4-FFF2-40B4-BE49-F238E27FC236}">
                    <a16:creationId xmlns:a16="http://schemas.microsoft.com/office/drawing/2014/main" id="{7B96F2C2-5E0F-49E9-B9DD-B1C2FA7FE2D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28" name="Straight Connector 1627">
                <a:extLst>
                  <a:ext uri="{FF2B5EF4-FFF2-40B4-BE49-F238E27FC236}">
                    <a16:creationId xmlns:a16="http://schemas.microsoft.com/office/drawing/2014/main" id="{CDF4A22F-2976-4FE3-A58F-4E4E3C482B4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31" name="Group 1230">
              <a:extLst>
                <a:ext uri="{FF2B5EF4-FFF2-40B4-BE49-F238E27FC236}">
                  <a16:creationId xmlns:a16="http://schemas.microsoft.com/office/drawing/2014/main" id="{A9001C7F-0C8C-4BF1-9309-0B9D4257E488}"/>
                </a:ext>
              </a:extLst>
            </p:cNvPr>
            <p:cNvGrpSpPr/>
            <p:nvPr/>
          </p:nvGrpSpPr>
          <p:grpSpPr>
            <a:xfrm>
              <a:off x="4125242" y="4341578"/>
              <a:ext cx="70461" cy="72000"/>
              <a:chOff x="5800094" y="2078182"/>
              <a:chExt cx="70461" cy="72000"/>
            </a:xfrm>
          </p:grpSpPr>
          <p:cxnSp>
            <p:nvCxnSpPr>
              <p:cNvPr id="1625" name="Straight Connector 1624">
                <a:extLst>
                  <a:ext uri="{FF2B5EF4-FFF2-40B4-BE49-F238E27FC236}">
                    <a16:creationId xmlns:a16="http://schemas.microsoft.com/office/drawing/2014/main" id="{0A9CAF41-125E-491D-A401-86A77854444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26" name="Straight Connector 1625">
                <a:extLst>
                  <a:ext uri="{FF2B5EF4-FFF2-40B4-BE49-F238E27FC236}">
                    <a16:creationId xmlns:a16="http://schemas.microsoft.com/office/drawing/2014/main" id="{5A135C0F-529E-4722-BCA6-1F1D5D061D5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32" name="Group 1231">
              <a:extLst>
                <a:ext uri="{FF2B5EF4-FFF2-40B4-BE49-F238E27FC236}">
                  <a16:creationId xmlns:a16="http://schemas.microsoft.com/office/drawing/2014/main" id="{44FFBCAA-DD5D-415E-A083-D1E5A4C7A147}"/>
                </a:ext>
              </a:extLst>
            </p:cNvPr>
            <p:cNvGrpSpPr/>
            <p:nvPr/>
          </p:nvGrpSpPr>
          <p:grpSpPr>
            <a:xfrm>
              <a:off x="4038196" y="4181901"/>
              <a:ext cx="70461" cy="72000"/>
              <a:chOff x="5800094" y="2078182"/>
              <a:chExt cx="70461" cy="72000"/>
            </a:xfrm>
          </p:grpSpPr>
          <p:cxnSp>
            <p:nvCxnSpPr>
              <p:cNvPr id="1623" name="Straight Connector 1622">
                <a:extLst>
                  <a:ext uri="{FF2B5EF4-FFF2-40B4-BE49-F238E27FC236}">
                    <a16:creationId xmlns:a16="http://schemas.microsoft.com/office/drawing/2014/main" id="{2DC4607F-9F28-4A62-822D-4F3D4A244CC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24" name="Straight Connector 1623">
                <a:extLst>
                  <a:ext uri="{FF2B5EF4-FFF2-40B4-BE49-F238E27FC236}">
                    <a16:creationId xmlns:a16="http://schemas.microsoft.com/office/drawing/2014/main" id="{4CE5C75B-4C17-4186-A430-41DF2E084D4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33" name="Group 1232">
              <a:extLst>
                <a:ext uri="{FF2B5EF4-FFF2-40B4-BE49-F238E27FC236}">
                  <a16:creationId xmlns:a16="http://schemas.microsoft.com/office/drawing/2014/main" id="{BDBA010C-9BE3-4D98-9DEC-37EDE79BAE76}"/>
                </a:ext>
              </a:extLst>
            </p:cNvPr>
            <p:cNvGrpSpPr/>
            <p:nvPr/>
          </p:nvGrpSpPr>
          <p:grpSpPr>
            <a:xfrm>
              <a:off x="3996758" y="4181901"/>
              <a:ext cx="70461" cy="72000"/>
              <a:chOff x="5800094" y="2078182"/>
              <a:chExt cx="70461" cy="72000"/>
            </a:xfrm>
          </p:grpSpPr>
          <p:cxnSp>
            <p:nvCxnSpPr>
              <p:cNvPr id="1621" name="Straight Connector 1620">
                <a:extLst>
                  <a:ext uri="{FF2B5EF4-FFF2-40B4-BE49-F238E27FC236}">
                    <a16:creationId xmlns:a16="http://schemas.microsoft.com/office/drawing/2014/main" id="{D603A590-3C34-44AB-A34F-675A4F3B6B2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22" name="Straight Connector 1621">
                <a:extLst>
                  <a:ext uri="{FF2B5EF4-FFF2-40B4-BE49-F238E27FC236}">
                    <a16:creationId xmlns:a16="http://schemas.microsoft.com/office/drawing/2014/main" id="{8419107C-E6F4-45F7-ACBA-2E94E0F5161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34" name="Group 1233">
              <a:extLst>
                <a:ext uri="{FF2B5EF4-FFF2-40B4-BE49-F238E27FC236}">
                  <a16:creationId xmlns:a16="http://schemas.microsoft.com/office/drawing/2014/main" id="{3673B76B-6CB6-48BE-A1E8-96FD122EB1AF}"/>
                </a:ext>
              </a:extLst>
            </p:cNvPr>
            <p:cNvGrpSpPr/>
            <p:nvPr/>
          </p:nvGrpSpPr>
          <p:grpSpPr>
            <a:xfrm>
              <a:off x="3957279" y="4181901"/>
              <a:ext cx="70461" cy="72000"/>
              <a:chOff x="5800094" y="2078182"/>
              <a:chExt cx="70461" cy="72000"/>
            </a:xfrm>
          </p:grpSpPr>
          <p:cxnSp>
            <p:nvCxnSpPr>
              <p:cNvPr id="1619" name="Straight Connector 1618">
                <a:extLst>
                  <a:ext uri="{FF2B5EF4-FFF2-40B4-BE49-F238E27FC236}">
                    <a16:creationId xmlns:a16="http://schemas.microsoft.com/office/drawing/2014/main" id="{88E825BA-782C-4D77-A470-093EB3FDD23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20" name="Straight Connector 1619">
                <a:extLst>
                  <a:ext uri="{FF2B5EF4-FFF2-40B4-BE49-F238E27FC236}">
                    <a16:creationId xmlns:a16="http://schemas.microsoft.com/office/drawing/2014/main" id="{68C12359-BE08-4D45-8164-DD13BB29AC2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35" name="Group 1234">
              <a:extLst>
                <a:ext uri="{FF2B5EF4-FFF2-40B4-BE49-F238E27FC236}">
                  <a16:creationId xmlns:a16="http://schemas.microsoft.com/office/drawing/2014/main" id="{B41B6F60-34D1-45FB-92EE-0A8FDB591EBA}"/>
                </a:ext>
              </a:extLst>
            </p:cNvPr>
            <p:cNvGrpSpPr/>
            <p:nvPr/>
          </p:nvGrpSpPr>
          <p:grpSpPr>
            <a:xfrm>
              <a:off x="3923122" y="4181901"/>
              <a:ext cx="70461" cy="72000"/>
              <a:chOff x="5800094" y="2078182"/>
              <a:chExt cx="70461" cy="72000"/>
            </a:xfrm>
          </p:grpSpPr>
          <p:cxnSp>
            <p:nvCxnSpPr>
              <p:cNvPr id="1617" name="Straight Connector 1616">
                <a:extLst>
                  <a:ext uri="{FF2B5EF4-FFF2-40B4-BE49-F238E27FC236}">
                    <a16:creationId xmlns:a16="http://schemas.microsoft.com/office/drawing/2014/main" id="{D78B4D3E-DFCC-4F2F-9B3E-8EB7B9F61AE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18" name="Straight Connector 1617">
                <a:extLst>
                  <a:ext uri="{FF2B5EF4-FFF2-40B4-BE49-F238E27FC236}">
                    <a16:creationId xmlns:a16="http://schemas.microsoft.com/office/drawing/2014/main" id="{D7256EA9-8790-461F-979F-85983AF9916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36" name="Group 1235">
              <a:extLst>
                <a:ext uri="{FF2B5EF4-FFF2-40B4-BE49-F238E27FC236}">
                  <a16:creationId xmlns:a16="http://schemas.microsoft.com/office/drawing/2014/main" id="{0C962DB3-DA3B-497B-B797-AEC91FB421A3}"/>
                </a:ext>
              </a:extLst>
            </p:cNvPr>
            <p:cNvGrpSpPr/>
            <p:nvPr/>
          </p:nvGrpSpPr>
          <p:grpSpPr>
            <a:xfrm>
              <a:off x="3907694" y="4181901"/>
              <a:ext cx="70461" cy="72000"/>
              <a:chOff x="5800094" y="2078182"/>
              <a:chExt cx="70461" cy="72000"/>
            </a:xfrm>
          </p:grpSpPr>
          <p:cxnSp>
            <p:nvCxnSpPr>
              <p:cNvPr id="1615" name="Straight Connector 1614">
                <a:extLst>
                  <a:ext uri="{FF2B5EF4-FFF2-40B4-BE49-F238E27FC236}">
                    <a16:creationId xmlns:a16="http://schemas.microsoft.com/office/drawing/2014/main" id="{CED7D287-E764-464A-BC9C-8363CD0CD67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16" name="Straight Connector 1615">
                <a:extLst>
                  <a:ext uri="{FF2B5EF4-FFF2-40B4-BE49-F238E27FC236}">
                    <a16:creationId xmlns:a16="http://schemas.microsoft.com/office/drawing/2014/main" id="{8FB42C49-9C6F-4489-B193-8A155CB624B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37" name="Group 1236">
              <a:extLst>
                <a:ext uri="{FF2B5EF4-FFF2-40B4-BE49-F238E27FC236}">
                  <a16:creationId xmlns:a16="http://schemas.microsoft.com/office/drawing/2014/main" id="{898AE8D9-6BF9-4018-A7A6-DAA6073CAE5D}"/>
                </a:ext>
              </a:extLst>
            </p:cNvPr>
            <p:cNvGrpSpPr/>
            <p:nvPr/>
          </p:nvGrpSpPr>
          <p:grpSpPr>
            <a:xfrm>
              <a:off x="3878535" y="4181901"/>
              <a:ext cx="70461" cy="72000"/>
              <a:chOff x="5800094" y="2078182"/>
              <a:chExt cx="70461" cy="72000"/>
            </a:xfrm>
          </p:grpSpPr>
          <p:cxnSp>
            <p:nvCxnSpPr>
              <p:cNvPr id="1613" name="Straight Connector 1612">
                <a:extLst>
                  <a:ext uri="{FF2B5EF4-FFF2-40B4-BE49-F238E27FC236}">
                    <a16:creationId xmlns:a16="http://schemas.microsoft.com/office/drawing/2014/main" id="{7E86C21B-5C86-41AE-81E8-BBA71CA4D6E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14" name="Straight Connector 1613">
                <a:extLst>
                  <a:ext uri="{FF2B5EF4-FFF2-40B4-BE49-F238E27FC236}">
                    <a16:creationId xmlns:a16="http://schemas.microsoft.com/office/drawing/2014/main" id="{8C056251-F582-4FC8-8429-D6E4281FB5F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38" name="Group 1237">
              <a:extLst>
                <a:ext uri="{FF2B5EF4-FFF2-40B4-BE49-F238E27FC236}">
                  <a16:creationId xmlns:a16="http://schemas.microsoft.com/office/drawing/2014/main" id="{D0E1DE87-3E5E-47DF-8F7E-A6D520BEFB49}"/>
                </a:ext>
              </a:extLst>
            </p:cNvPr>
            <p:cNvGrpSpPr/>
            <p:nvPr/>
          </p:nvGrpSpPr>
          <p:grpSpPr>
            <a:xfrm>
              <a:off x="3862536" y="4181901"/>
              <a:ext cx="70461" cy="72000"/>
              <a:chOff x="5800094" y="2078182"/>
              <a:chExt cx="70461" cy="72000"/>
            </a:xfrm>
          </p:grpSpPr>
          <p:cxnSp>
            <p:nvCxnSpPr>
              <p:cNvPr id="1611" name="Straight Connector 1610">
                <a:extLst>
                  <a:ext uri="{FF2B5EF4-FFF2-40B4-BE49-F238E27FC236}">
                    <a16:creationId xmlns:a16="http://schemas.microsoft.com/office/drawing/2014/main" id="{96CE305E-A8E1-498D-90E8-9F039E787BD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12" name="Straight Connector 1611">
                <a:extLst>
                  <a:ext uri="{FF2B5EF4-FFF2-40B4-BE49-F238E27FC236}">
                    <a16:creationId xmlns:a16="http://schemas.microsoft.com/office/drawing/2014/main" id="{994FC6D3-60C3-4270-9CE7-A97977863DC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39" name="Group 1238">
              <a:extLst>
                <a:ext uri="{FF2B5EF4-FFF2-40B4-BE49-F238E27FC236}">
                  <a16:creationId xmlns:a16="http://schemas.microsoft.com/office/drawing/2014/main" id="{CCAC8887-4656-4A69-841C-5AD467B90AF2}"/>
                </a:ext>
              </a:extLst>
            </p:cNvPr>
            <p:cNvGrpSpPr/>
            <p:nvPr/>
          </p:nvGrpSpPr>
          <p:grpSpPr>
            <a:xfrm>
              <a:off x="3791039" y="4181901"/>
              <a:ext cx="70461" cy="72000"/>
              <a:chOff x="5800094" y="2078182"/>
              <a:chExt cx="70461" cy="72000"/>
            </a:xfrm>
          </p:grpSpPr>
          <p:cxnSp>
            <p:nvCxnSpPr>
              <p:cNvPr id="1609" name="Straight Connector 1608">
                <a:extLst>
                  <a:ext uri="{FF2B5EF4-FFF2-40B4-BE49-F238E27FC236}">
                    <a16:creationId xmlns:a16="http://schemas.microsoft.com/office/drawing/2014/main" id="{B19CE1D3-1BC1-45CB-B937-3D95BD0A7E1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10" name="Straight Connector 1609">
                <a:extLst>
                  <a:ext uri="{FF2B5EF4-FFF2-40B4-BE49-F238E27FC236}">
                    <a16:creationId xmlns:a16="http://schemas.microsoft.com/office/drawing/2014/main" id="{087A19DE-DF33-4E4D-8C60-DFFFE4297DF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40" name="Group 1239">
              <a:extLst>
                <a:ext uri="{FF2B5EF4-FFF2-40B4-BE49-F238E27FC236}">
                  <a16:creationId xmlns:a16="http://schemas.microsoft.com/office/drawing/2014/main" id="{3E64722D-AAC1-4BCF-9F0F-59858B504536}"/>
                </a:ext>
              </a:extLst>
            </p:cNvPr>
            <p:cNvGrpSpPr/>
            <p:nvPr/>
          </p:nvGrpSpPr>
          <p:grpSpPr>
            <a:xfrm>
              <a:off x="3769157" y="4181901"/>
              <a:ext cx="70461" cy="72000"/>
              <a:chOff x="5800094" y="2078182"/>
              <a:chExt cx="70461" cy="72000"/>
            </a:xfrm>
          </p:grpSpPr>
          <p:cxnSp>
            <p:nvCxnSpPr>
              <p:cNvPr id="1607" name="Straight Connector 1606">
                <a:extLst>
                  <a:ext uri="{FF2B5EF4-FFF2-40B4-BE49-F238E27FC236}">
                    <a16:creationId xmlns:a16="http://schemas.microsoft.com/office/drawing/2014/main" id="{D6035684-C72C-4DD9-BEC5-8E7A8903C7B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08" name="Straight Connector 1607">
                <a:extLst>
                  <a:ext uri="{FF2B5EF4-FFF2-40B4-BE49-F238E27FC236}">
                    <a16:creationId xmlns:a16="http://schemas.microsoft.com/office/drawing/2014/main" id="{9445119A-2E60-48CA-8F22-81AE6130A2F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41" name="Group 1240">
              <a:extLst>
                <a:ext uri="{FF2B5EF4-FFF2-40B4-BE49-F238E27FC236}">
                  <a16:creationId xmlns:a16="http://schemas.microsoft.com/office/drawing/2014/main" id="{7B905717-7CFC-4C3D-8698-461A31948C67}"/>
                </a:ext>
              </a:extLst>
            </p:cNvPr>
            <p:cNvGrpSpPr/>
            <p:nvPr/>
          </p:nvGrpSpPr>
          <p:grpSpPr>
            <a:xfrm>
              <a:off x="3742554" y="4181901"/>
              <a:ext cx="70461" cy="72000"/>
              <a:chOff x="5800094" y="2078182"/>
              <a:chExt cx="70461" cy="72000"/>
            </a:xfrm>
          </p:grpSpPr>
          <p:cxnSp>
            <p:nvCxnSpPr>
              <p:cNvPr id="1605" name="Straight Connector 1604">
                <a:extLst>
                  <a:ext uri="{FF2B5EF4-FFF2-40B4-BE49-F238E27FC236}">
                    <a16:creationId xmlns:a16="http://schemas.microsoft.com/office/drawing/2014/main" id="{06023414-B405-4F28-8DB7-1A1C2FE3275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06" name="Straight Connector 1605">
                <a:extLst>
                  <a:ext uri="{FF2B5EF4-FFF2-40B4-BE49-F238E27FC236}">
                    <a16:creationId xmlns:a16="http://schemas.microsoft.com/office/drawing/2014/main" id="{28131844-583A-499A-B864-986C21BA89B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42" name="Group 1241">
              <a:extLst>
                <a:ext uri="{FF2B5EF4-FFF2-40B4-BE49-F238E27FC236}">
                  <a16:creationId xmlns:a16="http://schemas.microsoft.com/office/drawing/2014/main" id="{4094FA65-F681-4286-A0AF-5E676A82FCA3}"/>
                </a:ext>
              </a:extLst>
            </p:cNvPr>
            <p:cNvGrpSpPr/>
            <p:nvPr/>
          </p:nvGrpSpPr>
          <p:grpSpPr>
            <a:xfrm>
              <a:off x="3695491" y="4181901"/>
              <a:ext cx="70461" cy="72000"/>
              <a:chOff x="5800094" y="2078182"/>
              <a:chExt cx="70461" cy="72000"/>
            </a:xfrm>
          </p:grpSpPr>
          <p:cxnSp>
            <p:nvCxnSpPr>
              <p:cNvPr id="1603" name="Straight Connector 1602">
                <a:extLst>
                  <a:ext uri="{FF2B5EF4-FFF2-40B4-BE49-F238E27FC236}">
                    <a16:creationId xmlns:a16="http://schemas.microsoft.com/office/drawing/2014/main" id="{680DEF54-063C-4685-A056-E475962E81C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04" name="Straight Connector 1603">
                <a:extLst>
                  <a:ext uri="{FF2B5EF4-FFF2-40B4-BE49-F238E27FC236}">
                    <a16:creationId xmlns:a16="http://schemas.microsoft.com/office/drawing/2014/main" id="{EB47E098-EB02-436A-997A-FB538D581FD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43" name="Group 1242">
              <a:extLst>
                <a:ext uri="{FF2B5EF4-FFF2-40B4-BE49-F238E27FC236}">
                  <a16:creationId xmlns:a16="http://schemas.microsoft.com/office/drawing/2014/main" id="{496BB137-82F6-4119-A24B-FB2DC836FFB2}"/>
                </a:ext>
              </a:extLst>
            </p:cNvPr>
            <p:cNvGrpSpPr/>
            <p:nvPr/>
          </p:nvGrpSpPr>
          <p:grpSpPr>
            <a:xfrm>
              <a:off x="3654433" y="4163425"/>
              <a:ext cx="70461" cy="72000"/>
              <a:chOff x="5800094" y="2078182"/>
              <a:chExt cx="70461" cy="72000"/>
            </a:xfrm>
          </p:grpSpPr>
          <p:cxnSp>
            <p:nvCxnSpPr>
              <p:cNvPr id="1601" name="Straight Connector 1600">
                <a:extLst>
                  <a:ext uri="{FF2B5EF4-FFF2-40B4-BE49-F238E27FC236}">
                    <a16:creationId xmlns:a16="http://schemas.microsoft.com/office/drawing/2014/main" id="{DC1EC033-C453-4510-9715-3559E298F2E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02" name="Straight Connector 1601">
                <a:extLst>
                  <a:ext uri="{FF2B5EF4-FFF2-40B4-BE49-F238E27FC236}">
                    <a16:creationId xmlns:a16="http://schemas.microsoft.com/office/drawing/2014/main" id="{A0872E91-0EC1-4C2B-A4ED-C12EAF15B3F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44" name="Group 1243">
              <a:extLst>
                <a:ext uri="{FF2B5EF4-FFF2-40B4-BE49-F238E27FC236}">
                  <a16:creationId xmlns:a16="http://schemas.microsoft.com/office/drawing/2014/main" id="{E7DCFC9C-AE1D-40DA-BBFD-DB4B8AD7CDB0}"/>
                </a:ext>
              </a:extLst>
            </p:cNvPr>
            <p:cNvGrpSpPr/>
            <p:nvPr/>
          </p:nvGrpSpPr>
          <p:grpSpPr>
            <a:xfrm>
              <a:off x="3622906" y="4162743"/>
              <a:ext cx="70461" cy="72000"/>
              <a:chOff x="5800094" y="2078182"/>
              <a:chExt cx="70461" cy="72000"/>
            </a:xfrm>
          </p:grpSpPr>
          <p:cxnSp>
            <p:nvCxnSpPr>
              <p:cNvPr id="1599" name="Straight Connector 1598">
                <a:extLst>
                  <a:ext uri="{FF2B5EF4-FFF2-40B4-BE49-F238E27FC236}">
                    <a16:creationId xmlns:a16="http://schemas.microsoft.com/office/drawing/2014/main" id="{5DD44E7C-14CD-4AB8-9CD0-62A94BBE63F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00" name="Straight Connector 1599">
                <a:extLst>
                  <a:ext uri="{FF2B5EF4-FFF2-40B4-BE49-F238E27FC236}">
                    <a16:creationId xmlns:a16="http://schemas.microsoft.com/office/drawing/2014/main" id="{B90BF6A3-127C-4896-9586-4CD99118B21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45" name="Group 1244">
              <a:extLst>
                <a:ext uri="{FF2B5EF4-FFF2-40B4-BE49-F238E27FC236}">
                  <a16:creationId xmlns:a16="http://schemas.microsoft.com/office/drawing/2014/main" id="{DFD1A95F-497C-4A77-B941-0A5DD72C57F5}"/>
                </a:ext>
              </a:extLst>
            </p:cNvPr>
            <p:cNvGrpSpPr/>
            <p:nvPr/>
          </p:nvGrpSpPr>
          <p:grpSpPr>
            <a:xfrm>
              <a:off x="3594521" y="4163425"/>
              <a:ext cx="70461" cy="72000"/>
              <a:chOff x="5800094" y="2078182"/>
              <a:chExt cx="70461" cy="72000"/>
            </a:xfrm>
          </p:grpSpPr>
          <p:cxnSp>
            <p:nvCxnSpPr>
              <p:cNvPr id="1597" name="Straight Connector 1596">
                <a:extLst>
                  <a:ext uri="{FF2B5EF4-FFF2-40B4-BE49-F238E27FC236}">
                    <a16:creationId xmlns:a16="http://schemas.microsoft.com/office/drawing/2014/main" id="{9C038E4E-C602-46C9-94E1-97CE8F5AB06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98" name="Straight Connector 1597">
                <a:extLst>
                  <a:ext uri="{FF2B5EF4-FFF2-40B4-BE49-F238E27FC236}">
                    <a16:creationId xmlns:a16="http://schemas.microsoft.com/office/drawing/2014/main" id="{D05E1D4A-29B6-4A31-95C6-6F6CEFA5A44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46" name="Group 1245">
              <a:extLst>
                <a:ext uri="{FF2B5EF4-FFF2-40B4-BE49-F238E27FC236}">
                  <a16:creationId xmlns:a16="http://schemas.microsoft.com/office/drawing/2014/main" id="{84380DBD-678A-43C5-9EFA-908FF2557598}"/>
                </a:ext>
              </a:extLst>
            </p:cNvPr>
            <p:cNvGrpSpPr/>
            <p:nvPr/>
          </p:nvGrpSpPr>
          <p:grpSpPr>
            <a:xfrm>
              <a:off x="3590992" y="4145506"/>
              <a:ext cx="70461" cy="72000"/>
              <a:chOff x="5800094" y="2078182"/>
              <a:chExt cx="70461" cy="72000"/>
            </a:xfrm>
          </p:grpSpPr>
          <p:cxnSp>
            <p:nvCxnSpPr>
              <p:cNvPr id="1595" name="Straight Connector 1594">
                <a:extLst>
                  <a:ext uri="{FF2B5EF4-FFF2-40B4-BE49-F238E27FC236}">
                    <a16:creationId xmlns:a16="http://schemas.microsoft.com/office/drawing/2014/main" id="{042A8CBB-154C-40B6-A262-31E6F1744BD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96" name="Straight Connector 1595">
                <a:extLst>
                  <a:ext uri="{FF2B5EF4-FFF2-40B4-BE49-F238E27FC236}">
                    <a16:creationId xmlns:a16="http://schemas.microsoft.com/office/drawing/2014/main" id="{7C7C7282-FE87-4183-B811-DDBD5A60AC1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47" name="Group 1246">
              <a:extLst>
                <a:ext uri="{FF2B5EF4-FFF2-40B4-BE49-F238E27FC236}">
                  <a16:creationId xmlns:a16="http://schemas.microsoft.com/office/drawing/2014/main" id="{C0BBC143-404A-4766-A816-F6115741061E}"/>
                </a:ext>
              </a:extLst>
            </p:cNvPr>
            <p:cNvGrpSpPr/>
            <p:nvPr/>
          </p:nvGrpSpPr>
          <p:grpSpPr>
            <a:xfrm>
              <a:off x="3577848" y="4127425"/>
              <a:ext cx="70461" cy="72000"/>
              <a:chOff x="5800094" y="2078182"/>
              <a:chExt cx="70461" cy="72000"/>
            </a:xfrm>
          </p:grpSpPr>
          <p:cxnSp>
            <p:nvCxnSpPr>
              <p:cNvPr id="1593" name="Straight Connector 1592">
                <a:extLst>
                  <a:ext uri="{FF2B5EF4-FFF2-40B4-BE49-F238E27FC236}">
                    <a16:creationId xmlns:a16="http://schemas.microsoft.com/office/drawing/2014/main" id="{7F10830C-4A48-43E3-B01C-DD9E5C0B9F5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94" name="Straight Connector 1593">
                <a:extLst>
                  <a:ext uri="{FF2B5EF4-FFF2-40B4-BE49-F238E27FC236}">
                    <a16:creationId xmlns:a16="http://schemas.microsoft.com/office/drawing/2014/main" id="{01E13187-6E09-4473-A7C3-954DEE314DF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48" name="Group 1247">
              <a:extLst>
                <a:ext uri="{FF2B5EF4-FFF2-40B4-BE49-F238E27FC236}">
                  <a16:creationId xmlns:a16="http://schemas.microsoft.com/office/drawing/2014/main" id="{6514C7C0-0B3A-4D22-823A-99187EC52249}"/>
                </a:ext>
              </a:extLst>
            </p:cNvPr>
            <p:cNvGrpSpPr/>
            <p:nvPr/>
          </p:nvGrpSpPr>
          <p:grpSpPr>
            <a:xfrm>
              <a:off x="3541157" y="4100125"/>
              <a:ext cx="70461" cy="72000"/>
              <a:chOff x="5800094" y="2078182"/>
              <a:chExt cx="70461" cy="72000"/>
            </a:xfrm>
          </p:grpSpPr>
          <p:cxnSp>
            <p:nvCxnSpPr>
              <p:cNvPr id="1591" name="Straight Connector 1590">
                <a:extLst>
                  <a:ext uri="{FF2B5EF4-FFF2-40B4-BE49-F238E27FC236}">
                    <a16:creationId xmlns:a16="http://schemas.microsoft.com/office/drawing/2014/main" id="{FBFF4B94-C745-48F4-8F9A-9EDD11A45A9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92" name="Straight Connector 1591">
                <a:extLst>
                  <a:ext uri="{FF2B5EF4-FFF2-40B4-BE49-F238E27FC236}">
                    <a16:creationId xmlns:a16="http://schemas.microsoft.com/office/drawing/2014/main" id="{672E7EF7-8679-4574-A152-AFBE820C996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49" name="Group 1248">
              <a:extLst>
                <a:ext uri="{FF2B5EF4-FFF2-40B4-BE49-F238E27FC236}">
                  <a16:creationId xmlns:a16="http://schemas.microsoft.com/office/drawing/2014/main" id="{FA88E1A5-B5FA-44CC-AE2D-AED2E028A054}"/>
                </a:ext>
              </a:extLst>
            </p:cNvPr>
            <p:cNvGrpSpPr/>
            <p:nvPr/>
          </p:nvGrpSpPr>
          <p:grpSpPr>
            <a:xfrm>
              <a:off x="3518635" y="4100125"/>
              <a:ext cx="70461" cy="72000"/>
              <a:chOff x="5800094" y="2078182"/>
              <a:chExt cx="70461" cy="72000"/>
            </a:xfrm>
          </p:grpSpPr>
          <p:cxnSp>
            <p:nvCxnSpPr>
              <p:cNvPr id="1589" name="Straight Connector 1588">
                <a:extLst>
                  <a:ext uri="{FF2B5EF4-FFF2-40B4-BE49-F238E27FC236}">
                    <a16:creationId xmlns:a16="http://schemas.microsoft.com/office/drawing/2014/main" id="{26F6C621-F702-466B-9131-128CC122512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90" name="Straight Connector 1589">
                <a:extLst>
                  <a:ext uri="{FF2B5EF4-FFF2-40B4-BE49-F238E27FC236}">
                    <a16:creationId xmlns:a16="http://schemas.microsoft.com/office/drawing/2014/main" id="{4968F720-0542-4480-8D95-D93E93F8E35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50" name="Group 1249">
              <a:extLst>
                <a:ext uri="{FF2B5EF4-FFF2-40B4-BE49-F238E27FC236}">
                  <a16:creationId xmlns:a16="http://schemas.microsoft.com/office/drawing/2014/main" id="{8824AC7E-EC1E-412B-8134-B8912BE1A047}"/>
                </a:ext>
              </a:extLst>
            </p:cNvPr>
            <p:cNvGrpSpPr/>
            <p:nvPr/>
          </p:nvGrpSpPr>
          <p:grpSpPr>
            <a:xfrm>
              <a:off x="3480869" y="4103156"/>
              <a:ext cx="70461" cy="72000"/>
              <a:chOff x="5800094" y="2078182"/>
              <a:chExt cx="70461" cy="72000"/>
            </a:xfrm>
          </p:grpSpPr>
          <p:cxnSp>
            <p:nvCxnSpPr>
              <p:cNvPr id="1587" name="Straight Connector 1586">
                <a:extLst>
                  <a:ext uri="{FF2B5EF4-FFF2-40B4-BE49-F238E27FC236}">
                    <a16:creationId xmlns:a16="http://schemas.microsoft.com/office/drawing/2014/main" id="{965E708A-948D-423D-A7B7-49689BF0359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88" name="Straight Connector 1587">
                <a:extLst>
                  <a:ext uri="{FF2B5EF4-FFF2-40B4-BE49-F238E27FC236}">
                    <a16:creationId xmlns:a16="http://schemas.microsoft.com/office/drawing/2014/main" id="{73B5AF3B-D170-4820-82C6-E14E9CCADF9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51" name="Group 1250">
              <a:extLst>
                <a:ext uri="{FF2B5EF4-FFF2-40B4-BE49-F238E27FC236}">
                  <a16:creationId xmlns:a16="http://schemas.microsoft.com/office/drawing/2014/main" id="{1EB94B57-B9B9-4444-883B-710C0D01267E}"/>
                </a:ext>
              </a:extLst>
            </p:cNvPr>
            <p:cNvGrpSpPr/>
            <p:nvPr/>
          </p:nvGrpSpPr>
          <p:grpSpPr>
            <a:xfrm>
              <a:off x="3455570" y="4102131"/>
              <a:ext cx="70461" cy="72000"/>
              <a:chOff x="5800094" y="2078182"/>
              <a:chExt cx="70461" cy="72000"/>
            </a:xfrm>
          </p:grpSpPr>
          <p:cxnSp>
            <p:nvCxnSpPr>
              <p:cNvPr id="1585" name="Straight Connector 1584">
                <a:extLst>
                  <a:ext uri="{FF2B5EF4-FFF2-40B4-BE49-F238E27FC236}">
                    <a16:creationId xmlns:a16="http://schemas.microsoft.com/office/drawing/2014/main" id="{B1052720-375D-4D5C-BAA2-4A32AC56230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86" name="Straight Connector 1585">
                <a:extLst>
                  <a:ext uri="{FF2B5EF4-FFF2-40B4-BE49-F238E27FC236}">
                    <a16:creationId xmlns:a16="http://schemas.microsoft.com/office/drawing/2014/main" id="{7417B473-2D14-436B-AA6E-21B378D186B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52" name="Group 1251">
              <a:extLst>
                <a:ext uri="{FF2B5EF4-FFF2-40B4-BE49-F238E27FC236}">
                  <a16:creationId xmlns:a16="http://schemas.microsoft.com/office/drawing/2014/main" id="{664C25E7-633D-45E5-A99C-2494763A812B}"/>
                </a:ext>
              </a:extLst>
            </p:cNvPr>
            <p:cNvGrpSpPr/>
            <p:nvPr/>
          </p:nvGrpSpPr>
          <p:grpSpPr>
            <a:xfrm>
              <a:off x="3408556" y="4100125"/>
              <a:ext cx="70461" cy="72000"/>
              <a:chOff x="5800094" y="2078182"/>
              <a:chExt cx="70461" cy="72000"/>
            </a:xfrm>
          </p:grpSpPr>
          <p:cxnSp>
            <p:nvCxnSpPr>
              <p:cNvPr id="1583" name="Straight Connector 1582">
                <a:extLst>
                  <a:ext uri="{FF2B5EF4-FFF2-40B4-BE49-F238E27FC236}">
                    <a16:creationId xmlns:a16="http://schemas.microsoft.com/office/drawing/2014/main" id="{ACF81354-06EC-41C3-AC17-90203BE265D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84" name="Straight Connector 1583">
                <a:extLst>
                  <a:ext uri="{FF2B5EF4-FFF2-40B4-BE49-F238E27FC236}">
                    <a16:creationId xmlns:a16="http://schemas.microsoft.com/office/drawing/2014/main" id="{81A89F6E-FCBB-4A87-A69D-C8A86D5FEE7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53" name="Group 1252">
              <a:extLst>
                <a:ext uri="{FF2B5EF4-FFF2-40B4-BE49-F238E27FC236}">
                  <a16:creationId xmlns:a16="http://schemas.microsoft.com/office/drawing/2014/main" id="{DAB4B0F8-1CBE-41D7-8413-8B21CF7501FC}"/>
                </a:ext>
              </a:extLst>
            </p:cNvPr>
            <p:cNvGrpSpPr/>
            <p:nvPr/>
          </p:nvGrpSpPr>
          <p:grpSpPr>
            <a:xfrm>
              <a:off x="3395282" y="4075656"/>
              <a:ext cx="70461" cy="72000"/>
              <a:chOff x="5800094" y="2078182"/>
              <a:chExt cx="70461" cy="72000"/>
            </a:xfrm>
          </p:grpSpPr>
          <p:cxnSp>
            <p:nvCxnSpPr>
              <p:cNvPr id="1581" name="Straight Connector 1580">
                <a:extLst>
                  <a:ext uri="{FF2B5EF4-FFF2-40B4-BE49-F238E27FC236}">
                    <a16:creationId xmlns:a16="http://schemas.microsoft.com/office/drawing/2014/main" id="{6FCB9355-ADE4-4682-9A8C-0B0A7821FBF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82" name="Straight Connector 1581">
                <a:extLst>
                  <a:ext uri="{FF2B5EF4-FFF2-40B4-BE49-F238E27FC236}">
                    <a16:creationId xmlns:a16="http://schemas.microsoft.com/office/drawing/2014/main" id="{2C2D9F91-F4D8-4EE1-9B6D-651380987C9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54" name="Group 1253">
              <a:extLst>
                <a:ext uri="{FF2B5EF4-FFF2-40B4-BE49-F238E27FC236}">
                  <a16:creationId xmlns:a16="http://schemas.microsoft.com/office/drawing/2014/main" id="{4B12A03F-8539-44BA-B76C-0FF4C7C1AEC1}"/>
                </a:ext>
              </a:extLst>
            </p:cNvPr>
            <p:cNvGrpSpPr/>
            <p:nvPr/>
          </p:nvGrpSpPr>
          <p:grpSpPr>
            <a:xfrm>
              <a:off x="3390370" y="4019675"/>
              <a:ext cx="70461" cy="72000"/>
              <a:chOff x="5800094" y="2078182"/>
              <a:chExt cx="70461" cy="72000"/>
            </a:xfrm>
          </p:grpSpPr>
          <p:cxnSp>
            <p:nvCxnSpPr>
              <p:cNvPr id="1579" name="Straight Connector 1578">
                <a:extLst>
                  <a:ext uri="{FF2B5EF4-FFF2-40B4-BE49-F238E27FC236}">
                    <a16:creationId xmlns:a16="http://schemas.microsoft.com/office/drawing/2014/main" id="{4503A952-0D0D-49B2-9C0D-18B8C95B682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80" name="Straight Connector 1579">
                <a:extLst>
                  <a:ext uri="{FF2B5EF4-FFF2-40B4-BE49-F238E27FC236}">
                    <a16:creationId xmlns:a16="http://schemas.microsoft.com/office/drawing/2014/main" id="{64D2691E-5E21-4C2C-AC67-EBC29975251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55" name="Group 1254">
              <a:extLst>
                <a:ext uri="{FF2B5EF4-FFF2-40B4-BE49-F238E27FC236}">
                  <a16:creationId xmlns:a16="http://schemas.microsoft.com/office/drawing/2014/main" id="{74AA02E7-1B8D-4CCF-A9FD-AE32B0462795}"/>
                </a:ext>
              </a:extLst>
            </p:cNvPr>
            <p:cNvGrpSpPr/>
            <p:nvPr/>
          </p:nvGrpSpPr>
          <p:grpSpPr>
            <a:xfrm>
              <a:off x="3373325" y="4000467"/>
              <a:ext cx="70461" cy="72000"/>
              <a:chOff x="5800094" y="2078182"/>
              <a:chExt cx="70461" cy="72000"/>
            </a:xfrm>
          </p:grpSpPr>
          <p:cxnSp>
            <p:nvCxnSpPr>
              <p:cNvPr id="1577" name="Straight Connector 1576">
                <a:extLst>
                  <a:ext uri="{FF2B5EF4-FFF2-40B4-BE49-F238E27FC236}">
                    <a16:creationId xmlns:a16="http://schemas.microsoft.com/office/drawing/2014/main" id="{E4A3DB3C-F8D8-4CCB-BE59-A9C937C35ED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78" name="Straight Connector 1577">
                <a:extLst>
                  <a:ext uri="{FF2B5EF4-FFF2-40B4-BE49-F238E27FC236}">
                    <a16:creationId xmlns:a16="http://schemas.microsoft.com/office/drawing/2014/main" id="{58C60068-9516-4AD2-84B3-A594090170E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56" name="Group 1255">
              <a:extLst>
                <a:ext uri="{FF2B5EF4-FFF2-40B4-BE49-F238E27FC236}">
                  <a16:creationId xmlns:a16="http://schemas.microsoft.com/office/drawing/2014/main" id="{9F2CCE44-F3CB-4E20-AAA9-0666C8958C4C}"/>
                </a:ext>
              </a:extLst>
            </p:cNvPr>
            <p:cNvGrpSpPr/>
            <p:nvPr/>
          </p:nvGrpSpPr>
          <p:grpSpPr>
            <a:xfrm>
              <a:off x="3341046" y="3988687"/>
              <a:ext cx="70461" cy="72000"/>
              <a:chOff x="5800094" y="2078182"/>
              <a:chExt cx="70461" cy="72000"/>
            </a:xfrm>
          </p:grpSpPr>
          <p:cxnSp>
            <p:nvCxnSpPr>
              <p:cNvPr id="1575" name="Straight Connector 1574">
                <a:extLst>
                  <a:ext uri="{FF2B5EF4-FFF2-40B4-BE49-F238E27FC236}">
                    <a16:creationId xmlns:a16="http://schemas.microsoft.com/office/drawing/2014/main" id="{11D4E325-7511-4659-95BD-E02A137D57B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76" name="Straight Connector 1575">
                <a:extLst>
                  <a:ext uri="{FF2B5EF4-FFF2-40B4-BE49-F238E27FC236}">
                    <a16:creationId xmlns:a16="http://schemas.microsoft.com/office/drawing/2014/main" id="{4233A463-C074-461B-BFA1-A2726CABF64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57" name="Group 1256">
              <a:extLst>
                <a:ext uri="{FF2B5EF4-FFF2-40B4-BE49-F238E27FC236}">
                  <a16:creationId xmlns:a16="http://schemas.microsoft.com/office/drawing/2014/main" id="{B5B3A91B-C36B-4ECF-8066-A2F95409DD9A}"/>
                </a:ext>
              </a:extLst>
            </p:cNvPr>
            <p:cNvGrpSpPr/>
            <p:nvPr/>
          </p:nvGrpSpPr>
          <p:grpSpPr>
            <a:xfrm>
              <a:off x="3277179" y="3962398"/>
              <a:ext cx="70461" cy="72000"/>
              <a:chOff x="5800094" y="2078182"/>
              <a:chExt cx="70461" cy="72000"/>
            </a:xfrm>
          </p:grpSpPr>
          <p:cxnSp>
            <p:nvCxnSpPr>
              <p:cNvPr id="1573" name="Straight Connector 1572">
                <a:extLst>
                  <a:ext uri="{FF2B5EF4-FFF2-40B4-BE49-F238E27FC236}">
                    <a16:creationId xmlns:a16="http://schemas.microsoft.com/office/drawing/2014/main" id="{744E6F85-34B0-4989-9BE2-A3AEF362564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74" name="Straight Connector 1573">
                <a:extLst>
                  <a:ext uri="{FF2B5EF4-FFF2-40B4-BE49-F238E27FC236}">
                    <a16:creationId xmlns:a16="http://schemas.microsoft.com/office/drawing/2014/main" id="{7D7EFAFB-D9E6-44B0-A8D3-FE55F35FDD2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58" name="Group 1257">
              <a:extLst>
                <a:ext uri="{FF2B5EF4-FFF2-40B4-BE49-F238E27FC236}">
                  <a16:creationId xmlns:a16="http://schemas.microsoft.com/office/drawing/2014/main" id="{8003E397-95AC-4EFF-95F5-BDEDC41A7CB1}"/>
                </a:ext>
              </a:extLst>
            </p:cNvPr>
            <p:cNvGrpSpPr/>
            <p:nvPr/>
          </p:nvGrpSpPr>
          <p:grpSpPr>
            <a:xfrm>
              <a:off x="3277179" y="3892730"/>
              <a:ext cx="70461" cy="72000"/>
              <a:chOff x="5800094" y="2078182"/>
              <a:chExt cx="70461" cy="72000"/>
            </a:xfrm>
          </p:grpSpPr>
          <p:cxnSp>
            <p:nvCxnSpPr>
              <p:cNvPr id="1571" name="Straight Connector 1570">
                <a:extLst>
                  <a:ext uri="{FF2B5EF4-FFF2-40B4-BE49-F238E27FC236}">
                    <a16:creationId xmlns:a16="http://schemas.microsoft.com/office/drawing/2014/main" id="{25DE7DBE-94B3-4609-BF23-32B221C11F6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72" name="Straight Connector 1571">
                <a:extLst>
                  <a:ext uri="{FF2B5EF4-FFF2-40B4-BE49-F238E27FC236}">
                    <a16:creationId xmlns:a16="http://schemas.microsoft.com/office/drawing/2014/main" id="{E0C6CF7D-0100-405D-B1FB-2D549E4A9C5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59" name="Group 1258">
              <a:extLst>
                <a:ext uri="{FF2B5EF4-FFF2-40B4-BE49-F238E27FC236}">
                  <a16:creationId xmlns:a16="http://schemas.microsoft.com/office/drawing/2014/main" id="{2AFD7D2D-E3D2-489B-BECA-4610AEEE8263}"/>
                </a:ext>
              </a:extLst>
            </p:cNvPr>
            <p:cNvGrpSpPr/>
            <p:nvPr/>
          </p:nvGrpSpPr>
          <p:grpSpPr>
            <a:xfrm>
              <a:off x="3244850" y="3892663"/>
              <a:ext cx="70461" cy="72000"/>
              <a:chOff x="5800094" y="2078182"/>
              <a:chExt cx="70461" cy="72000"/>
            </a:xfrm>
          </p:grpSpPr>
          <p:cxnSp>
            <p:nvCxnSpPr>
              <p:cNvPr id="1569" name="Straight Connector 1568">
                <a:extLst>
                  <a:ext uri="{FF2B5EF4-FFF2-40B4-BE49-F238E27FC236}">
                    <a16:creationId xmlns:a16="http://schemas.microsoft.com/office/drawing/2014/main" id="{074D8551-FD07-4C89-925B-709A335EB9C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70" name="Straight Connector 1569">
                <a:extLst>
                  <a:ext uri="{FF2B5EF4-FFF2-40B4-BE49-F238E27FC236}">
                    <a16:creationId xmlns:a16="http://schemas.microsoft.com/office/drawing/2014/main" id="{E59AA107-47AE-4E6F-9627-60B7CB9B6AB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60" name="Group 1259">
              <a:extLst>
                <a:ext uri="{FF2B5EF4-FFF2-40B4-BE49-F238E27FC236}">
                  <a16:creationId xmlns:a16="http://schemas.microsoft.com/office/drawing/2014/main" id="{B216049A-AF5E-4919-A2CD-02471F333859}"/>
                </a:ext>
              </a:extLst>
            </p:cNvPr>
            <p:cNvGrpSpPr/>
            <p:nvPr/>
          </p:nvGrpSpPr>
          <p:grpSpPr>
            <a:xfrm>
              <a:off x="3216186" y="3891428"/>
              <a:ext cx="70461" cy="72000"/>
              <a:chOff x="5800094" y="2078182"/>
              <a:chExt cx="70461" cy="72000"/>
            </a:xfrm>
          </p:grpSpPr>
          <p:cxnSp>
            <p:nvCxnSpPr>
              <p:cNvPr id="1567" name="Straight Connector 1566">
                <a:extLst>
                  <a:ext uri="{FF2B5EF4-FFF2-40B4-BE49-F238E27FC236}">
                    <a16:creationId xmlns:a16="http://schemas.microsoft.com/office/drawing/2014/main" id="{43E8ADEA-3AC5-4711-BBBD-B832CC528AA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68" name="Straight Connector 1567">
                <a:extLst>
                  <a:ext uri="{FF2B5EF4-FFF2-40B4-BE49-F238E27FC236}">
                    <a16:creationId xmlns:a16="http://schemas.microsoft.com/office/drawing/2014/main" id="{C2BD442E-91E4-4F19-9225-806EF66A1E1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61" name="Group 1260">
              <a:extLst>
                <a:ext uri="{FF2B5EF4-FFF2-40B4-BE49-F238E27FC236}">
                  <a16:creationId xmlns:a16="http://schemas.microsoft.com/office/drawing/2014/main" id="{655D4508-0840-4C24-9F6D-31F222D7563E}"/>
                </a:ext>
              </a:extLst>
            </p:cNvPr>
            <p:cNvGrpSpPr/>
            <p:nvPr/>
          </p:nvGrpSpPr>
          <p:grpSpPr>
            <a:xfrm>
              <a:off x="3174389" y="3848891"/>
              <a:ext cx="70461" cy="72000"/>
              <a:chOff x="5800094" y="2078182"/>
              <a:chExt cx="70461" cy="72000"/>
            </a:xfrm>
          </p:grpSpPr>
          <p:cxnSp>
            <p:nvCxnSpPr>
              <p:cNvPr id="1565" name="Straight Connector 1564">
                <a:extLst>
                  <a:ext uri="{FF2B5EF4-FFF2-40B4-BE49-F238E27FC236}">
                    <a16:creationId xmlns:a16="http://schemas.microsoft.com/office/drawing/2014/main" id="{069B08F1-8DE5-4E58-89EC-95EC1386F63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66" name="Straight Connector 1565">
                <a:extLst>
                  <a:ext uri="{FF2B5EF4-FFF2-40B4-BE49-F238E27FC236}">
                    <a16:creationId xmlns:a16="http://schemas.microsoft.com/office/drawing/2014/main" id="{3B0A131E-EA8E-47CE-9031-872CCD89E69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62" name="Group 1261">
              <a:extLst>
                <a:ext uri="{FF2B5EF4-FFF2-40B4-BE49-F238E27FC236}">
                  <a16:creationId xmlns:a16="http://schemas.microsoft.com/office/drawing/2014/main" id="{BAD2D414-09DE-4672-91FB-44E8C2063EBB}"/>
                </a:ext>
              </a:extLst>
            </p:cNvPr>
            <p:cNvGrpSpPr/>
            <p:nvPr/>
          </p:nvGrpSpPr>
          <p:grpSpPr>
            <a:xfrm>
              <a:off x="3158689" y="3817460"/>
              <a:ext cx="70461" cy="72000"/>
              <a:chOff x="5800094" y="2078182"/>
              <a:chExt cx="70461" cy="72000"/>
            </a:xfrm>
          </p:grpSpPr>
          <p:cxnSp>
            <p:nvCxnSpPr>
              <p:cNvPr id="1563" name="Straight Connector 1562">
                <a:extLst>
                  <a:ext uri="{FF2B5EF4-FFF2-40B4-BE49-F238E27FC236}">
                    <a16:creationId xmlns:a16="http://schemas.microsoft.com/office/drawing/2014/main" id="{7978FE8B-D1C5-4CEF-9BE5-F6A6E1B9AF2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64" name="Straight Connector 1563">
                <a:extLst>
                  <a:ext uri="{FF2B5EF4-FFF2-40B4-BE49-F238E27FC236}">
                    <a16:creationId xmlns:a16="http://schemas.microsoft.com/office/drawing/2014/main" id="{AE8456E9-0966-470F-A3B3-AAE7FB53F42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63" name="Group 1262">
              <a:extLst>
                <a:ext uri="{FF2B5EF4-FFF2-40B4-BE49-F238E27FC236}">
                  <a16:creationId xmlns:a16="http://schemas.microsoft.com/office/drawing/2014/main" id="{F2B190ED-05B6-4A93-8D41-0B17FD7A95A4}"/>
                </a:ext>
              </a:extLst>
            </p:cNvPr>
            <p:cNvGrpSpPr/>
            <p:nvPr/>
          </p:nvGrpSpPr>
          <p:grpSpPr>
            <a:xfrm>
              <a:off x="3113928" y="3812891"/>
              <a:ext cx="70461" cy="72000"/>
              <a:chOff x="5800094" y="2078182"/>
              <a:chExt cx="70461" cy="72000"/>
            </a:xfrm>
          </p:grpSpPr>
          <p:cxnSp>
            <p:nvCxnSpPr>
              <p:cNvPr id="1561" name="Straight Connector 1560">
                <a:extLst>
                  <a:ext uri="{FF2B5EF4-FFF2-40B4-BE49-F238E27FC236}">
                    <a16:creationId xmlns:a16="http://schemas.microsoft.com/office/drawing/2014/main" id="{33F42D60-C25D-4AA2-A009-0491C4CF3E6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62" name="Straight Connector 1561">
                <a:extLst>
                  <a:ext uri="{FF2B5EF4-FFF2-40B4-BE49-F238E27FC236}">
                    <a16:creationId xmlns:a16="http://schemas.microsoft.com/office/drawing/2014/main" id="{E22B6235-0E3A-4062-BF2A-2365A6CA406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64" name="Group 1263">
              <a:extLst>
                <a:ext uri="{FF2B5EF4-FFF2-40B4-BE49-F238E27FC236}">
                  <a16:creationId xmlns:a16="http://schemas.microsoft.com/office/drawing/2014/main" id="{3FE196FD-F0C6-41C1-83A4-387761102520}"/>
                </a:ext>
              </a:extLst>
            </p:cNvPr>
            <p:cNvGrpSpPr/>
            <p:nvPr/>
          </p:nvGrpSpPr>
          <p:grpSpPr>
            <a:xfrm>
              <a:off x="3071599" y="3812891"/>
              <a:ext cx="70461" cy="72000"/>
              <a:chOff x="5800094" y="2078182"/>
              <a:chExt cx="70461" cy="72000"/>
            </a:xfrm>
          </p:grpSpPr>
          <p:cxnSp>
            <p:nvCxnSpPr>
              <p:cNvPr id="1559" name="Straight Connector 1558">
                <a:extLst>
                  <a:ext uri="{FF2B5EF4-FFF2-40B4-BE49-F238E27FC236}">
                    <a16:creationId xmlns:a16="http://schemas.microsoft.com/office/drawing/2014/main" id="{FB1C3214-5844-4BD8-92BC-16095821E4A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60" name="Straight Connector 1559">
                <a:extLst>
                  <a:ext uri="{FF2B5EF4-FFF2-40B4-BE49-F238E27FC236}">
                    <a16:creationId xmlns:a16="http://schemas.microsoft.com/office/drawing/2014/main" id="{F54CFEB8-E4F8-4263-911D-0E9F85179FD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65" name="Group 1264">
              <a:extLst>
                <a:ext uri="{FF2B5EF4-FFF2-40B4-BE49-F238E27FC236}">
                  <a16:creationId xmlns:a16="http://schemas.microsoft.com/office/drawing/2014/main" id="{089A9999-8416-4540-BC89-C2298ABEF42E}"/>
                </a:ext>
              </a:extLst>
            </p:cNvPr>
            <p:cNvGrpSpPr/>
            <p:nvPr/>
          </p:nvGrpSpPr>
          <p:grpSpPr>
            <a:xfrm>
              <a:off x="3075522" y="3777964"/>
              <a:ext cx="70461" cy="72000"/>
              <a:chOff x="5800094" y="2078182"/>
              <a:chExt cx="70461" cy="72000"/>
            </a:xfrm>
          </p:grpSpPr>
          <p:cxnSp>
            <p:nvCxnSpPr>
              <p:cNvPr id="1557" name="Straight Connector 1556">
                <a:extLst>
                  <a:ext uri="{FF2B5EF4-FFF2-40B4-BE49-F238E27FC236}">
                    <a16:creationId xmlns:a16="http://schemas.microsoft.com/office/drawing/2014/main" id="{0E9C88E9-A2BB-4F33-806D-FFAB359EE5A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58" name="Straight Connector 1557">
                <a:extLst>
                  <a:ext uri="{FF2B5EF4-FFF2-40B4-BE49-F238E27FC236}">
                    <a16:creationId xmlns:a16="http://schemas.microsoft.com/office/drawing/2014/main" id="{8898A357-CC03-4D1F-8005-2B011796D40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66" name="Group 1265">
              <a:extLst>
                <a:ext uri="{FF2B5EF4-FFF2-40B4-BE49-F238E27FC236}">
                  <a16:creationId xmlns:a16="http://schemas.microsoft.com/office/drawing/2014/main" id="{5F09BD27-C9DA-438D-A945-7D089C884B18}"/>
                </a:ext>
              </a:extLst>
            </p:cNvPr>
            <p:cNvGrpSpPr/>
            <p:nvPr/>
          </p:nvGrpSpPr>
          <p:grpSpPr>
            <a:xfrm>
              <a:off x="3069748" y="3749614"/>
              <a:ext cx="70461" cy="72000"/>
              <a:chOff x="5800094" y="2078182"/>
              <a:chExt cx="70461" cy="72000"/>
            </a:xfrm>
          </p:grpSpPr>
          <p:cxnSp>
            <p:nvCxnSpPr>
              <p:cNvPr id="1555" name="Straight Connector 1554">
                <a:extLst>
                  <a:ext uri="{FF2B5EF4-FFF2-40B4-BE49-F238E27FC236}">
                    <a16:creationId xmlns:a16="http://schemas.microsoft.com/office/drawing/2014/main" id="{73837610-4203-4119-96E8-09D1836A6D1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56" name="Straight Connector 1555">
                <a:extLst>
                  <a:ext uri="{FF2B5EF4-FFF2-40B4-BE49-F238E27FC236}">
                    <a16:creationId xmlns:a16="http://schemas.microsoft.com/office/drawing/2014/main" id="{90FE69A7-DD67-46BD-8253-57D4ECE94E3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67" name="Group 1266">
              <a:extLst>
                <a:ext uri="{FF2B5EF4-FFF2-40B4-BE49-F238E27FC236}">
                  <a16:creationId xmlns:a16="http://schemas.microsoft.com/office/drawing/2014/main" id="{C235D9BC-5F89-46B9-87E1-2C41B770D040}"/>
                </a:ext>
              </a:extLst>
            </p:cNvPr>
            <p:cNvGrpSpPr/>
            <p:nvPr/>
          </p:nvGrpSpPr>
          <p:grpSpPr>
            <a:xfrm>
              <a:off x="3060760" y="3727117"/>
              <a:ext cx="70461" cy="72000"/>
              <a:chOff x="5800094" y="2078182"/>
              <a:chExt cx="70461" cy="72000"/>
            </a:xfrm>
          </p:grpSpPr>
          <p:cxnSp>
            <p:nvCxnSpPr>
              <p:cNvPr id="1553" name="Straight Connector 1552">
                <a:extLst>
                  <a:ext uri="{FF2B5EF4-FFF2-40B4-BE49-F238E27FC236}">
                    <a16:creationId xmlns:a16="http://schemas.microsoft.com/office/drawing/2014/main" id="{209F359D-4446-4B3E-B171-1FE1B4EC3F7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54" name="Straight Connector 1553">
                <a:extLst>
                  <a:ext uri="{FF2B5EF4-FFF2-40B4-BE49-F238E27FC236}">
                    <a16:creationId xmlns:a16="http://schemas.microsoft.com/office/drawing/2014/main" id="{463FCB64-3717-43A7-A4CE-34185D3BD13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68" name="Group 1267">
              <a:extLst>
                <a:ext uri="{FF2B5EF4-FFF2-40B4-BE49-F238E27FC236}">
                  <a16:creationId xmlns:a16="http://schemas.microsoft.com/office/drawing/2014/main" id="{43D1AEDD-5447-4918-B2F1-0E5CDC20C2A4}"/>
                </a:ext>
              </a:extLst>
            </p:cNvPr>
            <p:cNvGrpSpPr/>
            <p:nvPr/>
          </p:nvGrpSpPr>
          <p:grpSpPr>
            <a:xfrm>
              <a:off x="3034518" y="3726827"/>
              <a:ext cx="70461" cy="72000"/>
              <a:chOff x="5800094" y="2078182"/>
              <a:chExt cx="70461" cy="72000"/>
            </a:xfrm>
          </p:grpSpPr>
          <p:cxnSp>
            <p:nvCxnSpPr>
              <p:cNvPr id="1551" name="Straight Connector 1550">
                <a:extLst>
                  <a:ext uri="{FF2B5EF4-FFF2-40B4-BE49-F238E27FC236}">
                    <a16:creationId xmlns:a16="http://schemas.microsoft.com/office/drawing/2014/main" id="{105E5A21-3A1D-4C62-BB69-C7A1A652908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52" name="Straight Connector 1551">
                <a:extLst>
                  <a:ext uri="{FF2B5EF4-FFF2-40B4-BE49-F238E27FC236}">
                    <a16:creationId xmlns:a16="http://schemas.microsoft.com/office/drawing/2014/main" id="{29FC55EE-6305-49DF-BBA9-83236FB9DFA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69" name="Group 1268">
              <a:extLst>
                <a:ext uri="{FF2B5EF4-FFF2-40B4-BE49-F238E27FC236}">
                  <a16:creationId xmlns:a16="http://schemas.microsoft.com/office/drawing/2014/main" id="{DF29FB7B-B577-4726-BDBE-69023BDA3983}"/>
                </a:ext>
              </a:extLst>
            </p:cNvPr>
            <p:cNvGrpSpPr/>
            <p:nvPr/>
          </p:nvGrpSpPr>
          <p:grpSpPr>
            <a:xfrm>
              <a:off x="3001985" y="3722905"/>
              <a:ext cx="70461" cy="72000"/>
              <a:chOff x="5800094" y="2078182"/>
              <a:chExt cx="70461" cy="72000"/>
            </a:xfrm>
          </p:grpSpPr>
          <p:cxnSp>
            <p:nvCxnSpPr>
              <p:cNvPr id="1549" name="Straight Connector 1548">
                <a:extLst>
                  <a:ext uri="{FF2B5EF4-FFF2-40B4-BE49-F238E27FC236}">
                    <a16:creationId xmlns:a16="http://schemas.microsoft.com/office/drawing/2014/main" id="{5E14497F-F39F-4BBF-90B2-3A2FA93856C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50" name="Straight Connector 1549">
                <a:extLst>
                  <a:ext uri="{FF2B5EF4-FFF2-40B4-BE49-F238E27FC236}">
                    <a16:creationId xmlns:a16="http://schemas.microsoft.com/office/drawing/2014/main" id="{D3CFD8F0-310C-4798-B64A-2CC978EF476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70" name="Group 1269">
              <a:extLst>
                <a:ext uri="{FF2B5EF4-FFF2-40B4-BE49-F238E27FC236}">
                  <a16:creationId xmlns:a16="http://schemas.microsoft.com/office/drawing/2014/main" id="{6680937F-A8CF-4B9F-A046-2F4D275F456C}"/>
                </a:ext>
              </a:extLst>
            </p:cNvPr>
            <p:cNvGrpSpPr/>
            <p:nvPr/>
          </p:nvGrpSpPr>
          <p:grpSpPr>
            <a:xfrm>
              <a:off x="2998505" y="3701453"/>
              <a:ext cx="70461" cy="72000"/>
              <a:chOff x="5800094" y="2078182"/>
              <a:chExt cx="70461" cy="72000"/>
            </a:xfrm>
          </p:grpSpPr>
          <p:cxnSp>
            <p:nvCxnSpPr>
              <p:cNvPr id="1547" name="Straight Connector 1546">
                <a:extLst>
                  <a:ext uri="{FF2B5EF4-FFF2-40B4-BE49-F238E27FC236}">
                    <a16:creationId xmlns:a16="http://schemas.microsoft.com/office/drawing/2014/main" id="{FA8902EF-EC3A-4F1F-9D36-6EE885327FD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48" name="Straight Connector 1547">
                <a:extLst>
                  <a:ext uri="{FF2B5EF4-FFF2-40B4-BE49-F238E27FC236}">
                    <a16:creationId xmlns:a16="http://schemas.microsoft.com/office/drawing/2014/main" id="{DB5072D8-C57A-402A-B575-34725B8A6FB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71" name="Group 1270">
              <a:extLst>
                <a:ext uri="{FF2B5EF4-FFF2-40B4-BE49-F238E27FC236}">
                  <a16:creationId xmlns:a16="http://schemas.microsoft.com/office/drawing/2014/main" id="{4FA30BA8-07FD-41BD-83B4-3CAE5C79BC6F}"/>
                </a:ext>
              </a:extLst>
            </p:cNvPr>
            <p:cNvGrpSpPr/>
            <p:nvPr/>
          </p:nvGrpSpPr>
          <p:grpSpPr>
            <a:xfrm>
              <a:off x="2997258" y="3683120"/>
              <a:ext cx="70461" cy="72000"/>
              <a:chOff x="5800094" y="2078182"/>
              <a:chExt cx="70461" cy="72000"/>
            </a:xfrm>
          </p:grpSpPr>
          <p:cxnSp>
            <p:nvCxnSpPr>
              <p:cNvPr id="1545" name="Straight Connector 1544">
                <a:extLst>
                  <a:ext uri="{FF2B5EF4-FFF2-40B4-BE49-F238E27FC236}">
                    <a16:creationId xmlns:a16="http://schemas.microsoft.com/office/drawing/2014/main" id="{7C033F80-EE9B-4EB1-833C-56A87FAB15B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46" name="Straight Connector 1545">
                <a:extLst>
                  <a:ext uri="{FF2B5EF4-FFF2-40B4-BE49-F238E27FC236}">
                    <a16:creationId xmlns:a16="http://schemas.microsoft.com/office/drawing/2014/main" id="{B4B09DD7-87F3-497B-A171-D7F0388F91D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72" name="Group 1271">
              <a:extLst>
                <a:ext uri="{FF2B5EF4-FFF2-40B4-BE49-F238E27FC236}">
                  <a16:creationId xmlns:a16="http://schemas.microsoft.com/office/drawing/2014/main" id="{2EB55D03-4C88-430A-A886-2D6B851AE635}"/>
                </a:ext>
              </a:extLst>
            </p:cNvPr>
            <p:cNvGrpSpPr/>
            <p:nvPr/>
          </p:nvGrpSpPr>
          <p:grpSpPr>
            <a:xfrm>
              <a:off x="3001138" y="3652241"/>
              <a:ext cx="70461" cy="72000"/>
              <a:chOff x="5800094" y="2078182"/>
              <a:chExt cx="70461" cy="72000"/>
            </a:xfrm>
          </p:grpSpPr>
          <p:cxnSp>
            <p:nvCxnSpPr>
              <p:cNvPr id="1543" name="Straight Connector 1542">
                <a:extLst>
                  <a:ext uri="{FF2B5EF4-FFF2-40B4-BE49-F238E27FC236}">
                    <a16:creationId xmlns:a16="http://schemas.microsoft.com/office/drawing/2014/main" id="{7E8E99B4-315B-4ECD-8267-6BFC92664AE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44" name="Straight Connector 1543">
                <a:extLst>
                  <a:ext uri="{FF2B5EF4-FFF2-40B4-BE49-F238E27FC236}">
                    <a16:creationId xmlns:a16="http://schemas.microsoft.com/office/drawing/2014/main" id="{5FB000C8-450B-4CC8-85F2-548E4D58BE3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73" name="Group 1272">
              <a:extLst>
                <a:ext uri="{FF2B5EF4-FFF2-40B4-BE49-F238E27FC236}">
                  <a16:creationId xmlns:a16="http://schemas.microsoft.com/office/drawing/2014/main" id="{A5326563-2F5D-4C3C-9BFC-CE93A899BD32}"/>
                </a:ext>
              </a:extLst>
            </p:cNvPr>
            <p:cNvGrpSpPr/>
            <p:nvPr/>
          </p:nvGrpSpPr>
          <p:grpSpPr>
            <a:xfrm>
              <a:off x="2986737" y="3629309"/>
              <a:ext cx="70461" cy="72000"/>
              <a:chOff x="5800094" y="2078182"/>
              <a:chExt cx="70461" cy="72000"/>
            </a:xfrm>
          </p:grpSpPr>
          <p:cxnSp>
            <p:nvCxnSpPr>
              <p:cNvPr id="1541" name="Straight Connector 1540">
                <a:extLst>
                  <a:ext uri="{FF2B5EF4-FFF2-40B4-BE49-F238E27FC236}">
                    <a16:creationId xmlns:a16="http://schemas.microsoft.com/office/drawing/2014/main" id="{79E9DD35-94D3-4887-827C-72704AE7E3A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42" name="Straight Connector 1541">
                <a:extLst>
                  <a:ext uri="{FF2B5EF4-FFF2-40B4-BE49-F238E27FC236}">
                    <a16:creationId xmlns:a16="http://schemas.microsoft.com/office/drawing/2014/main" id="{84EFFF7A-A810-4611-AE22-5E4C864FC96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74" name="Group 1273">
              <a:extLst>
                <a:ext uri="{FF2B5EF4-FFF2-40B4-BE49-F238E27FC236}">
                  <a16:creationId xmlns:a16="http://schemas.microsoft.com/office/drawing/2014/main" id="{60889EAD-85A3-4349-95ED-3AA4412C30BA}"/>
                </a:ext>
              </a:extLst>
            </p:cNvPr>
            <p:cNvGrpSpPr/>
            <p:nvPr/>
          </p:nvGrpSpPr>
          <p:grpSpPr>
            <a:xfrm>
              <a:off x="2950575" y="3626181"/>
              <a:ext cx="70461" cy="72000"/>
              <a:chOff x="5800094" y="2078182"/>
              <a:chExt cx="70461" cy="72000"/>
            </a:xfrm>
          </p:grpSpPr>
          <p:cxnSp>
            <p:nvCxnSpPr>
              <p:cNvPr id="1539" name="Straight Connector 1538">
                <a:extLst>
                  <a:ext uri="{FF2B5EF4-FFF2-40B4-BE49-F238E27FC236}">
                    <a16:creationId xmlns:a16="http://schemas.microsoft.com/office/drawing/2014/main" id="{BBF46035-3E43-4E1E-A25D-ABAB004D70D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40" name="Straight Connector 1539">
                <a:extLst>
                  <a:ext uri="{FF2B5EF4-FFF2-40B4-BE49-F238E27FC236}">
                    <a16:creationId xmlns:a16="http://schemas.microsoft.com/office/drawing/2014/main" id="{267282B7-CD1E-4E35-98F6-4BF72585BB4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75" name="Group 1274">
              <a:extLst>
                <a:ext uri="{FF2B5EF4-FFF2-40B4-BE49-F238E27FC236}">
                  <a16:creationId xmlns:a16="http://schemas.microsoft.com/office/drawing/2014/main" id="{8610137F-C539-40BC-B59F-10D3276AD2EC}"/>
                </a:ext>
              </a:extLst>
            </p:cNvPr>
            <p:cNvGrpSpPr/>
            <p:nvPr/>
          </p:nvGrpSpPr>
          <p:grpSpPr>
            <a:xfrm>
              <a:off x="2935417" y="3626181"/>
              <a:ext cx="70461" cy="72000"/>
              <a:chOff x="5800094" y="2078182"/>
              <a:chExt cx="70461" cy="72000"/>
            </a:xfrm>
          </p:grpSpPr>
          <p:cxnSp>
            <p:nvCxnSpPr>
              <p:cNvPr id="1537" name="Straight Connector 1536">
                <a:extLst>
                  <a:ext uri="{FF2B5EF4-FFF2-40B4-BE49-F238E27FC236}">
                    <a16:creationId xmlns:a16="http://schemas.microsoft.com/office/drawing/2014/main" id="{775B8321-1720-43F7-B09E-5CD91B7EEC7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38" name="Straight Connector 1537">
                <a:extLst>
                  <a:ext uri="{FF2B5EF4-FFF2-40B4-BE49-F238E27FC236}">
                    <a16:creationId xmlns:a16="http://schemas.microsoft.com/office/drawing/2014/main" id="{D47CF48F-D6F4-4B78-B4CB-6B8CD5F7108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76" name="Group 1275">
              <a:extLst>
                <a:ext uri="{FF2B5EF4-FFF2-40B4-BE49-F238E27FC236}">
                  <a16:creationId xmlns:a16="http://schemas.microsoft.com/office/drawing/2014/main" id="{949A6BC1-65CA-4DD2-98C6-31B9914CB1B2}"/>
                </a:ext>
              </a:extLst>
            </p:cNvPr>
            <p:cNvGrpSpPr/>
            <p:nvPr/>
          </p:nvGrpSpPr>
          <p:grpSpPr>
            <a:xfrm>
              <a:off x="2910429" y="3626181"/>
              <a:ext cx="70461" cy="72000"/>
              <a:chOff x="5800094" y="2078182"/>
              <a:chExt cx="70461" cy="72000"/>
            </a:xfrm>
          </p:grpSpPr>
          <p:cxnSp>
            <p:nvCxnSpPr>
              <p:cNvPr id="1535" name="Straight Connector 1534">
                <a:extLst>
                  <a:ext uri="{FF2B5EF4-FFF2-40B4-BE49-F238E27FC236}">
                    <a16:creationId xmlns:a16="http://schemas.microsoft.com/office/drawing/2014/main" id="{46FC92EF-06C3-4334-9C2D-C9068B0F9B3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36" name="Straight Connector 1535">
                <a:extLst>
                  <a:ext uri="{FF2B5EF4-FFF2-40B4-BE49-F238E27FC236}">
                    <a16:creationId xmlns:a16="http://schemas.microsoft.com/office/drawing/2014/main" id="{39997F27-AE10-4E30-B2A7-3C1F97D7CA4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77" name="Group 1276">
              <a:extLst>
                <a:ext uri="{FF2B5EF4-FFF2-40B4-BE49-F238E27FC236}">
                  <a16:creationId xmlns:a16="http://schemas.microsoft.com/office/drawing/2014/main" id="{D062B414-DDB8-4038-8B28-3EC166458241}"/>
                </a:ext>
              </a:extLst>
            </p:cNvPr>
            <p:cNvGrpSpPr/>
            <p:nvPr/>
          </p:nvGrpSpPr>
          <p:grpSpPr>
            <a:xfrm>
              <a:off x="2883585" y="3626181"/>
              <a:ext cx="70461" cy="72000"/>
              <a:chOff x="5800094" y="2078182"/>
              <a:chExt cx="70461" cy="72000"/>
            </a:xfrm>
          </p:grpSpPr>
          <p:cxnSp>
            <p:nvCxnSpPr>
              <p:cNvPr id="1533" name="Straight Connector 1532">
                <a:extLst>
                  <a:ext uri="{FF2B5EF4-FFF2-40B4-BE49-F238E27FC236}">
                    <a16:creationId xmlns:a16="http://schemas.microsoft.com/office/drawing/2014/main" id="{BB5B7151-3867-4522-9086-DD372553179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34" name="Straight Connector 1533">
                <a:extLst>
                  <a:ext uri="{FF2B5EF4-FFF2-40B4-BE49-F238E27FC236}">
                    <a16:creationId xmlns:a16="http://schemas.microsoft.com/office/drawing/2014/main" id="{6E519287-E59A-4611-AAD0-ADAE42E8835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78" name="Group 1277">
              <a:extLst>
                <a:ext uri="{FF2B5EF4-FFF2-40B4-BE49-F238E27FC236}">
                  <a16:creationId xmlns:a16="http://schemas.microsoft.com/office/drawing/2014/main" id="{209642E5-0C78-4DDF-A604-29EFDD9C720C}"/>
                </a:ext>
              </a:extLst>
            </p:cNvPr>
            <p:cNvGrpSpPr/>
            <p:nvPr/>
          </p:nvGrpSpPr>
          <p:grpSpPr>
            <a:xfrm>
              <a:off x="2884217" y="3518181"/>
              <a:ext cx="70461" cy="72000"/>
              <a:chOff x="5800094" y="2078182"/>
              <a:chExt cx="70461" cy="72000"/>
            </a:xfrm>
          </p:grpSpPr>
          <p:cxnSp>
            <p:nvCxnSpPr>
              <p:cNvPr id="1531" name="Straight Connector 1530">
                <a:extLst>
                  <a:ext uri="{FF2B5EF4-FFF2-40B4-BE49-F238E27FC236}">
                    <a16:creationId xmlns:a16="http://schemas.microsoft.com/office/drawing/2014/main" id="{E577ED7B-F4F9-4613-8721-7C51D31F469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32" name="Straight Connector 1531">
                <a:extLst>
                  <a:ext uri="{FF2B5EF4-FFF2-40B4-BE49-F238E27FC236}">
                    <a16:creationId xmlns:a16="http://schemas.microsoft.com/office/drawing/2014/main" id="{FC65B0DC-CA7A-41FA-A3B7-18B363D0C30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79" name="Group 1278">
              <a:extLst>
                <a:ext uri="{FF2B5EF4-FFF2-40B4-BE49-F238E27FC236}">
                  <a16:creationId xmlns:a16="http://schemas.microsoft.com/office/drawing/2014/main" id="{1FC190AB-694D-4458-A172-0325B19DDE12}"/>
                </a:ext>
              </a:extLst>
            </p:cNvPr>
            <p:cNvGrpSpPr/>
            <p:nvPr/>
          </p:nvGrpSpPr>
          <p:grpSpPr>
            <a:xfrm>
              <a:off x="2881400" y="3478743"/>
              <a:ext cx="70461" cy="72000"/>
              <a:chOff x="5800094" y="2078182"/>
              <a:chExt cx="70461" cy="72000"/>
            </a:xfrm>
          </p:grpSpPr>
          <p:cxnSp>
            <p:nvCxnSpPr>
              <p:cNvPr id="1529" name="Straight Connector 1528">
                <a:extLst>
                  <a:ext uri="{FF2B5EF4-FFF2-40B4-BE49-F238E27FC236}">
                    <a16:creationId xmlns:a16="http://schemas.microsoft.com/office/drawing/2014/main" id="{55097024-82B3-4A18-A4C5-4D75871E436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30" name="Straight Connector 1529">
                <a:extLst>
                  <a:ext uri="{FF2B5EF4-FFF2-40B4-BE49-F238E27FC236}">
                    <a16:creationId xmlns:a16="http://schemas.microsoft.com/office/drawing/2014/main" id="{A6F21982-713C-4A94-A995-11B63CD4174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80" name="Group 1279">
              <a:extLst>
                <a:ext uri="{FF2B5EF4-FFF2-40B4-BE49-F238E27FC236}">
                  <a16:creationId xmlns:a16="http://schemas.microsoft.com/office/drawing/2014/main" id="{57B35B07-921F-49CA-9DE2-E3493E550316}"/>
                </a:ext>
              </a:extLst>
            </p:cNvPr>
            <p:cNvGrpSpPr/>
            <p:nvPr/>
          </p:nvGrpSpPr>
          <p:grpSpPr>
            <a:xfrm>
              <a:off x="2884575" y="3441916"/>
              <a:ext cx="70461" cy="72000"/>
              <a:chOff x="5800094" y="2078182"/>
              <a:chExt cx="70461" cy="72000"/>
            </a:xfrm>
          </p:grpSpPr>
          <p:cxnSp>
            <p:nvCxnSpPr>
              <p:cNvPr id="1527" name="Straight Connector 1526">
                <a:extLst>
                  <a:ext uri="{FF2B5EF4-FFF2-40B4-BE49-F238E27FC236}">
                    <a16:creationId xmlns:a16="http://schemas.microsoft.com/office/drawing/2014/main" id="{A130EA3E-425B-4100-978C-4D691A5EB14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28" name="Straight Connector 1527">
                <a:extLst>
                  <a:ext uri="{FF2B5EF4-FFF2-40B4-BE49-F238E27FC236}">
                    <a16:creationId xmlns:a16="http://schemas.microsoft.com/office/drawing/2014/main" id="{164CF640-D336-4099-B620-7DB5FA2F904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81" name="Group 1280">
              <a:extLst>
                <a:ext uri="{FF2B5EF4-FFF2-40B4-BE49-F238E27FC236}">
                  <a16:creationId xmlns:a16="http://schemas.microsoft.com/office/drawing/2014/main" id="{2A7118BA-BCF4-4BDC-AFF4-2A4246600F28}"/>
                </a:ext>
              </a:extLst>
            </p:cNvPr>
            <p:cNvGrpSpPr/>
            <p:nvPr/>
          </p:nvGrpSpPr>
          <p:grpSpPr>
            <a:xfrm>
              <a:off x="2846734" y="3444794"/>
              <a:ext cx="70461" cy="72000"/>
              <a:chOff x="5800094" y="2078182"/>
              <a:chExt cx="70461" cy="72000"/>
            </a:xfrm>
          </p:grpSpPr>
          <p:cxnSp>
            <p:nvCxnSpPr>
              <p:cNvPr id="1525" name="Straight Connector 1524">
                <a:extLst>
                  <a:ext uri="{FF2B5EF4-FFF2-40B4-BE49-F238E27FC236}">
                    <a16:creationId xmlns:a16="http://schemas.microsoft.com/office/drawing/2014/main" id="{213E610F-1631-4A58-8B1A-655754DEE07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26" name="Straight Connector 1525">
                <a:extLst>
                  <a:ext uri="{FF2B5EF4-FFF2-40B4-BE49-F238E27FC236}">
                    <a16:creationId xmlns:a16="http://schemas.microsoft.com/office/drawing/2014/main" id="{9D2E1F52-EF20-4A9A-A31E-2BCBB41AEBE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82" name="Group 1281">
              <a:extLst>
                <a:ext uri="{FF2B5EF4-FFF2-40B4-BE49-F238E27FC236}">
                  <a16:creationId xmlns:a16="http://schemas.microsoft.com/office/drawing/2014/main" id="{CE95FDBD-B2C0-43B7-8CD1-7CD2CE92FDC0}"/>
                </a:ext>
              </a:extLst>
            </p:cNvPr>
            <p:cNvGrpSpPr/>
            <p:nvPr/>
          </p:nvGrpSpPr>
          <p:grpSpPr>
            <a:xfrm>
              <a:off x="2823417" y="3444307"/>
              <a:ext cx="70461" cy="72000"/>
              <a:chOff x="5800094" y="2078182"/>
              <a:chExt cx="70461" cy="72000"/>
            </a:xfrm>
          </p:grpSpPr>
          <p:cxnSp>
            <p:nvCxnSpPr>
              <p:cNvPr id="1523" name="Straight Connector 1522">
                <a:extLst>
                  <a:ext uri="{FF2B5EF4-FFF2-40B4-BE49-F238E27FC236}">
                    <a16:creationId xmlns:a16="http://schemas.microsoft.com/office/drawing/2014/main" id="{2AD01DDD-E4C9-40D5-8E56-4A54BE34E6D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24" name="Straight Connector 1523">
                <a:extLst>
                  <a:ext uri="{FF2B5EF4-FFF2-40B4-BE49-F238E27FC236}">
                    <a16:creationId xmlns:a16="http://schemas.microsoft.com/office/drawing/2014/main" id="{A39949EE-5DAE-4F84-820A-930A2EF7602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83" name="Group 1282">
              <a:extLst>
                <a:ext uri="{FF2B5EF4-FFF2-40B4-BE49-F238E27FC236}">
                  <a16:creationId xmlns:a16="http://schemas.microsoft.com/office/drawing/2014/main" id="{3BBABADC-097C-4E30-A442-F9CE72B4D34F}"/>
                </a:ext>
              </a:extLst>
            </p:cNvPr>
            <p:cNvGrpSpPr/>
            <p:nvPr/>
          </p:nvGrpSpPr>
          <p:grpSpPr>
            <a:xfrm>
              <a:off x="2810939" y="3441916"/>
              <a:ext cx="70461" cy="72000"/>
              <a:chOff x="5800094" y="2078182"/>
              <a:chExt cx="70461" cy="72000"/>
            </a:xfrm>
          </p:grpSpPr>
          <p:cxnSp>
            <p:nvCxnSpPr>
              <p:cNvPr id="1521" name="Straight Connector 1520">
                <a:extLst>
                  <a:ext uri="{FF2B5EF4-FFF2-40B4-BE49-F238E27FC236}">
                    <a16:creationId xmlns:a16="http://schemas.microsoft.com/office/drawing/2014/main" id="{06EEFE3E-5973-458A-8801-FD3B13E35E4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22" name="Straight Connector 1521">
                <a:extLst>
                  <a:ext uri="{FF2B5EF4-FFF2-40B4-BE49-F238E27FC236}">
                    <a16:creationId xmlns:a16="http://schemas.microsoft.com/office/drawing/2014/main" id="{9DC93660-3FB6-4BEE-83F4-08DA58D90AE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84" name="Group 1283">
              <a:extLst>
                <a:ext uri="{FF2B5EF4-FFF2-40B4-BE49-F238E27FC236}">
                  <a16:creationId xmlns:a16="http://schemas.microsoft.com/office/drawing/2014/main" id="{26775A33-1B00-4EE7-872C-1209EEBF4EF8}"/>
                </a:ext>
              </a:extLst>
            </p:cNvPr>
            <p:cNvGrpSpPr/>
            <p:nvPr/>
          </p:nvGrpSpPr>
          <p:grpSpPr>
            <a:xfrm>
              <a:off x="2788186" y="3425825"/>
              <a:ext cx="70461" cy="72000"/>
              <a:chOff x="5800094" y="2078182"/>
              <a:chExt cx="70461" cy="72000"/>
            </a:xfrm>
          </p:grpSpPr>
          <p:cxnSp>
            <p:nvCxnSpPr>
              <p:cNvPr id="1519" name="Straight Connector 1518">
                <a:extLst>
                  <a:ext uri="{FF2B5EF4-FFF2-40B4-BE49-F238E27FC236}">
                    <a16:creationId xmlns:a16="http://schemas.microsoft.com/office/drawing/2014/main" id="{BF079CB9-C48C-403B-82BC-FA0F8002B85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20" name="Straight Connector 1519">
                <a:extLst>
                  <a:ext uri="{FF2B5EF4-FFF2-40B4-BE49-F238E27FC236}">
                    <a16:creationId xmlns:a16="http://schemas.microsoft.com/office/drawing/2014/main" id="{DB90A341-FF3F-4AFB-AB51-644B8254109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85" name="Group 1284">
              <a:extLst>
                <a:ext uri="{FF2B5EF4-FFF2-40B4-BE49-F238E27FC236}">
                  <a16:creationId xmlns:a16="http://schemas.microsoft.com/office/drawing/2014/main" id="{A0A8ACA7-A88A-4A07-B146-7A80AB180A51}"/>
                </a:ext>
              </a:extLst>
            </p:cNvPr>
            <p:cNvGrpSpPr/>
            <p:nvPr/>
          </p:nvGrpSpPr>
          <p:grpSpPr>
            <a:xfrm>
              <a:off x="2765920" y="3425825"/>
              <a:ext cx="70461" cy="72000"/>
              <a:chOff x="5800094" y="2078182"/>
              <a:chExt cx="70461" cy="72000"/>
            </a:xfrm>
          </p:grpSpPr>
          <p:cxnSp>
            <p:nvCxnSpPr>
              <p:cNvPr id="1517" name="Straight Connector 1516">
                <a:extLst>
                  <a:ext uri="{FF2B5EF4-FFF2-40B4-BE49-F238E27FC236}">
                    <a16:creationId xmlns:a16="http://schemas.microsoft.com/office/drawing/2014/main" id="{C4555579-A794-4972-AA69-870459FCFC3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18" name="Straight Connector 1517">
                <a:extLst>
                  <a:ext uri="{FF2B5EF4-FFF2-40B4-BE49-F238E27FC236}">
                    <a16:creationId xmlns:a16="http://schemas.microsoft.com/office/drawing/2014/main" id="{10072368-1A20-4991-B83B-5E7218DA8EA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86" name="Group 1285">
              <a:extLst>
                <a:ext uri="{FF2B5EF4-FFF2-40B4-BE49-F238E27FC236}">
                  <a16:creationId xmlns:a16="http://schemas.microsoft.com/office/drawing/2014/main" id="{5EA830BD-6FCD-4DE2-B110-D956AE597296}"/>
                </a:ext>
              </a:extLst>
            </p:cNvPr>
            <p:cNvGrpSpPr/>
            <p:nvPr/>
          </p:nvGrpSpPr>
          <p:grpSpPr>
            <a:xfrm>
              <a:off x="2759501" y="3413537"/>
              <a:ext cx="70461" cy="72000"/>
              <a:chOff x="5800094" y="2078182"/>
              <a:chExt cx="70461" cy="72000"/>
            </a:xfrm>
          </p:grpSpPr>
          <p:cxnSp>
            <p:nvCxnSpPr>
              <p:cNvPr id="1515" name="Straight Connector 1514">
                <a:extLst>
                  <a:ext uri="{FF2B5EF4-FFF2-40B4-BE49-F238E27FC236}">
                    <a16:creationId xmlns:a16="http://schemas.microsoft.com/office/drawing/2014/main" id="{EDCD2567-0D36-4ED0-B543-2B45D2C0758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16" name="Straight Connector 1515">
                <a:extLst>
                  <a:ext uri="{FF2B5EF4-FFF2-40B4-BE49-F238E27FC236}">
                    <a16:creationId xmlns:a16="http://schemas.microsoft.com/office/drawing/2014/main" id="{E0CBD900-A48E-4B1C-9ECE-76486CCC357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87" name="Group 1286">
              <a:extLst>
                <a:ext uri="{FF2B5EF4-FFF2-40B4-BE49-F238E27FC236}">
                  <a16:creationId xmlns:a16="http://schemas.microsoft.com/office/drawing/2014/main" id="{C9AFCDB3-D61D-4CD6-80BF-765CE14DD389}"/>
                </a:ext>
              </a:extLst>
            </p:cNvPr>
            <p:cNvGrpSpPr/>
            <p:nvPr/>
          </p:nvGrpSpPr>
          <p:grpSpPr>
            <a:xfrm>
              <a:off x="2750139" y="3399586"/>
              <a:ext cx="70461" cy="72000"/>
              <a:chOff x="5800094" y="2078182"/>
              <a:chExt cx="70461" cy="72000"/>
            </a:xfrm>
          </p:grpSpPr>
          <p:cxnSp>
            <p:nvCxnSpPr>
              <p:cNvPr id="1513" name="Straight Connector 1512">
                <a:extLst>
                  <a:ext uri="{FF2B5EF4-FFF2-40B4-BE49-F238E27FC236}">
                    <a16:creationId xmlns:a16="http://schemas.microsoft.com/office/drawing/2014/main" id="{5B4416B6-0706-4387-AF6A-E6F5A500E36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14" name="Straight Connector 1513">
                <a:extLst>
                  <a:ext uri="{FF2B5EF4-FFF2-40B4-BE49-F238E27FC236}">
                    <a16:creationId xmlns:a16="http://schemas.microsoft.com/office/drawing/2014/main" id="{F29DE4E7-32CE-43FC-9CC2-93564F59F43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88" name="Group 1287">
              <a:extLst>
                <a:ext uri="{FF2B5EF4-FFF2-40B4-BE49-F238E27FC236}">
                  <a16:creationId xmlns:a16="http://schemas.microsoft.com/office/drawing/2014/main" id="{D54A30D9-0E36-4C1F-90F6-8723E0A7FD0F}"/>
                </a:ext>
              </a:extLst>
            </p:cNvPr>
            <p:cNvGrpSpPr/>
            <p:nvPr/>
          </p:nvGrpSpPr>
          <p:grpSpPr>
            <a:xfrm>
              <a:off x="2735058" y="3377536"/>
              <a:ext cx="70461" cy="72000"/>
              <a:chOff x="5800094" y="2078182"/>
              <a:chExt cx="70461" cy="72000"/>
            </a:xfrm>
          </p:grpSpPr>
          <p:cxnSp>
            <p:nvCxnSpPr>
              <p:cNvPr id="1511" name="Straight Connector 1510">
                <a:extLst>
                  <a:ext uri="{FF2B5EF4-FFF2-40B4-BE49-F238E27FC236}">
                    <a16:creationId xmlns:a16="http://schemas.microsoft.com/office/drawing/2014/main" id="{AFE12C72-837E-4CC1-8389-0C213D8FC40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12" name="Straight Connector 1511">
                <a:extLst>
                  <a:ext uri="{FF2B5EF4-FFF2-40B4-BE49-F238E27FC236}">
                    <a16:creationId xmlns:a16="http://schemas.microsoft.com/office/drawing/2014/main" id="{47E4B61E-D3F1-4C1C-B924-9E5DDC5D783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89" name="Group 1288">
              <a:extLst>
                <a:ext uri="{FF2B5EF4-FFF2-40B4-BE49-F238E27FC236}">
                  <a16:creationId xmlns:a16="http://schemas.microsoft.com/office/drawing/2014/main" id="{8073A30A-A827-4741-8109-E920B8F3B4E3}"/>
                </a:ext>
              </a:extLst>
            </p:cNvPr>
            <p:cNvGrpSpPr/>
            <p:nvPr/>
          </p:nvGrpSpPr>
          <p:grpSpPr>
            <a:xfrm>
              <a:off x="2732979" y="3367931"/>
              <a:ext cx="70461" cy="72000"/>
              <a:chOff x="5800094" y="2078182"/>
              <a:chExt cx="70461" cy="72000"/>
            </a:xfrm>
          </p:grpSpPr>
          <p:cxnSp>
            <p:nvCxnSpPr>
              <p:cNvPr id="1509" name="Straight Connector 1508">
                <a:extLst>
                  <a:ext uri="{FF2B5EF4-FFF2-40B4-BE49-F238E27FC236}">
                    <a16:creationId xmlns:a16="http://schemas.microsoft.com/office/drawing/2014/main" id="{9D0147EC-F097-4B4D-B593-BF968F48566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10" name="Straight Connector 1509">
                <a:extLst>
                  <a:ext uri="{FF2B5EF4-FFF2-40B4-BE49-F238E27FC236}">
                    <a16:creationId xmlns:a16="http://schemas.microsoft.com/office/drawing/2014/main" id="{7D18A0FD-1B33-4192-9150-E5D383078E8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90" name="Group 1289">
              <a:extLst>
                <a:ext uri="{FF2B5EF4-FFF2-40B4-BE49-F238E27FC236}">
                  <a16:creationId xmlns:a16="http://schemas.microsoft.com/office/drawing/2014/main" id="{5D231363-EB2B-4111-9A08-0C3B5CD6D38E}"/>
                </a:ext>
              </a:extLst>
            </p:cNvPr>
            <p:cNvGrpSpPr/>
            <p:nvPr/>
          </p:nvGrpSpPr>
          <p:grpSpPr>
            <a:xfrm>
              <a:off x="2728513" y="3345031"/>
              <a:ext cx="70461" cy="72000"/>
              <a:chOff x="5800094" y="2078182"/>
              <a:chExt cx="70461" cy="72000"/>
            </a:xfrm>
          </p:grpSpPr>
          <p:cxnSp>
            <p:nvCxnSpPr>
              <p:cNvPr id="1507" name="Straight Connector 1506">
                <a:extLst>
                  <a:ext uri="{FF2B5EF4-FFF2-40B4-BE49-F238E27FC236}">
                    <a16:creationId xmlns:a16="http://schemas.microsoft.com/office/drawing/2014/main" id="{1DCAA781-B1FC-46F3-A722-C6091B8EE84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08" name="Straight Connector 1507">
                <a:extLst>
                  <a:ext uri="{FF2B5EF4-FFF2-40B4-BE49-F238E27FC236}">
                    <a16:creationId xmlns:a16="http://schemas.microsoft.com/office/drawing/2014/main" id="{3993C6C8-7ED1-45E4-AFF4-9D097DA0919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91" name="Group 1290">
              <a:extLst>
                <a:ext uri="{FF2B5EF4-FFF2-40B4-BE49-F238E27FC236}">
                  <a16:creationId xmlns:a16="http://schemas.microsoft.com/office/drawing/2014/main" id="{34243333-EFFB-408D-927E-FF8662CE371F}"/>
                </a:ext>
              </a:extLst>
            </p:cNvPr>
            <p:cNvGrpSpPr/>
            <p:nvPr/>
          </p:nvGrpSpPr>
          <p:grpSpPr>
            <a:xfrm>
              <a:off x="2714908" y="3339443"/>
              <a:ext cx="70461" cy="72000"/>
              <a:chOff x="5800094" y="2078182"/>
              <a:chExt cx="70461" cy="72000"/>
            </a:xfrm>
          </p:grpSpPr>
          <p:cxnSp>
            <p:nvCxnSpPr>
              <p:cNvPr id="1505" name="Straight Connector 1504">
                <a:extLst>
                  <a:ext uri="{FF2B5EF4-FFF2-40B4-BE49-F238E27FC236}">
                    <a16:creationId xmlns:a16="http://schemas.microsoft.com/office/drawing/2014/main" id="{A85E04E3-29B4-4BD8-8409-B193D055C62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06" name="Straight Connector 1505">
                <a:extLst>
                  <a:ext uri="{FF2B5EF4-FFF2-40B4-BE49-F238E27FC236}">
                    <a16:creationId xmlns:a16="http://schemas.microsoft.com/office/drawing/2014/main" id="{B2CDC1A1-F0E4-4C9B-AF30-C4B2542DF3A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92" name="Group 1291">
              <a:extLst>
                <a:ext uri="{FF2B5EF4-FFF2-40B4-BE49-F238E27FC236}">
                  <a16:creationId xmlns:a16="http://schemas.microsoft.com/office/drawing/2014/main" id="{60D3492E-53BE-410B-B675-BD8B940CA73F}"/>
                </a:ext>
              </a:extLst>
            </p:cNvPr>
            <p:cNvGrpSpPr/>
            <p:nvPr/>
          </p:nvGrpSpPr>
          <p:grpSpPr>
            <a:xfrm>
              <a:off x="2690261" y="3320075"/>
              <a:ext cx="70461" cy="72000"/>
              <a:chOff x="5800094" y="2078182"/>
              <a:chExt cx="70461" cy="72000"/>
            </a:xfrm>
          </p:grpSpPr>
          <p:cxnSp>
            <p:nvCxnSpPr>
              <p:cNvPr id="1503" name="Straight Connector 1502">
                <a:extLst>
                  <a:ext uri="{FF2B5EF4-FFF2-40B4-BE49-F238E27FC236}">
                    <a16:creationId xmlns:a16="http://schemas.microsoft.com/office/drawing/2014/main" id="{4815E1E1-7E2F-41CD-80EA-2055BD8C9EC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04" name="Straight Connector 1503">
                <a:extLst>
                  <a:ext uri="{FF2B5EF4-FFF2-40B4-BE49-F238E27FC236}">
                    <a16:creationId xmlns:a16="http://schemas.microsoft.com/office/drawing/2014/main" id="{70F0B61D-C383-48C1-B889-611D018F9C0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93" name="Group 1292">
              <a:extLst>
                <a:ext uri="{FF2B5EF4-FFF2-40B4-BE49-F238E27FC236}">
                  <a16:creationId xmlns:a16="http://schemas.microsoft.com/office/drawing/2014/main" id="{2E93A4B8-EB33-44A4-BDFB-ED206863F6CA}"/>
                </a:ext>
              </a:extLst>
            </p:cNvPr>
            <p:cNvGrpSpPr/>
            <p:nvPr/>
          </p:nvGrpSpPr>
          <p:grpSpPr>
            <a:xfrm>
              <a:off x="2664529" y="3322654"/>
              <a:ext cx="70461" cy="72000"/>
              <a:chOff x="5800094" y="2078182"/>
              <a:chExt cx="70461" cy="72000"/>
            </a:xfrm>
          </p:grpSpPr>
          <p:cxnSp>
            <p:nvCxnSpPr>
              <p:cNvPr id="1501" name="Straight Connector 1500">
                <a:extLst>
                  <a:ext uri="{FF2B5EF4-FFF2-40B4-BE49-F238E27FC236}">
                    <a16:creationId xmlns:a16="http://schemas.microsoft.com/office/drawing/2014/main" id="{8549A4DD-2D0E-4D75-8A19-444CBC49AEC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02" name="Straight Connector 1501">
                <a:extLst>
                  <a:ext uri="{FF2B5EF4-FFF2-40B4-BE49-F238E27FC236}">
                    <a16:creationId xmlns:a16="http://schemas.microsoft.com/office/drawing/2014/main" id="{D6559604-E547-458E-A414-4BB921CF165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94" name="Group 1293">
              <a:extLst>
                <a:ext uri="{FF2B5EF4-FFF2-40B4-BE49-F238E27FC236}">
                  <a16:creationId xmlns:a16="http://schemas.microsoft.com/office/drawing/2014/main" id="{8FC18782-96EE-4043-83A1-A9A2B611C6B0}"/>
                </a:ext>
              </a:extLst>
            </p:cNvPr>
            <p:cNvGrpSpPr/>
            <p:nvPr/>
          </p:nvGrpSpPr>
          <p:grpSpPr>
            <a:xfrm>
              <a:off x="2654755" y="3323235"/>
              <a:ext cx="70461" cy="72000"/>
              <a:chOff x="5800094" y="2078182"/>
              <a:chExt cx="70461" cy="72000"/>
            </a:xfrm>
          </p:grpSpPr>
          <p:cxnSp>
            <p:nvCxnSpPr>
              <p:cNvPr id="1499" name="Straight Connector 1498">
                <a:extLst>
                  <a:ext uri="{FF2B5EF4-FFF2-40B4-BE49-F238E27FC236}">
                    <a16:creationId xmlns:a16="http://schemas.microsoft.com/office/drawing/2014/main" id="{D5FAC487-3E43-47C5-9F07-D35EE746DB6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00" name="Straight Connector 1499">
                <a:extLst>
                  <a:ext uri="{FF2B5EF4-FFF2-40B4-BE49-F238E27FC236}">
                    <a16:creationId xmlns:a16="http://schemas.microsoft.com/office/drawing/2014/main" id="{227ADA18-7136-431C-93B6-8194A0CFC18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95" name="Group 1294">
              <a:extLst>
                <a:ext uri="{FF2B5EF4-FFF2-40B4-BE49-F238E27FC236}">
                  <a16:creationId xmlns:a16="http://schemas.microsoft.com/office/drawing/2014/main" id="{D5FF50A2-4561-48BD-8CF4-58D6762EE170}"/>
                </a:ext>
              </a:extLst>
            </p:cNvPr>
            <p:cNvGrpSpPr/>
            <p:nvPr/>
          </p:nvGrpSpPr>
          <p:grpSpPr>
            <a:xfrm>
              <a:off x="2635844" y="3323235"/>
              <a:ext cx="70461" cy="72000"/>
              <a:chOff x="5800094" y="2078182"/>
              <a:chExt cx="70461" cy="72000"/>
            </a:xfrm>
          </p:grpSpPr>
          <p:cxnSp>
            <p:nvCxnSpPr>
              <p:cNvPr id="1497" name="Straight Connector 1496">
                <a:extLst>
                  <a:ext uri="{FF2B5EF4-FFF2-40B4-BE49-F238E27FC236}">
                    <a16:creationId xmlns:a16="http://schemas.microsoft.com/office/drawing/2014/main" id="{3D281E62-9035-4545-8DC3-99384ADF46A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98" name="Straight Connector 1497">
                <a:extLst>
                  <a:ext uri="{FF2B5EF4-FFF2-40B4-BE49-F238E27FC236}">
                    <a16:creationId xmlns:a16="http://schemas.microsoft.com/office/drawing/2014/main" id="{CD400B91-2C3C-4A62-885E-3F562F2D836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96" name="Group 1295">
              <a:extLst>
                <a:ext uri="{FF2B5EF4-FFF2-40B4-BE49-F238E27FC236}">
                  <a16:creationId xmlns:a16="http://schemas.microsoft.com/office/drawing/2014/main" id="{D3B8ACAE-2EB6-4C2E-A691-17C55B1E05CF}"/>
                </a:ext>
              </a:extLst>
            </p:cNvPr>
            <p:cNvGrpSpPr/>
            <p:nvPr/>
          </p:nvGrpSpPr>
          <p:grpSpPr>
            <a:xfrm>
              <a:off x="2632764" y="3299884"/>
              <a:ext cx="70461" cy="72000"/>
              <a:chOff x="5800094" y="2078182"/>
              <a:chExt cx="70461" cy="72000"/>
            </a:xfrm>
          </p:grpSpPr>
          <p:cxnSp>
            <p:nvCxnSpPr>
              <p:cNvPr id="1495" name="Straight Connector 1494">
                <a:extLst>
                  <a:ext uri="{FF2B5EF4-FFF2-40B4-BE49-F238E27FC236}">
                    <a16:creationId xmlns:a16="http://schemas.microsoft.com/office/drawing/2014/main" id="{03BB7F30-A02B-4940-AEE2-27E5A4AE17D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96" name="Straight Connector 1495">
                <a:extLst>
                  <a:ext uri="{FF2B5EF4-FFF2-40B4-BE49-F238E27FC236}">
                    <a16:creationId xmlns:a16="http://schemas.microsoft.com/office/drawing/2014/main" id="{4B77745B-974A-4E7C-93BE-40A2FE1788B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97" name="Group 1296">
              <a:extLst>
                <a:ext uri="{FF2B5EF4-FFF2-40B4-BE49-F238E27FC236}">
                  <a16:creationId xmlns:a16="http://schemas.microsoft.com/office/drawing/2014/main" id="{7C9964DE-FAA3-4A5B-BEC4-7A464BF8A28F}"/>
                </a:ext>
              </a:extLst>
            </p:cNvPr>
            <p:cNvGrpSpPr/>
            <p:nvPr/>
          </p:nvGrpSpPr>
          <p:grpSpPr>
            <a:xfrm>
              <a:off x="2627788" y="3281990"/>
              <a:ext cx="70461" cy="72000"/>
              <a:chOff x="5800094" y="2078182"/>
              <a:chExt cx="70461" cy="72000"/>
            </a:xfrm>
          </p:grpSpPr>
          <p:cxnSp>
            <p:nvCxnSpPr>
              <p:cNvPr id="1493" name="Straight Connector 1492">
                <a:extLst>
                  <a:ext uri="{FF2B5EF4-FFF2-40B4-BE49-F238E27FC236}">
                    <a16:creationId xmlns:a16="http://schemas.microsoft.com/office/drawing/2014/main" id="{03F5F937-A29F-4A85-A108-FB7901C7D51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94" name="Straight Connector 1493">
                <a:extLst>
                  <a:ext uri="{FF2B5EF4-FFF2-40B4-BE49-F238E27FC236}">
                    <a16:creationId xmlns:a16="http://schemas.microsoft.com/office/drawing/2014/main" id="{8EAA5A29-042B-4F11-8490-9CE3010D377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98" name="Group 1297">
              <a:extLst>
                <a:ext uri="{FF2B5EF4-FFF2-40B4-BE49-F238E27FC236}">
                  <a16:creationId xmlns:a16="http://schemas.microsoft.com/office/drawing/2014/main" id="{C27DE2C0-6F5A-4528-9B0D-F4BF8BF9A144}"/>
                </a:ext>
              </a:extLst>
            </p:cNvPr>
            <p:cNvGrpSpPr/>
            <p:nvPr/>
          </p:nvGrpSpPr>
          <p:grpSpPr>
            <a:xfrm>
              <a:off x="2618101" y="3252500"/>
              <a:ext cx="70461" cy="72000"/>
              <a:chOff x="5800094" y="2078182"/>
              <a:chExt cx="70461" cy="72000"/>
            </a:xfrm>
          </p:grpSpPr>
          <p:cxnSp>
            <p:nvCxnSpPr>
              <p:cNvPr id="1491" name="Straight Connector 1490">
                <a:extLst>
                  <a:ext uri="{FF2B5EF4-FFF2-40B4-BE49-F238E27FC236}">
                    <a16:creationId xmlns:a16="http://schemas.microsoft.com/office/drawing/2014/main" id="{9B07C27C-04E1-4CFF-9789-FEE0F96D87B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92" name="Straight Connector 1491">
                <a:extLst>
                  <a:ext uri="{FF2B5EF4-FFF2-40B4-BE49-F238E27FC236}">
                    <a16:creationId xmlns:a16="http://schemas.microsoft.com/office/drawing/2014/main" id="{0431AA2A-01DF-4DE5-AE88-EBE43F37613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299" name="Group 1298">
              <a:extLst>
                <a:ext uri="{FF2B5EF4-FFF2-40B4-BE49-F238E27FC236}">
                  <a16:creationId xmlns:a16="http://schemas.microsoft.com/office/drawing/2014/main" id="{ADE6D783-7FE8-4E21-B6C3-BD26F826879C}"/>
                </a:ext>
              </a:extLst>
            </p:cNvPr>
            <p:cNvGrpSpPr/>
            <p:nvPr/>
          </p:nvGrpSpPr>
          <p:grpSpPr>
            <a:xfrm>
              <a:off x="2618101" y="3234315"/>
              <a:ext cx="70461" cy="72000"/>
              <a:chOff x="5800094" y="2078182"/>
              <a:chExt cx="70461" cy="72000"/>
            </a:xfrm>
          </p:grpSpPr>
          <p:cxnSp>
            <p:nvCxnSpPr>
              <p:cNvPr id="1489" name="Straight Connector 1488">
                <a:extLst>
                  <a:ext uri="{FF2B5EF4-FFF2-40B4-BE49-F238E27FC236}">
                    <a16:creationId xmlns:a16="http://schemas.microsoft.com/office/drawing/2014/main" id="{D31ACEF5-FA8F-4F65-86CE-D4AA333BCF9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90" name="Straight Connector 1489">
                <a:extLst>
                  <a:ext uri="{FF2B5EF4-FFF2-40B4-BE49-F238E27FC236}">
                    <a16:creationId xmlns:a16="http://schemas.microsoft.com/office/drawing/2014/main" id="{CACA39F4-6CC8-4E7C-B786-0AF973BD2F5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00" name="Group 1299">
              <a:extLst>
                <a:ext uri="{FF2B5EF4-FFF2-40B4-BE49-F238E27FC236}">
                  <a16:creationId xmlns:a16="http://schemas.microsoft.com/office/drawing/2014/main" id="{D8AACC2D-CA15-4FE4-A6F2-1F14A18CE0C6}"/>
                </a:ext>
              </a:extLst>
            </p:cNvPr>
            <p:cNvGrpSpPr/>
            <p:nvPr/>
          </p:nvGrpSpPr>
          <p:grpSpPr>
            <a:xfrm>
              <a:off x="2600486" y="3231806"/>
              <a:ext cx="70461" cy="72000"/>
              <a:chOff x="5800094" y="2078182"/>
              <a:chExt cx="70461" cy="72000"/>
            </a:xfrm>
          </p:grpSpPr>
          <p:cxnSp>
            <p:nvCxnSpPr>
              <p:cNvPr id="1487" name="Straight Connector 1486">
                <a:extLst>
                  <a:ext uri="{FF2B5EF4-FFF2-40B4-BE49-F238E27FC236}">
                    <a16:creationId xmlns:a16="http://schemas.microsoft.com/office/drawing/2014/main" id="{524E96AD-7B2B-4A8E-94B3-41B07CC1A80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88" name="Straight Connector 1487">
                <a:extLst>
                  <a:ext uri="{FF2B5EF4-FFF2-40B4-BE49-F238E27FC236}">
                    <a16:creationId xmlns:a16="http://schemas.microsoft.com/office/drawing/2014/main" id="{8AC2A3C5-0F52-4FD3-B3E5-E8D606FCD5F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01" name="Group 1300">
              <a:extLst>
                <a:ext uri="{FF2B5EF4-FFF2-40B4-BE49-F238E27FC236}">
                  <a16:creationId xmlns:a16="http://schemas.microsoft.com/office/drawing/2014/main" id="{182A1D1C-C9B2-4BDF-896E-FD754F9FF70A}"/>
                </a:ext>
              </a:extLst>
            </p:cNvPr>
            <p:cNvGrpSpPr/>
            <p:nvPr/>
          </p:nvGrpSpPr>
          <p:grpSpPr>
            <a:xfrm>
              <a:off x="2582553" y="3231806"/>
              <a:ext cx="70461" cy="72000"/>
              <a:chOff x="5800094" y="2078182"/>
              <a:chExt cx="70461" cy="72000"/>
            </a:xfrm>
          </p:grpSpPr>
          <p:cxnSp>
            <p:nvCxnSpPr>
              <p:cNvPr id="1485" name="Straight Connector 1484">
                <a:extLst>
                  <a:ext uri="{FF2B5EF4-FFF2-40B4-BE49-F238E27FC236}">
                    <a16:creationId xmlns:a16="http://schemas.microsoft.com/office/drawing/2014/main" id="{84D5ECA9-D1C2-4D11-8297-077D5AA4CE1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86" name="Straight Connector 1485">
                <a:extLst>
                  <a:ext uri="{FF2B5EF4-FFF2-40B4-BE49-F238E27FC236}">
                    <a16:creationId xmlns:a16="http://schemas.microsoft.com/office/drawing/2014/main" id="{4B6951AA-ABD5-48B2-87B3-42E28D09724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02" name="Group 1301">
              <a:extLst>
                <a:ext uri="{FF2B5EF4-FFF2-40B4-BE49-F238E27FC236}">
                  <a16:creationId xmlns:a16="http://schemas.microsoft.com/office/drawing/2014/main" id="{B62D51C0-1954-40EC-B050-7088E72B7075}"/>
                </a:ext>
              </a:extLst>
            </p:cNvPr>
            <p:cNvGrpSpPr/>
            <p:nvPr/>
          </p:nvGrpSpPr>
          <p:grpSpPr>
            <a:xfrm>
              <a:off x="2556943" y="3231806"/>
              <a:ext cx="70461" cy="72000"/>
              <a:chOff x="5800094" y="2078182"/>
              <a:chExt cx="70461" cy="72000"/>
            </a:xfrm>
          </p:grpSpPr>
          <p:cxnSp>
            <p:nvCxnSpPr>
              <p:cNvPr id="1483" name="Straight Connector 1482">
                <a:extLst>
                  <a:ext uri="{FF2B5EF4-FFF2-40B4-BE49-F238E27FC236}">
                    <a16:creationId xmlns:a16="http://schemas.microsoft.com/office/drawing/2014/main" id="{7D8AFF70-2E66-4831-8F4C-F837C60E226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84" name="Straight Connector 1483">
                <a:extLst>
                  <a:ext uri="{FF2B5EF4-FFF2-40B4-BE49-F238E27FC236}">
                    <a16:creationId xmlns:a16="http://schemas.microsoft.com/office/drawing/2014/main" id="{67AA8030-4E14-4E84-AFE5-66D06BAA324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03" name="Group 1302">
              <a:extLst>
                <a:ext uri="{FF2B5EF4-FFF2-40B4-BE49-F238E27FC236}">
                  <a16:creationId xmlns:a16="http://schemas.microsoft.com/office/drawing/2014/main" id="{63D7BE2E-0514-4A7B-8EC4-2153196BDD73}"/>
                </a:ext>
              </a:extLst>
            </p:cNvPr>
            <p:cNvGrpSpPr/>
            <p:nvPr/>
          </p:nvGrpSpPr>
          <p:grpSpPr>
            <a:xfrm>
              <a:off x="2525675" y="3231806"/>
              <a:ext cx="70461" cy="72000"/>
              <a:chOff x="5800094" y="2078182"/>
              <a:chExt cx="70461" cy="72000"/>
            </a:xfrm>
          </p:grpSpPr>
          <p:cxnSp>
            <p:nvCxnSpPr>
              <p:cNvPr id="1481" name="Straight Connector 1480">
                <a:extLst>
                  <a:ext uri="{FF2B5EF4-FFF2-40B4-BE49-F238E27FC236}">
                    <a16:creationId xmlns:a16="http://schemas.microsoft.com/office/drawing/2014/main" id="{300553DB-351D-4E4A-B363-9B64F551903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82" name="Straight Connector 1481">
                <a:extLst>
                  <a:ext uri="{FF2B5EF4-FFF2-40B4-BE49-F238E27FC236}">
                    <a16:creationId xmlns:a16="http://schemas.microsoft.com/office/drawing/2014/main" id="{5B0B0DD9-FA0F-488B-85B5-FB3B9505B6E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04" name="Group 1303">
              <a:extLst>
                <a:ext uri="{FF2B5EF4-FFF2-40B4-BE49-F238E27FC236}">
                  <a16:creationId xmlns:a16="http://schemas.microsoft.com/office/drawing/2014/main" id="{BBBB5E6D-C5BD-45A6-A252-175B91C83845}"/>
                </a:ext>
              </a:extLst>
            </p:cNvPr>
            <p:cNvGrpSpPr/>
            <p:nvPr/>
          </p:nvGrpSpPr>
          <p:grpSpPr>
            <a:xfrm>
              <a:off x="2523675" y="3210849"/>
              <a:ext cx="70461" cy="72000"/>
              <a:chOff x="5800094" y="2078182"/>
              <a:chExt cx="70461" cy="72000"/>
            </a:xfrm>
          </p:grpSpPr>
          <p:cxnSp>
            <p:nvCxnSpPr>
              <p:cNvPr id="1479" name="Straight Connector 1478">
                <a:extLst>
                  <a:ext uri="{FF2B5EF4-FFF2-40B4-BE49-F238E27FC236}">
                    <a16:creationId xmlns:a16="http://schemas.microsoft.com/office/drawing/2014/main" id="{73A4C13D-0180-4210-9FEA-2AFF4874AFF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80" name="Straight Connector 1479">
                <a:extLst>
                  <a:ext uri="{FF2B5EF4-FFF2-40B4-BE49-F238E27FC236}">
                    <a16:creationId xmlns:a16="http://schemas.microsoft.com/office/drawing/2014/main" id="{0802234D-1655-46D3-8DA2-5B48FB32813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05" name="Group 1304">
              <a:extLst>
                <a:ext uri="{FF2B5EF4-FFF2-40B4-BE49-F238E27FC236}">
                  <a16:creationId xmlns:a16="http://schemas.microsoft.com/office/drawing/2014/main" id="{FD230761-9E8D-4D86-8094-6AE3DDCD77AD}"/>
                </a:ext>
              </a:extLst>
            </p:cNvPr>
            <p:cNvGrpSpPr/>
            <p:nvPr/>
          </p:nvGrpSpPr>
          <p:grpSpPr>
            <a:xfrm>
              <a:off x="2524203" y="3187085"/>
              <a:ext cx="70461" cy="72000"/>
              <a:chOff x="5800094" y="2078182"/>
              <a:chExt cx="70461" cy="72000"/>
            </a:xfrm>
          </p:grpSpPr>
          <p:cxnSp>
            <p:nvCxnSpPr>
              <p:cNvPr id="1477" name="Straight Connector 1476">
                <a:extLst>
                  <a:ext uri="{FF2B5EF4-FFF2-40B4-BE49-F238E27FC236}">
                    <a16:creationId xmlns:a16="http://schemas.microsoft.com/office/drawing/2014/main" id="{82F4D815-4F42-4996-AFDC-6A58984E5F5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78" name="Straight Connector 1477">
                <a:extLst>
                  <a:ext uri="{FF2B5EF4-FFF2-40B4-BE49-F238E27FC236}">
                    <a16:creationId xmlns:a16="http://schemas.microsoft.com/office/drawing/2014/main" id="{0B9B9D4F-DE9D-4657-9E89-636E31DF96C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06" name="Group 1305">
              <a:extLst>
                <a:ext uri="{FF2B5EF4-FFF2-40B4-BE49-F238E27FC236}">
                  <a16:creationId xmlns:a16="http://schemas.microsoft.com/office/drawing/2014/main" id="{645A3BDD-59ED-4310-AD40-E966E4DEAFA1}"/>
                </a:ext>
              </a:extLst>
            </p:cNvPr>
            <p:cNvGrpSpPr/>
            <p:nvPr/>
          </p:nvGrpSpPr>
          <p:grpSpPr>
            <a:xfrm>
              <a:off x="2523675" y="3169604"/>
              <a:ext cx="70461" cy="72000"/>
              <a:chOff x="5800094" y="2078182"/>
              <a:chExt cx="70461" cy="72000"/>
            </a:xfrm>
          </p:grpSpPr>
          <p:cxnSp>
            <p:nvCxnSpPr>
              <p:cNvPr id="1475" name="Straight Connector 1474">
                <a:extLst>
                  <a:ext uri="{FF2B5EF4-FFF2-40B4-BE49-F238E27FC236}">
                    <a16:creationId xmlns:a16="http://schemas.microsoft.com/office/drawing/2014/main" id="{86055B11-53CB-4EAA-A566-C2D40823FFD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76" name="Straight Connector 1475">
                <a:extLst>
                  <a:ext uri="{FF2B5EF4-FFF2-40B4-BE49-F238E27FC236}">
                    <a16:creationId xmlns:a16="http://schemas.microsoft.com/office/drawing/2014/main" id="{A5BCAA23-1DEE-4F17-9FAB-50A50440941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07" name="Group 1306">
              <a:extLst>
                <a:ext uri="{FF2B5EF4-FFF2-40B4-BE49-F238E27FC236}">
                  <a16:creationId xmlns:a16="http://schemas.microsoft.com/office/drawing/2014/main" id="{5324CE41-A1BE-4967-9E41-85C65E042686}"/>
                </a:ext>
              </a:extLst>
            </p:cNvPr>
            <p:cNvGrpSpPr/>
            <p:nvPr/>
          </p:nvGrpSpPr>
          <p:grpSpPr>
            <a:xfrm>
              <a:off x="2512092" y="3151084"/>
              <a:ext cx="70461" cy="72000"/>
              <a:chOff x="5800094" y="2078182"/>
              <a:chExt cx="70461" cy="72000"/>
            </a:xfrm>
          </p:grpSpPr>
          <p:cxnSp>
            <p:nvCxnSpPr>
              <p:cNvPr id="1473" name="Straight Connector 1472">
                <a:extLst>
                  <a:ext uri="{FF2B5EF4-FFF2-40B4-BE49-F238E27FC236}">
                    <a16:creationId xmlns:a16="http://schemas.microsoft.com/office/drawing/2014/main" id="{D7363759-CEA7-462F-83F0-2F1FB2E8EA8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74" name="Straight Connector 1473">
                <a:extLst>
                  <a:ext uri="{FF2B5EF4-FFF2-40B4-BE49-F238E27FC236}">
                    <a16:creationId xmlns:a16="http://schemas.microsoft.com/office/drawing/2014/main" id="{9A8532EF-6733-4DEB-9459-F520E4D68BE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08" name="Group 1307">
              <a:extLst>
                <a:ext uri="{FF2B5EF4-FFF2-40B4-BE49-F238E27FC236}">
                  <a16:creationId xmlns:a16="http://schemas.microsoft.com/office/drawing/2014/main" id="{3B49B10A-C734-4666-A7DB-434BFB298635}"/>
                </a:ext>
              </a:extLst>
            </p:cNvPr>
            <p:cNvGrpSpPr/>
            <p:nvPr/>
          </p:nvGrpSpPr>
          <p:grpSpPr>
            <a:xfrm>
              <a:off x="2490031" y="3143684"/>
              <a:ext cx="70461" cy="72000"/>
              <a:chOff x="5800094" y="2078182"/>
              <a:chExt cx="70461" cy="72000"/>
            </a:xfrm>
          </p:grpSpPr>
          <p:cxnSp>
            <p:nvCxnSpPr>
              <p:cNvPr id="1471" name="Straight Connector 1470">
                <a:extLst>
                  <a:ext uri="{FF2B5EF4-FFF2-40B4-BE49-F238E27FC236}">
                    <a16:creationId xmlns:a16="http://schemas.microsoft.com/office/drawing/2014/main" id="{D8B7C955-E774-4892-B165-D4514A4BCC6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72" name="Straight Connector 1471">
                <a:extLst>
                  <a:ext uri="{FF2B5EF4-FFF2-40B4-BE49-F238E27FC236}">
                    <a16:creationId xmlns:a16="http://schemas.microsoft.com/office/drawing/2014/main" id="{34B52B3C-136E-4611-8C95-0E0916E3222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09" name="Group 1308">
              <a:extLst>
                <a:ext uri="{FF2B5EF4-FFF2-40B4-BE49-F238E27FC236}">
                  <a16:creationId xmlns:a16="http://schemas.microsoft.com/office/drawing/2014/main" id="{E362753C-0A97-460E-ADF9-79958E9B2FEF}"/>
                </a:ext>
              </a:extLst>
            </p:cNvPr>
            <p:cNvGrpSpPr/>
            <p:nvPr/>
          </p:nvGrpSpPr>
          <p:grpSpPr>
            <a:xfrm>
              <a:off x="2468436" y="3141114"/>
              <a:ext cx="70461" cy="72000"/>
              <a:chOff x="5800094" y="2078182"/>
              <a:chExt cx="70461" cy="72000"/>
            </a:xfrm>
          </p:grpSpPr>
          <p:cxnSp>
            <p:nvCxnSpPr>
              <p:cNvPr id="1469" name="Straight Connector 1468">
                <a:extLst>
                  <a:ext uri="{FF2B5EF4-FFF2-40B4-BE49-F238E27FC236}">
                    <a16:creationId xmlns:a16="http://schemas.microsoft.com/office/drawing/2014/main" id="{9EF00245-1662-4DD8-983C-7A581F8B17D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70" name="Straight Connector 1469">
                <a:extLst>
                  <a:ext uri="{FF2B5EF4-FFF2-40B4-BE49-F238E27FC236}">
                    <a16:creationId xmlns:a16="http://schemas.microsoft.com/office/drawing/2014/main" id="{F18B8084-7B84-4FEB-9B63-DE22DA9D4FD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10" name="Group 1309">
              <a:extLst>
                <a:ext uri="{FF2B5EF4-FFF2-40B4-BE49-F238E27FC236}">
                  <a16:creationId xmlns:a16="http://schemas.microsoft.com/office/drawing/2014/main" id="{383CE57D-48C5-4AAF-8A20-4472808A1F7F}"/>
                </a:ext>
              </a:extLst>
            </p:cNvPr>
            <p:cNvGrpSpPr/>
            <p:nvPr/>
          </p:nvGrpSpPr>
          <p:grpSpPr>
            <a:xfrm>
              <a:off x="2446864" y="3138849"/>
              <a:ext cx="70461" cy="72000"/>
              <a:chOff x="5800094" y="2078182"/>
              <a:chExt cx="70461" cy="72000"/>
            </a:xfrm>
          </p:grpSpPr>
          <p:cxnSp>
            <p:nvCxnSpPr>
              <p:cNvPr id="1467" name="Straight Connector 1466">
                <a:extLst>
                  <a:ext uri="{FF2B5EF4-FFF2-40B4-BE49-F238E27FC236}">
                    <a16:creationId xmlns:a16="http://schemas.microsoft.com/office/drawing/2014/main" id="{9CD6390B-9F95-4FCE-96E9-0D51FEC3BDF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68" name="Straight Connector 1467">
                <a:extLst>
                  <a:ext uri="{FF2B5EF4-FFF2-40B4-BE49-F238E27FC236}">
                    <a16:creationId xmlns:a16="http://schemas.microsoft.com/office/drawing/2014/main" id="{88B4808F-2417-4A7F-8B69-F78229FFF38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11" name="Group 1310">
              <a:extLst>
                <a:ext uri="{FF2B5EF4-FFF2-40B4-BE49-F238E27FC236}">
                  <a16:creationId xmlns:a16="http://schemas.microsoft.com/office/drawing/2014/main" id="{B74106FB-A0D8-4BCC-B397-675FDFEB1AF2}"/>
                </a:ext>
              </a:extLst>
            </p:cNvPr>
            <p:cNvGrpSpPr/>
            <p:nvPr/>
          </p:nvGrpSpPr>
          <p:grpSpPr>
            <a:xfrm>
              <a:off x="2430833" y="3135048"/>
              <a:ext cx="70461" cy="72000"/>
              <a:chOff x="5800094" y="2078182"/>
              <a:chExt cx="70461" cy="72000"/>
            </a:xfrm>
          </p:grpSpPr>
          <p:cxnSp>
            <p:nvCxnSpPr>
              <p:cNvPr id="1465" name="Straight Connector 1464">
                <a:extLst>
                  <a:ext uri="{FF2B5EF4-FFF2-40B4-BE49-F238E27FC236}">
                    <a16:creationId xmlns:a16="http://schemas.microsoft.com/office/drawing/2014/main" id="{70825130-52E0-42D0-B918-721E634F726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66" name="Straight Connector 1465">
                <a:extLst>
                  <a:ext uri="{FF2B5EF4-FFF2-40B4-BE49-F238E27FC236}">
                    <a16:creationId xmlns:a16="http://schemas.microsoft.com/office/drawing/2014/main" id="{C24E743F-E2F4-4263-9DD3-D73968C4E0B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12" name="Group 1311">
              <a:extLst>
                <a:ext uri="{FF2B5EF4-FFF2-40B4-BE49-F238E27FC236}">
                  <a16:creationId xmlns:a16="http://schemas.microsoft.com/office/drawing/2014/main" id="{C33561FF-BA35-43C9-B0FF-0F7331D33411}"/>
                </a:ext>
              </a:extLst>
            </p:cNvPr>
            <p:cNvGrpSpPr/>
            <p:nvPr/>
          </p:nvGrpSpPr>
          <p:grpSpPr>
            <a:xfrm>
              <a:off x="2411633" y="3138849"/>
              <a:ext cx="70461" cy="72000"/>
              <a:chOff x="5800094" y="2078182"/>
              <a:chExt cx="70461" cy="72000"/>
            </a:xfrm>
          </p:grpSpPr>
          <p:cxnSp>
            <p:nvCxnSpPr>
              <p:cNvPr id="1463" name="Straight Connector 1462">
                <a:extLst>
                  <a:ext uri="{FF2B5EF4-FFF2-40B4-BE49-F238E27FC236}">
                    <a16:creationId xmlns:a16="http://schemas.microsoft.com/office/drawing/2014/main" id="{BD1E0440-FD29-468F-8312-269D0D875D5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64" name="Straight Connector 1463">
                <a:extLst>
                  <a:ext uri="{FF2B5EF4-FFF2-40B4-BE49-F238E27FC236}">
                    <a16:creationId xmlns:a16="http://schemas.microsoft.com/office/drawing/2014/main" id="{B236E936-2BD2-4870-81B7-D3B58D5D6F1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13" name="Group 1312">
              <a:extLst>
                <a:ext uri="{FF2B5EF4-FFF2-40B4-BE49-F238E27FC236}">
                  <a16:creationId xmlns:a16="http://schemas.microsoft.com/office/drawing/2014/main" id="{DF0AC2AB-E89E-4249-B4E8-AE46F93C5AEF}"/>
                </a:ext>
              </a:extLst>
            </p:cNvPr>
            <p:cNvGrpSpPr/>
            <p:nvPr/>
          </p:nvGrpSpPr>
          <p:grpSpPr>
            <a:xfrm>
              <a:off x="2390126" y="3114923"/>
              <a:ext cx="70461" cy="72000"/>
              <a:chOff x="5800094" y="2078182"/>
              <a:chExt cx="70461" cy="72000"/>
            </a:xfrm>
          </p:grpSpPr>
          <p:cxnSp>
            <p:nvCxnSpPr>
              <p:cNvPr id="1461" name="Straight Connector 1460">
                <a:extLst>
                  <a:ext uri="{FF2B5EF4-FFF2-40B4-BE49-F238E27FC236}">
                    <a16:creationId xmlns:a16="http://schemas.microsoft.com/office/drawing/2014/main" id="{E590D2CA-73A9-49CA-9D97-B5F2145B8BB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62" name="Straight Connector 1461">
                <a:extLst>
                  <a:ext uri="{FF2B5EF4-FFF2-40B4-BE49-F238E27FC236}">
                    <a16:creationId xmlns:a16="http://schemas.microsoft.com/office/drawing/2014/main" id="{85BCC6CB-AC07-4528-98B7-36D17C43413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14" name="Group 1313">
              <a:extLst>
                <a:ext uri="{FF2B5EF4-FFF2-40B4-BE49-F238E27FC236}">
                  <a16:creationId xmlns:a16="http://schemas.microsoft.com/office/drawing/2014/main" id="{3002F102-8241-490B-8798-E626D0071778}"/>
                </a:ext>
              </a:extLst>
            </p:cNvPr>
            <p:cNvGrpSpPr/>
            <p:nvPr/>
          </p:nvGrpSpPr>
          <p:grpSpPr>
            <a:xfrm>
              <a:off x="2392184" y="3098197"/>
              <a:ext cx="70461" cy="72000"/>
              <a:chOff x="5800094" y="2078182"/>
              <a:chExt cx="70461" cy="72000"/>
            </a:xfrm>
          </p:grpSpPr>
          <p:cxnSp>
            <p:nvCxnSpPr>
              <p:cNvPr id="1459" name="Straight Connector 1458">
                <a:extLst>
                  <a:ext uri="{FF2B5EF4-FFF2-40B4-BE49-F238E27FC236}">
                    <a16:creationId xmlns:a16="http://schemas.microsoft.com/office/drawing/2014/main" id="{9E1563DC-0154-4A21-B48B-C9075A2DE6E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60" name="Straight Connector 1459">
                <a:extLst>
                  <a:ext uri="{FF2B5EF4-FFF2-40B4-BE49-F238E27FC236}">
                    <a16:creationId xmlns:a16="http://schemas.microsoft.com/office/drawing/2014/main" id="{95C76208-50B0-4252-8BC7-5F69A82DEC0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15" name="Group 1314">
              <a:extLst>
                <a:ext uri="{FF2B5EF4-FFF2-40B4-BE49-F238E27FC236}">
                  <a16:creationId xmlns:a16="http://schemas.microsoft.com/office/drawing/2014/main" id="{BE1D875C-D6BF-4A76-8582-004C14981EF6}"/>
                </a:ext>
              </a:extLst>
            </p:cNvPr>
            <p:cNvGrpSpPr/>
            <p:nvPr/>
          </p:nvGrpSpPr>
          <p:grpSpPr>
            <a:xfrm>
              <a:off x="2396635" y="3070473"/>
              <a:ext cx="70461" cy="72000"/>
              <a:chOff x="5800094" y="2078182"/>
              <a:chExt cx="70461" cy="72000"/>
            </a:xfrm>
          </p:grpSpPr>
          <p:cxnSp>
            <p:nvCxnSpPr>
              <p:cNvPr id="1457" name="Straight Connector 1456">
                <a:extLst>
                  <a:ext uri="{FF2B5EF4-FFF2-40B4-BE49-F238E27FC236}">
                    <a16:creationId xmlns:a16="http://schemas.microsoft.com/office/drawing/2014/main" id="{2D6A20C5-2C4E-437E-9CEE-B66622F25D9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58" name="Straight Connector 1457">
                <a:extLst>
                  <a:ext uri="{FF2B5EF4-FFF2-40B4-BE49-F238E27FC236}">
                    <a16:creationId xmlns:a16="http://schemas.microsoft.com/office/drawing/2014/main" id="{DD5D4507-D22E-465E-85D5-56F7B937F61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16" name="Group 1315">
              <a:extLst>
                <a:ext uri="{FF2B5EF4-FFF2-40B4-BE49-F238E27FC236}">
                  <a16:creationId xmlns:a16="http://schemas.microsoft.com/office/drawing/2014/main" id="{590EF53E-3D84-419E-83EF-8D59A2FE02F8}"/>
                </a:ext>
              </a:extLst>
            </p:cNvPr>
            <p:cNvGrpSpPr/>
            <p:nvPr/>
          </p:nvGrpSpPr>
          <p:grpSpPr>
            <a:xfrm>
              <a:off x="2384865" y="3046754"/>
              <a:ext cx="70461" cy="72000"/>
              <a:chOff x="5800094" y="2078182"/>
              <a:chExt cx="70461" cy="72000"/>
            </a:xfrm>
          </p:grpSpPr>
          <p:cxnSp>
            <p:nvCxnSpPr>
              <p:cNvPr id="1455" name="Straight Connector 1454">
                <a:extLst>
                  <a:ext uri="{FF2B5EF4-FFF2-40B4-BE49-F238E27FC236}">
                    <a16:creationId xmlns:a16="http://schemas.microsoft.com/office/drawing/2014/main" id="{4AED9C88-FE0C-4F71-AF73-6439AFEAC72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56" name="Straight Connector 1455">
                <a:extLst>
                  <a:ext uri="{FF2B5EF4-FFF2-40B4-BE49-F238E27FC236}">
                    <a16:creationId xmlns:a16="http://schemas.microsoft.com/office/drawing/2014/main" id="{CE0B087D-2889-4394-BBDB-8DCD3AB4675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17" name="Group 1316">
              <a:extLst>
                <a:ext uri="{FF2B5EF4-FFF2-40B4-BE49-F238E27FC236}">
                  <a16:creationId xmlns:a16="http://schemas.microsoft.com/office/drawing/2014/main" id="{88D62D9B-FC76-4BDE-A5D1-73F015E8F9FF}"/>
                </a:ext>
              </a:extLst>
            </p:cNvPr>
            <p:cNvGrpSpPr/>
            <p:nvPr/>
          </p:nvGrpSpPr>
          <p:grpSpPr>
            <a:xfrm>
              <a:off x="2364394" y="3044365"/>
              <a:ext cx="70461" cy="72000"/>
              <a:chOff x="5800094" y="2078182"/>
              <a:chExt cx="70461" cy="72000"/>
            </a:xfrm>
          </p:grpSpPr>
          <p:cxnSp>
            <p:nvCxnSpPr>
              <p:cNvPr id="1453" name="Straight Connector 1452">
                <a:extLst>
                  <a:ext uri="{FF2B5EF4-FFF2-40B4-BE49-F238E27FC236}">
                    <a16:creationId xmlns:a16="http://schemas.microsoft.com/office/drawing/2014/main" id="{40ECADBF-80CA-438C-9A85-9D6E60967CA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54" name="Straight Connector 1453">
                <a:extLst>
                  <a:ext uri="{FF2B5EF4-FFF2-40B4-BE49-F238E27FC236}">
                    <a16:creationId xmlns:a16="http://schemas.microsoft.com/office/drawing/2014/main" id="{150B7804-D689-4EB7-B565-A167040CEDD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18" name="Group 1317">
              <a:extLst>
                <a:ext uri="{FF2B5EF4-FFF2-40B4-BE49-F238E27FC236}">
                  <a16:creationId xmlns:a16="http://schemas.microsoft.com/office/drawing/2014/main" id="{096C5CA9-937D-4A57-9D48-825E0ECA69F3}"/>
                </a:ext>
              </a:extLst>
            </p:cNvPr>
            <p:cNvGrpSpPr/>
            <p:nvPr/>
          </p:nvGrpSpPr>
          <p:grpSpPr>
            <a:xfrm>
              <a:off x="2344501" y="3034473"/>
              <a:ext cx="70461" cy="72000"/>
              <a:chOff x="5800094" y="2078182"/>
              <a:chExt cx="70461" cy="72000"/>
            </a:xfrm>
          </p:grpSpPr>
          <p:cxnSp>
            <p:nvCxnSpPr>
              <p:cNvPr id="1451" name="Straight Connector 1450">
                <a:extLst>
                  <a:ext uri="{FF2B5EF4-FFF2-40B4-BE49-F238E27FC236}">
                    <a16:creationId xmlns:a16="http://schemas.microsoft.com/office/drawing/2014/main" id="{95C6A11D-B024-45A9-A314-0B956E70FB2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52" name="Straight Connector 1451">
                <a:extLst>
                  <a:ext uri="{FF2B5EF4-FFF2-40B4-BE49-F238E27FC236}">
                    <a16:creationId xmlns:a16="http://schemas.microsoft.com/office/drawing/2014/main" id="{361182E3-5594-43A2-AC2D-E8F1470D581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19" name="Group 1318">
              <a:extLst>
                <a:ext uri="{FF2B5EF4-FFF2-40B4-BE49-F238E27FC236}">
                  <a16:creationId xmlns:a16="http://schemas.microsoft.com/office/drawing/2014/main" id="{7B11D267-3A58-4B4F-9D3B-722382670A69}"/>
                </a:ext>
              </a:extLst>
            </p:cNvPr>
            <p:cNvGrpSpPr/>
            <p:nvPr/>
          </p:nvGrpSpPr>
          <p:grpSpPr>
            <a:xfrm>
              <a:off x="2336347" y="3008365"/>
              <a:ext cx="70461" cy="72000"/>
              <a:chOff x="5800094" y="2078182"/>
              <a:chExt cx="70461" cy="72000"/>
            </a:xfrm>
          </p:grpSpPr>
          <p:cxnSp>
            <p:nvCxnSpPr>
              <p:cNvPr id="1449" name="Straight Connector 1448">
                <a:extLst>
                  <a:ext uri="{FF2B5EF4-FFF2-40B4-BE49-F238E27FC236}">
                    <a16:creationId xmlns:a16="http://schemas.microsoft.com/office/drawing/2014/main" id="{05EC704C-2D90-47F8-B416-7A0E3398DD1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50" name="Straight Connector 1449">
                <a:extLst>
                  <a:ext uri="{FF2B5EF4-FFF2-40B4-BE49-F238E27FC236}">
                    <a16:creationId xmlns:a16="http://schemas.microsoft.com/office/drawing/2014/main" id="{775B8B29-CA53-48FD-B6EE-F812B3E173E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20" name="Group 1319">
              <a:extLst>
                <a:ext uri="{FF2B5EF4-FFF2-40B4-BE49-F238E27FC236}">
                  <a16:creationId xmlns:a16="http://schemas.microsoft.com/office/drawing/2014/main" id="{8F04F353-CE29-4D28-B856-C699DB3CB5A4}"/>
                </a:ext>
              </a:extLst>
            </p:cNvPr>
            <p:cNvGrpSpPr/>
            <p:nvPr/>
          </p:nvGrpSpPr>
          <p:grpSpPr>
            <a:xfrm>
              <a:off x="2339399" y="2988617"/>
              <a:ext cx="70461" cy="72000"/>
              <a:chOff x="5800094" y="2078182"/>
              <a:chExt cx="70461" cy="72000"/>
            </a:xfrm>
          </p:grpSpPr>
          <p:cxnSp>
            <p:nvCxnSpPr>
              <p:cNvPr id="1447" name="Straight Connector 1446">
                <a:extLst>
                  <a:ext uri="{FF2B5EF4-FFF2-40B4-BE49-F238E27FC236}">
                    <a16:creationId xmlns:a16="http://schemas.microsoft.com/office/drawing/2014/main" id="{B36FF8C6-837D-4CF1-99FF-F7F01C5F691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48" name="Straight Connector 1447">
                <a:extLst>
                  <a:ext uri="{FF2B5EF4-FFF2-40B4-BE49-F238E27FC236}">
                    <a16:creationId xmlns:a16="http://schemas.microsoft.com/office/drawing/2014/main" id="{9686F19B-C613-4A21-97D7-7FC0FFAA0AB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21" name="Group 1320">
              <a:extLst>
                <a:ext uri="{FF2B5EF4-FFF2-40B4-BE49-F238E27FC236}">
                  <a16:creationId xmlns:a16="http://schemas.microsoft.com/office/drawing/2014/main" id="{52EDA378-575E-454F-8068-E6FBFBF0518A}"/>
                </a:ext>
              </a:extLst>
            </p:cNvPr>
            <p:cNvGrpSpPr/>
            <p:nvPr/>
          </p:nvGrpSpPr>
          <p:grpSpPr>
            <a:xfrm>
              <a:off x="2338079" y="2946644"/>
              <a:ext cx="70461" cy="72000"/>
              <a:chOff x="5800094" y="2078182"/>
              <a:chExt cx="70461" cy="72000"/>
            </a:xfrm>
          </p:grpSpPr>
          <p:cxnSp>
            <p:nvCxnSpPr>
              <p:cNvPr id="1445" name="Straight Connector 1444">
                <a:extLst>
                  <a:ext uri="{FF2B5EF4-FFF2-40B4-BE49-F238E27FC236}">
                    <a16:creationId xmlns:a16="http://schemas.microsoft.com/office/drawing/2014/main" id="{EB00F188-0719-4F06-9848-619FF8154E9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46" name="Straight Connector 1445">
                <a:extLst>
                  <a:ext uri="{FF2B5EF4-FFF2-40B4-BE49-F238E27FC236}">
                    <a16:creationId xmlns:a16="http://schemas.microsoft.com/office/drawing/2014/main" id="{505AD208-41A0-4525-8BFF-2ADCB49679F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22" name="Group 1321">
              <a:extLst>
                <a:ext uri="{FF2B5EF4-FFF2-40B4-BE49-F238E27FC236}">
                  <a16:creationId xmlns:a16="http://schemas.microsoft.com/office/drawing/2014/main" id="{9BD96672-B9A4-4610-817F-0512B552D56E}"/>
                </a:ext>
              </a:extLst>
            </p:cNvPr>
            <p:cNvGrpSpPr/>
            <p:nvPr/>
          </p:nvGrpSpPr>
          <p:grpSpPr>
            <a:xfrm>
              <a:off x="2338079" y="2930393"/>
              <a:ext cx="70461" cy="72000"/>
              <a:chOff x="5800094" y="2078182"/>
              <a:chExt cx="70461" cy="72000"/>
            </a:xfrm>
          </p:grpSpPr>
          <p:cxnSp>
            <p:nvCxnSpPr>
              <p:cNvPr id="1443" name="Straight Connector 1442">
                <a:extLst>
                  <a:ext uri="{FF2B5EF4-FFF2-40B4-BE49-F238E27FC236}">
                    <a16:creationId xmlns:a16="http://schemas.microsoft.com/office/drawing/2014/main" id="{160ED1B8-5297-419C-B65E-42172FEF0B6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44" name="Straight Connector 1443">
                <a:extLst>
                  <a:ext uri="{FF2B5EF4-FFF2-40B4-BE49-F238E27FC236}">
                    <a16:creationId xmlns:a16="http://schemas.microsoft.com/office/drawing/2014/main" id="{9A4570C2-8F0B-4E09-A9C1-9EFCD4033AE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23" name="Group 1322">
              <a:extLst>
                <a:ext uri="{FF2B5EF4-FFF2-40B4-BE49-F238E27FC236}">
                  <a16:creationId xmlns:a16="http://schemas.microsoft.com/office/drawing/2014/main" id="{8EE9B028-FDD4-4BA6-996B-E364591BB93C}"/>
                </a:ext>
              </a:extLst>
            </p:cNvPr>
            <p:cNvGrpSpPr/>
            <p:nvPr/>
          </p:nvGrpSpPr>
          <p:grpSpPr>
            <a:xfrm>
              <a:off x="2338079" y="2914717"/>
              <a:ext cx="70461" cy="72000"/>
              <a:chOff x="5800094" y="2078182"/>
              <a:chExt cx="70461" cy="72000"/>
            </a:xfrm>
          </p:grpSpPr>
          <p:cxnSp>
            <p:nvCxnSpPr>
              <p:cNvPr id="1441" name="Straight Connector 1440">
                <a:extLst>
                  <a:ext uri="{FF2B5EF4-FFF2-40B4-BE49-F238E27FC236}">
                    <a16:creationId xmlns:a16="http://schemas.microsoft.com/office/drawing/2014/main" id="{AA4644D3-70C5-4401-B548-B7E70F20A7A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42" name="Straight Connector 1441">
                <a:extLst>
                  <a:ext uri="{FF2B5EF4-FFF2-40B4-BE49-F238E27FC236}">
                    <a16:creationId xmlns:a16="http://schemas.microsoft.com/office/drawing/2014/main" id="{C7D62DFE-3E8E-4689-8F9B-E4661900B11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24" name="Group 1323">
              <a:extLst>
                <a:ext uri="{FF2B5EF4-FFF2-40B4-BE49-F238E27FC236}">
                  <a16:creationId xmlns:a16="http://schemas.microsoft.com/office/drawing/2014/main" id="{55282CFE-B3E3-47EF-A4F7-DB78B9FF2472}"/>
                </a:ext>
              </a:extLst>
            </p:cNvPr>
            <p:cNvGrpSpPr/>
            <p:nvPr/>
          </p:nvGrpSpPr>
          <p:grpSpPr>
            <a:xfrm>
              <a:off x="2313884" y="2907447"/>
              <a:ext cx="70461" cy="72000"/>
              <a:chOff x="5800094" y="2078182"/>
              <a:chExt cx="70461" cy="72000"/>
            </a:xfrm>
          </p:grpSpPr>
          <p:cxnSp>
            <p:nvCxnSpPr>
              <p:cNvPr id="1439" name="Straight Connector 1438">
                <a:extLst>
                  <a:ext uri="{FF2B5EF4-FFF2-40B4-BE49-F238E27FC236}">
                    <a16:creationId xmlns:a16="http://schemas.microsoft.com/office/drawing/2014/main" id="{DC4FFEB6-FB76-44CF-886F-E91CB38916A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40" name="Straight Connector 1439">
                <a:extLst>
                  <a:ext uri="{FF2B5EF4-FFF2-40B4-BE49-F238E27FC236}">
                    <a16:creationId xmlns:a16="http://schemas.microsoft.com/office/drawing/2014/main" id="{B01B0456-EBC3-468C-B2E6-4E6A021DC9C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25" name="Group 1324">
              <a:extLst>
                <a:ext uri="{FF2B5EF4-FFF2-40B4-BE49-F238E27FC236}">
                  <a16:creationId xmlns:a16="http://schemas.microsoft.com/office/drawing/2014/main" id="{489B254A-25F5-408F-A268-F4C3EC438B3C}"/>
                </a:ext>
              </a:extLst>
            </p:cNvPr>
            <p:cNvGrpSpPr/>
            <p:nvPr/>
          </p:nvGrpSpPr>
          <p:grpSpPr>
            <a:xfrm>
              <a:off x="2287265" y="2909979"/>
              <a:ext cx="70461" cy="72000"/>
              <a:chOff x="5800094" y="2078182"/>
              <a:chExt cx="70461" cy="72000"/>
            </a:xfrm>
          </p:grpSpPr>
          <p:cxnSp>
            <p:nvCxnSpPr>
              <p:cNvPr id="1437" name="Straight Connector 1436">
                <a:extLst>
                  <a:ext uri="{FF2B5EF4-FFF2-40B4-BE49-F238E27FC236}">
                    <a16:creationId xmlns:a16="http://schemas.microsoft.com/office/drawing/2014/main" id="{2218E0E3-F991-42BF-BC44-3EA18F5DF02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38" name="Straight Connector 1437">
                <a:extLst>
                  <a:ext uri="{FF2B5EF4-FFF2-40B4-BE49-F238E27FC236}">
                    <a16:creationId xmlns:a16="http://schemas.microsoft.com/office/drawing/2014/main" id="{C1D0DD83-9250-4394-82E7-39A75AA29A9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26" name="Group 1325">
              <a:extLst>
                <a:ext uri="{FF2B5EF4-FFF2-40B4-BE49-F238E27FC236}">
                  <a16:creationId xmlns:a16="http://schemas.microsoft.com/office/drawing/2014/main" id="{2AD26591-CDAD-4629-A26F-C26B244BD05E}"/>
                </a:ext>
              </a:extLst>
            </p:cNvPr>
            <p:cNvGrpSpPr/>
            <p:nvPr/>
          </p:nvGrpSpPr>
          <p:grpSpPr>
            <a:xfrm>
              <a:off x="2264771" y="2909695"/>
              <a:ext cx="70461" cy="72000"/>
              <a:chOff x="5800094" y="2078182"/>
              <a:chExt cx="70461" cy="72000"/>
            </a:xfrm>
          </p:grpSpPr>
          <p:cxnSp>
            <p:nvCxnSpPr>
              <p:cNvPr id="1435" name="Straight Connector 1434">
                <a:extLst>
                  <a:ext uri="{FF2B5EF4-FFF2-40B4-BE49-F238E27FC236}">
                    <a16:creationId xmlns:a16="http://schemas.microsoft.com/office/drawing/2014/main" id="{F2454D60-B8E4-4DDA-958A-13042EBE218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36" name="Straight Connector 1435">
                <a:extLst>
                  <a:ext uri="{FF2B5EF4-FFF2-40B4-BE49-F238E27FC236}">
                    <a16:creationId xmlns:a16="http://schemas.microsoft.com/office/drawing/2014/main" id="{71D65B05-8491-48CA-9B58-A345ABF723B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27" name="Group 1326">
              <a:extLst>
                <a:ext uri="{FF2B5EF4-FFF2-40B4-BE49-F238E27FC236}">
                  <a16:creationId xmlns:a16="http://schemas.microsoft.com/office/drawing/2014/main" id="{8B52BE87-7C2E-4E6C-9A08-9198934D52C7}"/>
                </a:ext>
              </a:extLst>
            </p:cNvPr>
            <p:cNvGrpSpPr/>
            <p:nvPr/>
          </p:nvGrpSpPr>
          <p:grpSpPr>
            <a:xfrm>
              <a:off x="2248841" y="2877901"/>
              <a:ext cx="70461" cy="72000"/>
              <a:chOff x="5800094" y="2078182"/>
              <a:chExt cx="70461" cy="72000"/>
            </a:xfrm>
          </p:grpSpPr>
          <p:cxnSp>
            <p:nvCxnSpPr>
              <p:cNvPr id="1433" name="Straight Connector 1432">
                <a:extLst>
                  <a:ext uri="{FF2B5EF4-FFF2-40B4-BE49-F238E27FC236}">
                    <a16:creationId xmlns:a16="http://schemas.microsoft.com/office/drawing/2014/main" id="{E8925FE7-FD2F-45DE-897D-DD2E161C4B2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34" name="Straight Connector 1433">
                <a:extLst>
                  <a:ext uri="{FF2B5EF4-FFF2-40B4-BE49-F238E27FC236}">
                    <a16:creationId xmlns:a16="http://schemas.microsoft.com/office/drawing/2014/main" id="{C64FFE63-6628-4094-8186-7B3B7BC3389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28" name="Group 1327">
              <a:extLst>
                <a:ext uri="{FF2B5EF4-FFF2-40B4-BE49-F238E27FC236}">
                  <a16:creationId xmlns:a16="http://schemas.microsoft.com/office/drawing/2014/main" id="{C4662E4A-0B0A-4B3F-9A05-AF61EDCAA9F8}"/>
                </a:ext>
              </a:extLst>
            </p:cNvPr>
            <p:cNvGrpSpPr/>
            <p:nvPr/>
          </p:nvGrpSpPr>
          <p:grpSpPr>
            <a:xfrm>
              <a:off x="2243016" y="2858250"/>
              <a:ext cx="70461" cy="72000"/>
              <a:chOff x="5800094" y="2078182"/>
              <a:chExt cx="70461" cy="72000"/>
            </a:xfrm>
          </p:grpSpPr>
          <p:cxnSp>
            <p:nvCxnSpPr>
              <p:cNvPr id="1431" name="Straight Connector 1430">
                <a:extLst>
                  <a:ext uri="{FF2B5EF4-FFF2-40B4-BE49-F238E27FC236}">
                    <a16:creationId xmlns:a16="http://schemas.microsoft.com/office/drawing/2014/main" id="{F40DADCA-C4E6-4B5F-80D4-07BB5CAC5C2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32" name="Straight Connector 1431">
                <a:extLst>
                  <a:ext uri="{FF2B5EF4-FFF2-40B4-BE49-F238E27FC236}">
                    <a16:creationId xmlns:a16="http://schemas.microsoft.com/office/drawing/2014/main" id="{47AD0C4E-1210-4328-80FB-306CB88152D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29" name="Group 1328">
              <a:extLst>
                <a:ext uri="{FF2B5EF4-FFF2-40B4-BE49-F238E27FC236}">
                  <a16:creationId xmlns:a16="http://schemas.microsoft.com/office/drawing/2014/main" id="{2B77BB65-2628-4809-8D52-1C69F4C34D8A}"/>
                </a:ext>
              </a:extLst>
            </p:cNvPr>
            <p:cNvGrpSpPr/>
            <p:nvPr/>
          </p:nvGrpSpPr>
          <p:grpSpPr>
            <a:xfrm>
              <a:off x="2242000" y="2839046"/>
              <a:ext cx="70461" cy="72000"/>
              <a:chOff x="5800094" y="2078182"/>
              <a:chExt cx="70461" cy="72000"/>
            </a:xfrm>
          </p:grpSpPr>
          <p:cxnSp>
            <p:nvCxnSpPr>
              <p:cNvPr id="1429" name="Straight Connector 1428">
                <a:extLst>
                  <a:ext uri="{FF2B5EF4-FFF2-40B4-BE49-F238E27FC236}">
                    <a16:creationId xmlns:a16="http://schemas.microsoft.com/office/drawing/2014/main" id="{EDF00D0E-E2F9-4D1D-B7FE-5C8C8EB2058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30" name="Straight Connector 1429">
                <a:extLst>
                  <a:ext uri="{FF2B5EF4-FFF2-40B4-BE49-F238E27FC236}">
                    <a16:creationId xmlns:a16="http://schemas.microsoft.com/office/drawing/2014/main" id="{B4DE8BD9-F7FA-4493-8ED1-B47FFB2871E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30" name="Group 1329">
              <a:extLst>
                <a:ext uri="{FF2B5EF4-FFF2-40B4-BE49-F238E27FC236}">
                  <a16:creationId xmlns:a16="http://schemas.microsoft.com/office/drawing/2014/main" id="{5C35D849-5EC4-4596-BD5F-A4769EF2D959}"/>
                </a:ext>
              </a:extLst>
            </p:cNvPr>
            <p:cNvGrpSpPr/>
            <p:nvPr/>
          </p:nvGrpSpPr>
          <p:grpSpPr>
            <a:xfrm>
              <a:off x="2240071" y="2809947"/>
              <a:ext cx="70461" cy="72000"/>
              <a:chOff x="5800094" y="2078182"/>
              <a:chExt cx="70461" cy="72000"/>
            </a:xfrm>
          </p:grpSpPr>
          <p:cxnSp>
            <p:nvCxnSpPr>
              <p:cNvPr id="1427" name="Straight Connector 1426">
                <a:extLst>
                  <a:ext uri="{FF2B5EF4-FFF2-40B4-BE49-F238E27FC236}">
                    <a16:creationId xmlns:a16="http://schemas.microsoft.com/office/drawing/2014/main" id="{DFCFD0BD-F975-4732-9266-92930AF51B1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28" name="Straight Connector 1427">
                <a:extLst>
                  <a:ext uri="{FF2B5EF4-FFF2-40B4-BE49-F238E27FC236}">
                    <a16:creationId xmlns:a16="http://schemas.microsoft.com/office/drawing/2014/main" id="{D006B660-A445-42E6-9917-65ED0B1CB4F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31" name="Group 1330">
              <a:extLst>
                <a:ext uri="{FF2B5EF4-FFF2-40B4-BE49-F238E27FC236}">
                  <a16:creationId xmlns:a16="http://schemas.microsoft.com/office/drawing/2014/main" id="{64F73135-9AF3-49F6-9925-BB367C5B4486}"/>
                </a:ext>
              </a:extLst>
            </p:cNvPr>
            <p:cNvGrpSpPr/>
            <p:nvPr/>
          </p:nvGrpSpPr>
          <p:grpSpPr>
            <a:xfrm>
              <a:off x="2229540" y="2788212"/>
              <a:ext cx="70461" cy="72000"/>
              <a:chOff x="5800094" y="2078182"/>
              <a:chExt cx="70461" cy="72000"/>
            </a:xfrm>
          </p:grpSpPr>
          <p:cxnSp>
            <p:nvCxnSpPr>
              <p:cNvPr id="1425" name="Straight Connector 1424">
                <a:extLst>
                  <a:ext uri="{FF2B5EF4-FFF2-40B4-BE49-F238E27FC236}">
                    <a16:creationId xmlns:a16="http://schemas.microsoft.com/office/drawing/2014/main" id="{36F8156D-0F28-45A9-AEB1-EB421783A3E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26" name="Straight Connector 1425">
                <a:extLst>
                  <a:ext uri="{FF2B5EF4-FFF2-40B4-BE49-F238E27FC236}">
                    <a16:creationId xmlns:a16="http://schemas.microsoft.com/office/drawing/2014/main" id="{6C6A0334-0A69-4CE9-9E3D-A97E08B33EA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32" name="Group 1331">
              <a:extLst>
                <a:ext uri="{FF2B5EF4-FFF2-40B4-BE49-F238E27FC236}">
                  <a16:creationId xmlns:a16="http://schemas.microsoft.com/office/drawing/2014/main" id="{3DBE12D4-A680-4448-87CC-B00822FE77B7}"/>
                </a:ext>
              </a:extLst>
            </p:cNvPr>
            <p:cNvGrpSpPr/>
            <p:nvPr/>
          </p:nvGrpSpPr>
          <p:grpSpPr>
            <a:xfrm>
              <a:off x="2200945" y="2786476"/>
              <a:ext cx="70461" cy="72000"/>
              <a:chOff x="5800094" y="2078182"/>
              <a:chExt cx="70461" cy="72000"/>
            </a:xfrm>
          </p:grpSpPr>
          <p:cxnSp>
            <p:nvCxnSpPr>
              <p:cNvPr id="1423" name="Straight Connector 1422">
                <a:extLst>
                  <a:ext uri="{FF2B5EF4-FFF2-40B4-BE49-F238E27FC236}">
                    <a16:creationId xmlns:a16="http://schemas.microsoft.com/office/drawing/2014/main" id="{8752BFCB-CAC4-4709-B9C3-73CDBD31A30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24" name="Straight Connector 1423">
                <a:extLst>
                  <a:ext uri="{FF2B5EF4-FFF2-40B4-BE49-F238E27FC236}">
                    <a16:creationId xmlns:a16="http://schemas.microsoft.com/office/drawing/2014/main" id="{0D5C198F-0EF6-439F-9165-06D274809F8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33" name="Group 1332">
              <a:extLst>
                <a:ext uri="{FF2B5EF4-FFF2-40B4-BE49-F238E27FC236}">
                  <a16:creationId xmlns:a16="http://schemas.microsoft.com/office/drawing/2014/main" id="{DC4F8BFE-F39A-4CEE-A622-2C4B6BEFCD49}"/>
                </a:ext>
              </a:extLst>
            </p:cNvPr>
            <p:cNvGrpSpPr/>
            <p:nvPr/>
          </p:nvGrpSpPr>
          <p:grpSpPr>
            <a:xfrm>
              <a:off x="2167571" y="2783619"/>
              <a:ext cx="70461" cy="72000"/>
              <a:chOff x="5800094" y="2078182"/>
              <a:chExt cx="70461" cy="72000"/>
            </a:xfrm>
          </p:grpSpPr>
          <p:cxnSp>
            <p:nvCxnSpPr>
              <p:cNvPr id="1421" name="Straight Connector 1420">
                <a:extLst>
                  <a:ext uri="{FF2B5EF4-FFF2-40B4-BE49-F238E27FC236}">
                    <a16:creationId xmlns:a16="http://schemas.microsoft.com/office/drawing/2014/main" id="{06EA862D-D1F2-404B-838B-942B5CD235A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22" name="Straight Connector 1421">
                <a:extLst>
                  <a:ext uri="{FF2B5EF4-FFF2-40B4-BE49-F238E27FC236}">
                    <a16:creationId xmlns:a16="http://schemas.microsoft.com/office/drawing/2014/main" id="{A843C1EE-36FF-4391-B094-6CE648B2F3E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34" name="Group 1333">
              <a:extLst>
                <a:ext uri="{FF2B5EF4-FFF2-40B4-BE49-F238E27FC236}">
                  <a16:creationId xmlns:a16="http://schemas.microsoft.com/office/drawing/2014/main" id="{3D07819D-D676-495E-A7D0-B1EB6A9E3E8E}"/>
                </a:ext>
              </a:extLst>
            </p:cNvPr>
            <p:cNvGrpSpPr/>
            <p:nvPr/>
          </p:nvGrpSpPr>
          <p:grpSpPr>
            <a:xfrm>
              <a:off x="2147493" y="2776831"/>
              <a:ext cx="70461" cy="72000"/>
              <a:chOff x="5800094" y="2078182"/>
              <a:chExt cx="70461" cy="72000"/>
            </a:xfrm>
          </p:grpSpPr>
          <p:cxnSp>
            <p:nvCxnSpPr>
              <p:cNvPr id="1419" name="Straight Connector 1418">
                <a:extLst>
                  <a:ext uri="{FF2B5EF4-FFF2-40B4-BE49-F238E27FC236}">
                    <a16:creationId xmlns:a16="http://schemas.microsoft.com/office/drawing/2014/main" id="{084EB096-2A43-415E-879E-28067E6CBBD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20" name="Straight Connector 1419">
                <a:extLst>
                  <a:ext uri="{FF2B5EF4-FFF2-40B4-BE49-F238E27FC236}">
                    <a16:creationId xmlns:a16="http://schemas.microsoft.com/office/drawing/2014/main" id="{78AF8CBB-4F39-4D6A-947D-422E3561342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35" name="Group 1334">
              <a:extLst>
                <a:ext uri="{FF2B5EF4-FFF2-40B4-BE49-F238E27FC236}">
                  <a16:creationId xmlns:a16="http://schemas.microsoft.com/office/drawing/2014/main" id="{BA84E141-3D82-4A46-94B8-37F3BBBAB77A}"/>
                </a:ext>
              </a:extLst>
            </p:cNvPr>
            <p:cNvGrpSpPr/>
            <p:nvPr/>
          </p:nvGrpSpPr>
          <p:grpSpPr>
            <a:xfrm>
              <a:off x="2150963" y="2735376"/>
              <a:ext cx="70461" cy="72000"/>
              <a:chOff x="5800094" y="2078182"/>
              <a:chExt cx="70461" cy="72000"/>
            </a:xfrm>
          </p:grpSpPr>
          <p:cxnSp>
            <p:nvCxnSpPr>
              <p:cNvPr id="1417" name="Straight Connector 1416">
                <a:extLst>
                  <a:ext uri="{FF2B5EF4-FFF2-40B4-BE49-F238E27FC236}">
                    <a16:creationId xmlns:a16="http://schemas.microsoft.com/office/drawing/2014/main" id="{244CD6C4-390F-4DF2-A78E-999F9949BC8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18" name="Straight Connector 1417">
                <a:extLst>
                  <a:ext uri="{FF2B5EF4-FFF2-40B4-BE49-F238E27FC236}">
                    <a16:creationId xmlns:a16="http://schemas.microsoft.com/office/drawing/2014/main" id="{BF93D89A-3897-45C2-B468-40D45AA4D81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36" name="Group 1335">
              <a:extLst>
                <a:ext uri="{FF2B5EF4-FFF2-40B4-BE49-F238E27FC236}">
                  <a16:creationId xmlns:a16="http://schemas.microsoft.com/office/drawing/2014/main" id="{6428C84E-CE1E-4241-8141-B9C67941099B}"/>
                </a:ext>
              </a:extLst>
            </p:cNvPr>
            <p:cNvGrpSpPr/>
            <p:nvPr/>
          </p:nvGrpSpPr>
          <p:grpSpPr>
            <a:xfrm>
              <a:off x="2147492" y="2686276"/>
              <a:ext cx="70461" cy="72000"/>
              <a:chOff x="5800094" y="2078182"/>
              <a:chExt cx="70461" cy="72000"/>
            </a:xfrm>
          </p:grpSpPr>
          <p:cxnSp>
            <p:nvCxnSpPr>
              <p:cNvPr id="1415" name="Straight Connector 1414">
                <a:extLst>
                  <a:ext uri="{FF2B5EF4-FFF2-40B4-BE49-F238E27FC236}">
                    <a16:creationId xmlns:a16="http://schemas.microsoft.com/office/drawing/2014/main" id="{6C510866-8EEE-4F89-BCBE-3CAA6E1315E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16" name="Straight Connector 1415">
                <a:extLst>
                  <a:ext uri="{FF2B5EF4-FFF2-40B4-BE49-F238E27FC236}">
                    <a16:creationId xmlns:a16="http://schemas.microsoft.com/office/drawing/2014/main" id="{F621D621-4DB1-4EFF-B80C-9A7C4B2784B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37" name="Group 1336">
              <a:extLst>
                <a:ext uri="{FF2B5EF4-FFF2-40B4-BE49-F238E27FC236}">
                  <a16:creationId xmlns:a16="http://schemas.microsoft.com/office/drawing/2014/main" id="{C6DF16BA-3688-47D6-A8DB-B9CEA077E962}"/>
                </a:ext>
              </a:extLst>
            </p:cNvPr>
            <p:cNvGrpSpPr/>
            <p:nvPr/>
          </p:nvGrpSpPr>
          <p:grpSpPr>
            <a:xfrm>
              <a:off x="2123229" y="2652222"/>
              <a:ext cx="70461" cy="72000"/>
              <a:chOff x="5800094" y="2078182"/>
              <a:chExt cx="70461" cy="72000"/>
            </a:xfrm>
          </p:grpSpPr>
          <p:cxnSp>
            <p:nvCxnSpPr>
              <p:cNvPr id="1413" name="Straight Connector 1412">
                <a:extLst>
                  <a:ext uri="{FF2B5EF4-FFF2-40B4-BE49-F238E27FC236}">
                    <a16:creationId xmlns:a16="http://schemas.microsoft.com/office/drawing/2014/main" id="{3672C5E7-E633-4FF5-970D-0E62EA739FA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14" name="Straight Connector 1413">
                <a:extLst>
                  <a:ext uri="{FF2B5EF4-FFF2-40B4-BE49-F238E27FC236}">
                    <a16:creationId xmlns:a16="http://schemas.microsoft.com/office/drawing/2014/main" id="{583B1533-BD53-4D94-AD87-2E51E910CA6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38" name="Group 1337">
              <a:extLst>
                <a:ext uri="{FF2B5EF4-FFF2-40B4-BE49-F238E27FC236}">
                  <a16:creationId xmlns:a16="http://schemas.microsoft.com/office/drawing/2014/main" id="{D64F88B5-3351-4F69-8C98-05AEBE2905D1}"/>
                </a:ext>
              </a:extLst>
            </p:cNvPr>
            <p:cNvGrpSpPr/>
            <p:nvPr/>
          </p:nvGrpSpPr>
          <p:grpSpPr>
            <a:xfrm>
              <a:off x="2123267" y="2622973"/>
              <a:ext cx="70461" cy="72000"/>
              <a:chOff x="5800094" y="2078182"/>
              <a:chExt cx="70461" cy="72000"/>
            </a:xfrm>
          </p:grpSpPr>
          <p:cxnSp>
            <p:nvCxnSpPr>
              <p:cNvPr id="1411" name="Straight Connector 1410">
                <a:extLst>
                  <a:ext uri="{FF2B5EF4-FFF2-40B4-BE49-F238E27FC236}">
                    <a16:creationId xmlns:a16="http://schemas.microsoft.com/office/drawing/2014/main" id="{FAC56D25-AE80-42B8-ABB9-8CFEB6147CE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12" name="Straight Connector 1411">
                <a:extLst>
                  <a:ext uri="{FF2B5EF4-FFF2-40B4-BE49-F238E27FC236}">
                    <a16:creationId xmlns:a16="http://schemas.microsoft.com/office/drawing/2014/main" id="{6AB02A96-7069-46F1-AA6C-75C3517BBC2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39" name="Group 1338">
              <a:extLst>
                <a:ext uri="{FF2B5EF4-FFF2-40B4-BE49-F238E27FC236}">
                  <a16:creationId xmlns:a16="http://schemas.microsoft.com/office/drawing/2014/main" id="{29A51D50-7906-4296-939D-899124516EA7}"/>
                </a:ext>
              </a:extLst>
            </p:cNvPr>
            <p:cNvGrpSpPr/>
            <p:nvPr/>
          </p:nvGrpSpPr>
          <p:grpSpPr>
            <a:xfrm>
              <a:off x="2123229" y="2595495"/>
              <a:ext cx="70461" cy="72000"/>
              <a:chOff x="5800094" y="2078182"/>
              <a:chExt cx="70461" cy="72000"/>
            </a:xfrm>
          </p:grpSpPr>
          <p:cxnSp>
            <p:nvCxnSpPr>
              <p:cNvPr id="1409" name="Straight Connector 1408">
                <a:extLst>
                  <a:ext uri="{FF2B5EF4-FFF2-40B4-BE49-F238E27FC236}">
                    <a16:creationId xmlns:a16="http://schemas.microsoft.com/office/drawing/2014/main" id="{EA59F30F-C9BC-4068-AD19-490DF695955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10" name="Straight Connector 1409">
                <a:extLst>
                  <a:ext uri="{FF2B5EF4-FFF2-40B4-BE49-F238E27FC236}">
                    <a16:creationId xmlns:a16="http://schemas.microsoft.com/office/drawing/2014/main" id="{9631ACB6-3121-4DF7-BD73-32450730120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40" name="Group 1339">
              <a:extLst>
                <a:ext uri="{FF2B5EF4-FFF2-40B4-BE49-F238E27FC236}">
                  <a16:creationId xmlns:a16="http://schemas.microsoft.com/office/drawing/2014/main" id="{DCCD73E2-C657-43B0-8722-EBED621BA08F}"/>
                </a:ext>
              </a:extLst>
            </p:cNvPr>
            <p:cNvGrpSpPr/>
            <p:nvPr/>
          </p:nvGrpSpPr>
          <p:grpSpPr>
            <a:xfrm>
              <a:off x="2110819" y="2573672"/>
              <a:ext cx="70461" cy="72000"/>
              <a:chOff x="5800094" y="2078182"/>
              <a:chExt cx="70461" cy="72000"/>
            </a:xfrm>
          </p:grpSpPr>
          <p:cxnSp>
            <p:nvCxnSpPr>
              <p:cNvPr id="1407" name="Straight Connector 1406">
                <a:extLst>
                  <a:ext uri="{FF2B5EF4-FFF2-40B4-BE49-F238E27FC236}">
                    <a16:creationId xmlns:a16="http://schemas.microsoft.com/office/drawing/2014/main" id="{BE16F6D5-5C03-4497-A87C-C0BC280C972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08" name="Straight Connector 1407">
                <a:extLst>
                  <a:ext uri="{FF2B5EF4-FFF2-40B4-BE49-F238E27FC236}">
                    <a16:creationId xmlns:a16="http://schemas.microsoft.com/office/drawing/2014/main" id="{D95BD38F-9FBC-40F9-B59B-BBD88CE07D0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41" name="Group 1340">
              <a:extLst>
                <a:ext uri="{FF2B5EF4-FFF2-40B4-BE49-F238E27FC236}">
                  <a16:creationId xmlns:a16="http://schemas.microsoft.com/office/drawing/2014/main" id="{7778E7B0-3622-44F1-BEE8-46C311A6A6B1}"/>
                </a:ext>
              </a:extLst>
            </p:cNvPr>
            <p:cNvGrpSpPr/>
            <p:nvPr/>
          </p:nvGrpSpPr>
          <p:grpSpPr>
            <a:xfrm>
              <a:off x="2097495" y="2560923"/>
              <a:ext cx="70461" cy="72000"/>
              <a:chOff x="5800094" y="2078182"/>
              <a:chExt cx="70461" cy="72000"/>
            </a:xfrm>
          </p:grpSpPr>
          <p:cxnSp>
            <p:nvCxnSpPr>
              <p:cNvPr id="1405" name="Straight Connector 1404">
                <a:extLst>
                  <a:ext uri="{FF2B5EF4-FFF2-40B4-BE49-F238E27FC236}">
                    <a16:creationId xmlns:a16="http://schemas.microsoft.com/office/drawing/2014/main" id="{88E40E98-A788-45F2-A33E-B9FEFED2E14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06" name="Straight Connector 1405">
                <a:extLst>
                  <a:ext uri="{FF2B5EF4-FFF2-40B4-BE49-F238E27FC236}">
                    <a16:creationId xmlns:a16="http://schemas.microsoft.com/office/drawing/2014/main" id="{9AF1E635-334B-4DB0-A1B6-8F29E31FADA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42" name="Group 1341">
              <a:extLst>
                <a:ext uri="{FF2B5EF4-FFF2-40B4-BE49-F238E27FC236}">
                  <a16:creationId xmlns:a16="http://schemas.microsoft.com/office/drawing/2014/main" id="{F0C9A08C-DA30-45AA-86A4-157E97116FC5}"/>
                </a:ext>
              </a:extLst>
            </p:cNvPr>
            <p:cNvGrpSpPr/>
            <p:nvPr/>
          </p:nvGrpSpPr>
          <p:grpSpPr>
            <a:xfrm>
              <a:off x="2071684" y="2554737"/>
              <a:ext cx="70461" cy="72000"/>
              <a:chOff x="5800094" y="2078182"/>
              <a:chExt cx="70461" cy="72000"/>
            </a:xfrm>
          </p:grpSpPr>
          <p:cxnSp>
            <p:nvCxnSpPr>
              <p:cNvPr id="1403" name="Straight Connector 1402">
                <a:extLst>
                  <a:ext uri="{FF2B5EF4-FFF2-40B4-BE49-F238E27FC236}">
                    <a16:creationId xmlns:a16="http://schemas.microsoft.com/office/drawing/2014/main" id="{A7F62F22-C6BE-4EC1-944E-F424BCF0182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04" name="Straight Connector 1403">
                <a:extLst>
                  <a:ext uri="{FF2B5EF4-FFF2-40B4-BE49-F238E27FC236}">
                    <a16:creationId xmlns:a16="http://schemas.microsoft.com/office/drawing/2014/main" id="{6B077D42-758F-4FAD-A14C-E9287759A53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43" name="Group 1342">
              <a:extLst>
                <a:ext uri="{FF2B5EF4-FFF2-40B4-BE49-F238E27FC236}">
                  <a16:creationId xmlns:a16="http://schemas.microsoft.com/office/drawing/2014/main" id="{DA33A863-071B-403C-8943-F1E343B3646D}"/>
                </a:ext>
              </a:extLst>
            </p:cNvPr>
            <p:cNvGrpSpPr/>
            <p:nvPr/>
          </p:nvGrpSpPr>
          <p:grpSpPr>
            <a:xfrm>
              <a:off x="2052768" y="2552282"/>
              <a:ext cx="70461" cy="72000"/>
              <a:chOff x="5800094" y="2078182"/>
              <a:chExt cx="70461" cy="72000"/>
            </a:xfrm>
          </p:grpSpPr>
          <p:cxnSp>
            <p:nvCxnSpPr>
              <p:cNvPr id="1401" name="Straight Connector 1400">
                <a:extLst>
                  <a:ext uri="{FF2B5EF4-FFF2-40B4-BE49-F238E27FC236}">
                    <a16:creationId xmlns:a16="http://schemas.microsoft.com/office/drawing/2014/main" id="{3568CEAE-8E28-4B9B-9173-A75BC54E3C2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02" name="Straight Connector 1401">
                <a:extLst>
                  <a:ext uri="{FF2B5EF4-FFF2-40B4-BE49-F238E27FC236}">
                    <a16:creationId xmlns:a16="http://schemas.microsoft.com/office/drawing/2014/main" id="{A85E2F2F-9C95-49F2-BA0B-573CF1A9E8F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44" name="Group 1343">
              <a:extLst>
                <a:ext uri="{FF2B5EF4-FFF2-40B4-BE49-F238E27FC236}">
                  <a16:creationId xmlns:a16="http://schemas.microsoft.com/office/drawing/2014/main" id="{186E3955-6D7E-484B-A3C2-514C1741CA92}"/>
                </a:ext>
              </a:extLst>
            </p:cNvPr>
            <p:cNvGrpSpPr/>
            <p:nvPr/>
          </p:nvGrpSpPr>
          <p:grpSpPr>
            <a:xfrm>
              <a:off x="2050816" y="2527185"/>
              <a:ext cx="70461" cy="72000"/>
              <a:chOff x="5800094" y="2078182"/>
              <a:chExt cx="70461" cy="72000"/>
            </a:xfrm>
          </p:grpSpPr>
          <p:cxnSp>
            <p:nvCxnSpPr>
              <p:cNvPr id="1399" name="Straight Connector 1398">
                <a:extLst>
                  <a:ext uri="{FF2B5EF4-FFF2-40B4-BE49-F238E27FC236}">
                    <a16:creationId xmlns:a16="http://schemas.microsoft.com/office/drawing/2014/main" id="{D800A1F3-8535-4CCC-975A-B59319972E4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00" name="Straight Connector 1399">
                <a:extLst>
                  <a:ext uri="{FF2B5EF4-FFF2-40B4-BE49-F238E27FC236}">
                    <a16:creationId xmlns:a16="http://schemas.microsoft.com/office/drawing/2014/main" id="{EBDB2EBF-6B5D-48E7-A2D8-F6118CC85EA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45" name="Group 1344">
              <a:extLst>
                <a:ext uri="{FF2B5EF4-FFF2-40B4-BE49-F238E27FC236}">
                  <a16:creationId xmlns:a16="http://schemas.microsoft.com/office/drawing/2014/main" id="{550E9442-7235-4733-8942-EB61A0277E3A}"/>
                </a:ext>
              </a:extLst>
            </p:cNvPr>
            <p:cNvGrpSpPr/>
            <p:nvPr/>
          </p:nvGrpSpPr>
          <p:grpSpPr>
            <a:xfrm>
              <a:off x="2046563" y="2500496"/>
              <a:ext cx="70461" cy="72000"/>
              <a:chOff x="5800094" y="2078182"/>
              <a:chExt cx="70461" cy="72000"/>
            </a:xfrm>
          </p:grpSpPr>
          <p:cxnSp>
            <p:nvCxnSpPr>
              <p:cNvPr id="1397" name="Straight Connector 1396">
                <a:extLst>
                  <a:ext uri="{FF2B5EF4-FFF2-40B4-BE49-F238E27FC236}">
                    <a16:creationId xmlns:a16="http://schemas.microsoft.com/office/drawing/2014/main" id="{C72F13C2-E4E5-42B0-B2A8-2A68D6A7CB8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98" name="Straight Connector 1397">
                <a:extLst>
                  <a:ext uri="{FF2B5EF4-FFF2-40B4-BE49-F238E27FC236}">
                    <a16:creationId xmlns:a16="http://schemas.microsoft.com/office/drawing/2014/main" id="{6C7CA7D2-EDEE-4389-B11B-6A0EC80F727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46" name="Group 1345">
              <a:extLst>
                <a:ext uri="{FF2B5EF4-FFF2-40B4-BE49-F238E27FC236}">
                  <a16:creationId xmlns:a16="http://schemas.microsoft.com/office/drawing/2014/main" id="{AEAD3C1C-7AAF-4500-B004-89691230546D}"/>
                </a:ext>
              </a:extLst>
            </p:cNvPr>
            <p:cNvGrpSpPr/>
            <p:nvPr/>
          </p:nvGrpSpPr>
          <p:grpSpPr>
            <a:xfrm>
              <a:off x="2038905" y="2472630"/>
              <a:ext cx="70461" cy="72000"/>
              <a:chOff x="5800094" y="2078182"/>
              <a:chExt cx="70461" cy="72000"/>
            </a:xfrm>
          </p:grpSpPr>
          <p:cxnSp>
            <p:nvCxnSpPr>
              <p:cNvPr id="1395" name="Straight Connector 1394">
                <a:extLst>
                  <a:ext uri="{FF2B5EF4-FFF2-40B4-BE49-F238E27FC236}">
                    <a16:creationId xmlns:a16="http://schemas.microsoft.com/office/drawing/2014/main" id="{DEBFAD2B-D822-42B9-B6D6-3ABA32BF1A2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96" name="Straight Connector 1395">
                <a:extLst>
                  <a:ext uri="{FF2B5EF4-FFF2-40B4-BE49-F238E27FC236}">
                    <a16:creationId xmlns:a16="http://schemas.microsoft.com/office/drawing/2014/main" id="{280592F5-FE0A-4DF6-A8F5-D0051856FEF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47" name="Group 1346">
              <a:extLst>
                <a:ext uri="{FF2B5EF4-FFF2-40B4-BE49-F238E27FC236}">
                  <a16:creationId xmlns:a16="http://schemas.microsoft.com/office/drawing/2014/main" id="{08608009-7DD1-4E4A-904D-04FA0E330804}"/>
                </a:ext>
              </a:extLst>
            </p:cNvPr>
            <p:cNvGrpSpPr/>
            <p:nvPr/>
          </p:nvGrpSpPr>
          <p:grpSpPr>
            <a:xfrm>
              <a:off x="2036453" y="2436389"/>
              <a:ext cx="70461" cy="72000"/>
              <a:chOff x="5800094" y="2078182"/>
              <a:chExt cx="70461" cy="72000"/>
            </a:xfrm>
          </p:grpSpPr>
          <p:cxnSp>
            <p:nvCxnSpPr>
              <p:cNvPr id="1393" name="Straight Connector 1392">
                <a:extLst>
                  <a:ext uri="{FF2B5EF4-FFF2-40B4-BE49-F238E27FC236}">
                    <a16:creationId xmlns:a16="http://schemas.microsoft.com/office/drawing/2014/main" id="{FE9B1A38-7B66-4FD9-BC2E-9423D659A51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94" name="Straight Connector 1393">
                <a:extLst>
                  <a:ext uri="{FF2B5EF4-FFF2-40B4-BE49-F238E27FC236}">
                    <a16:creationId xmlns:a16="http://schemas.microsoft.com/office/drawing/2014/main" id="{A4E48625-C9DA-42B7-9D81-34CA763DCB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48" name="Group 1347">
              <a:extLst>
                <a:ext uri="{FF2B5EF4-FFF2-40B4-BE49-F238E27FC236}">
                  <a16:creationId xmlns:a16="http://schemas.microsoft.com/office/drawing/2014/main" id="{40BBACD6-1833-4A7E-A691-1539A8AFC436}"/>
                </a:ext>
              </a:extLst>
            </p:cNvPr>
            <p:cNvGrpSpPr/>
            <p:nvPr/>
          </p:nvGrpSpPr>
          <p:grpSpPr>
            <a:xfrm>
              <a:off x="2027034" y="2415948"/>
              <a:ext cx="70461" cy="72000"/>
              <a:chOff x="5800094" y="2078182"/>
              <a:chExt cx="70461" cy="72000"/>
            </a:xfrm>
          </p:grpSpPr>
          <p:cxnSp>
            <p:nvCxnSpPr>
              <p:cNvPr id="1391" name="Straight Connector 1390">
                <a:extLst>
                  <a:ext uri="{FF2B5EF4-FFF2-40B4-BE49-F238E27FC236}">
                    <a16:creationId xmlns:a16="http://schemas.microsoft.com/office/drawing/2014/main" id="{69466D4A-0B28-422B-90B3-3C35F2749F8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92" name="Straight Connector 1391">
                <a:extLst>
                  <a:ext uri="{FF2B5EF4-FFF2-40B4-BE49-F238E27FC236}">
                    <a16:creationId xmlns:a16="http://schemas.microsoft.com/office/drawing/2014/main" id="{ECBCEE8F-DD56-464A-9EF4-325CA940849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49" name="Group 1348">
              <a:extLst>
                <a:ext uri="{FF2B5EF4-FFF2-40B4-BE49-F238E27FC236}">
                  <a16:creationId xmlns:a16="http://schemas.microsoft.com/office/drawing/2014/main" id="{CB0DC603-F45B-4653-BD7B-E3EADD7D0C27}"/>
                </a:ext>
              </a:extLst>
            </p:cNvPr>
            <p:cNvGrpSpPr/>
            <p:nvPr/>
          </p:nvGrpSpPr>
          <p:grpSpPr>
            <a:xfrm>
              <a:off x="1993565" y="2413298"/>
              <a:ext cx="70461" cy="72000"/>
              <a:chOff x="5800094" y="2078182"/>
              <a:chExt cx="70461" cy="72000"/>
            </a:xfrm>
          </p:grpSpPr>
          <p:cxnSp>
            <p:nvCxnSpPr>
              <p:cNvPr id="1389" name="Straight Connector 1388">
                <a:extLst>
                  <a:ext uri="{FF2B5EF4-FFF2-40B4-BE49-F238E27FC236}">
                    <a16:creationId xmlns:a16="http://schemas.microsoft.com/office/drawing/2014/main" id="{197E158A-B902-4B32-9D4B-67501869991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90" name="Straight Connector 1389">
                <a:extLst>
                  <a:ext uri="{FF2B5EF4-FFF2-40B4-BE49-F238E27FC236}">
                    <a16:creationId xmlns:a16="http://schemas.microsoft.com/office/drawing/2014/main" id="{96D2362E-D0B9-41CC-9599-05A1BD1F827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50" name="Group 1349">
              <a:extLst>
                <a:ext uri="{FF2B5EF4-FFF2-40B4-BE49-F238E27FC236}">
                  <a16:creationId xmlns:a16="http://schemas.microsoft.com/office/drawing/2014/main" id="{C03FA198-1543-47ED-9282-C0C30055B36A}"/>
                </a:ext>
              </a:extLst>
            </p:cNvPr>
            <p:cNvGrpSpPr/>
            <p:nvPr/>
          </p:nvGrpSpPr>
          <p:grpSpPr>
            <a:xfrm>
              <a:off x="1974188" y="2395111"/>
              <a:ext cx="70461" cy="72000"/>
              <a:chOff x="5800094" y="2078182"/>
              <a:chExt cx="70461" cy="72000"/>
            </a:xfrm>
          </p:grpSpPr>
          <p:cxnSp>
            <p:nvCxnSpPr>
              <p:cNvPr id="1387" name="Straight Connector 1386">
                <a:extLst>
                  <a:ext uri="{FF2B5EF4-FFF2-40B4-BE49-F238E27FC236}">
                    <a16:creationId xmlns:a16="http://schemas.microsoft.com/office/drawing/2014/main" id="{AD22D437-7A45-4470-AF1A-DB5B7E3AE1F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88" name="Straight Connector 1387">
                <a:extLst>
                  <a:ext uri="{FF2B5EF4-FFF2-40B4-BE49-F238E27FC236}">
                    <a16:creationId xmlns:a16="http://schemas.microsoft.com/office/drawing/2014/main" id="{27CE5DBA-751F-43E3-8B6A-CEFF60A0E28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51" name="Group 1350">
              <a:extLst>
                <a:ext uri="{FF2B5EF4-FFF2-40B4-BE49-F238E27FC236}">
                  <a16:creationId xmlns:a16="http://schemas.microsoft.com/office/drawing/2014/main" id="{061B4926-CC2D-4B52-AF65-2A4D86B2DC45}"/>
                </a:ext>
              </a:extLst>
            </p:cNvPr>
            <p:cNvGrpSpPr/>
            <p:nvPr/>
          </p:nvGrpSpPr>
          <p:grpSpPr>
            <a:xfrm>
              <a:off x="1971240" y="2356979"/>
              <a:ext cx="70461" cy="72000"/>
              <a:chOff x="5800094" y="2078182"/>
              <a:chExt cx="70461" cy="72000"/>
            </a:xfrm>
          </p:grpSpPr>
          <p:cxnSp>
            <p:nvCxnSpPr>
              <p:cNvPr id="1385" name="Straight Connector 1384">
                <a:extLst>
                  <a:ext uri="{FF2B5EF4-FFF2-40B4-BE49-F238E27FC236}">
                    <a16:creationId xmlns:a16="http://schemas.microsoft.com/office/drawing/2014/main" id="{5AE2BD2E-152A-436E-B102-36DD9C3A9D6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86" name="Straight Connector 1385">
                <a:extLst>
                  <a:ext uri="{FF2B5EF4-FFF2-40B4-BE49-F238E27FC236}">
                    <a16:creationId xmlns:a16="http://schemas.microsoft.com/office/drawing/2014/main" id="{80C5B590-DF5A-439B-9979-4D8D1E2742A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52" name="Group 1351">
              <a:extLst>
                <a:ext uri="{FF2B5EF4-FFF2-40B4-BE49-F238E27FC236}">
                  <a16:creationId xmlns:a16="http://schemas.microsoft.com/office/drawing/2014/main" id="{8D588A60-B176-4672-90FD-D23CE98FAEC3}"/>
                </a:ext>
              </a:extLst>
            </p:cNvPr>
            <p:cNvGrpSpPr/>
            <p:nvPr/>
          </p:nvGrpSpPr>
          <p:grpSpPr>
            <a:xfrm>
              <a:off x="1965992" y="2311255"/>
              <a:ext cx="70461" cy="72000"/>
              <a:chOff x="5800094" y="2078182"/>
              <a:chExt cx="70461" cy="72000"/>
            </a:xfrm>
          </p:grpSpPr>
          <p:cxnSp>
            <p:nvCxnSpPr>
              <p:cNvPr id="1383" name="Straight Connector 1382">
                <a:extLst>
                  <a:ext uri="{FF2B5EF4-FFF2-40B4-BE49-F238E27FC236}">
                    <a16:creationId xmlns:a16="http://schemas.microsoft.com/office/drawing/2014/main" id="{B42AD5F8-FC4E-4598-BDAD-0C1BC887171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84" name="Straight Connector 1383">
                <a:extLst>
                  <a:ext uri="{FF2B5EF4-FFF2-40B4-BE49-F238E27FC236}">
                    <a16:creationId xmlns:a16="http://schemas.microsoft.com/office/drawing/2014/main" id="{C3A5754B-3AC6-43CE-BC63-590DD52AECC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53" name="Group 1352">
              <a:extLst>
                <a:ext uri="{FF2B5EF4-FFF2-40B4-BE49-F238E27FC236}">
                  <a16:creationId xmlns:a16="http://schemas.microsoft.com/office/drawing/2014/main" id="{DD56C1D9-C006-4ECC-AA70-1D3A6EF61B3C}"/>
                </a:ext>
              </a:extLst>
            </p:cNvPr>
            <p:cNvGrpSpPr/>
            <p:nvPr/>
          </p:nvGrpSpPr>
          <p:grpSpPr>
            <a:xfrm>
              <a:off x="1967681" y="2272781"/>
              <a:ext cx="70461" cy="72000"/>
              <a:chOff x="5800094" y="2078182"/>
              <a:chExt cx="70461" cy="72000"/>
            </a:xfrm>
          </p:grpSpPr>
          <p:cxnSp>
            <p:nvCxnSpPr>
              <p:cNvPr id="1381" name="Straight Connector 1380">
                <a:extLst>
                  <a:ext uri="{FF2B5EF4-FFF2-40B4-BE49-F238E27FC236}">
                    <a16:creationId xmlns:a16="http://schemas.microsoft.com/office/drawing/2014/main" id="{BF211B65-990D-4776-872D-DB433DAAEE5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82" name="Straight Connector 1381">
                <a:extLst>
                  <a:ext uri="{FF2B5EF4-FFF2-40B4-BE49-F238E27FC236}">
                    <a16:creationId xmlns:a16="http://schemas.microsoft.com/office/drawing/2014/main" id="{32081A88-EBC8-44A6-8EE5-75DAF743697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54" name="Group 1353">
              <a:extLst>
                <a:ext uri="{FF2B5EF4-FFF2-40B4-BE49-F238E27FC236}">
                  <a16:creationId xmlns:a16="http://schemas.microsoft.com/office/drawing/2014/main" id="{A3011B08-04A2-4111-8AE5-097F2E34F2FC}"/>
                </a:ext>
              </a:extLst>
            </p:cNvPr>
            <p:cNvGrpSpPr/>
            <p:nvPr/>
          </p:nvGrpSpPr>
          <p:grpSpPr>
            <a:xfrm>
              <a:off x="1946889" y="2267846"/>
              <a:ext cx="70461" cy="72000"/>
              <a:chOff x="5800094" y="2078182"/>
              <a:chExt cx="70461" cy="72000"/>
            </a:xfrm>
          </p:grpSpPr>
          <p:cxnSp>
            <p:nvCxnSpPr>
              <p:cNvPr id="1379" name="Straight Connector 1378">
                <a:extLst>
                  <a:ext uri="{FF2B5EF4-FFF2-40B4-BE49-F238E27FC236}">
                    <a16:creationId xmlns:a16="http://schemas.microsoft.com/office/drawing/2014/main" id="{3CF970EB-E2BD-4747-9698-99D57ABC922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80" name="Straight Connector 1379">
                <a:extLst>
                  <a:ext uri="{FF2B5EF4-FFF2-40B4-BE49-F238E27FC236}">
                    <a16:creationId xmlns:a16="http://schemas.microsoft.com/office/drawing/2014/main" id="{46CCFA52-7EE0-4C5B-88B0-A4DF78CE624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55" name="Group 1354">
              <a:extLst>
                <a:ext uri="{FF2B5EF4-FFF2-40B4-BE49-F238E27FC236}">
                  <a16:creationId xmlns:a16="http://schemas.microsoft.com/office/drawing/2014/main" id="{281E12B6-6BFE-43ED-BA1B-D8EBCFD3A2B5}"/>
                </a:ext>
              </a:extLst>
            </p:cNvPr>
            <p:cNvGrpSpPr/>
            <p:nvPr/>
          </p:nvGrpSpPr>
          <p:grpSpPr>
            <a:xfrm>
              <a:off x="1921992" y="2230905"/>
              <a:ext cx="70461" cy="72000"/>
              <a:chOff x="5800094" y="2078182"/>
              <a:chExt cx="70461" cy="72000"/>
            </a:xfrm>
          </p:grpSpPr>
          <p:cxnSp>
            <p:nvCxnSpPr>
              <p:cNvPr id="1377" name="Straight Connector 1376">
                <a:extLst>
                  <a:ext uri="{FF2B5EF4-FFF2-40B4-BE49-F238E27FC236}">
                    <a16:creationId xmlns:a16="http://schemas.microsoft.com/office/drawing/2014/main" id="{F341E065-EAC8-487F-8CD6-51FE00C48A6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78" name="Straight Connector 1377">
                <a:extLst>
                  <a:ext uri="{FF2B5EF4-FFF2-40B4-BE49-F238E27FC236}">
                    <a16:creationId xmlns:a16="http://schemas.microsoft.com/office/drawing/2014/main" id="{AB921AA0-CC43-423B-ACC0-A8325BF5442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56" name="Group 1355">
              <a:extLst>
                <a:ext uri="{FF2B5EF4-FFF2-40B4-BE49-F238E27FC236}">
                  <a16:creationId xmlns:a16="http://schemas.microsoft.com/office/drawing/2014/main" id="{F3625565-1CBA-44A1-A30F-82715EFCC708}"/>
                </a:ext>
              </a:extLst>
            </p:cNvPr>
            <p:cNvGrpSpPr/>
            <p:nvPr/>
          </p:nvGrpSpPr>
          <p:grpSpPr>
            <a:xfrm>
              <a:off x="1920263" y="2197878"/>
              <a:ext cx="70461" cy="72000"/>
              <a:chOff x="5800094" y="2078182"/>
              <a:chExt cx="70461" cy="72000"/>
            </a:xfrm>
          </p:grpSpPr>
          <p:cxnSp>
            <p:nvCxnSpPr>
              <p:cNvPr id="1375" name="Straight Connector 1374">
                <a:extLst>
                  <a:ext uri="{FF2B5EF4-FFF2-40B4-BE49-F238E27FC236}">
                    <a16:creationId xmlns:a16="http://schemas.microsoft.com/office/drawing/2014/main" id="{F34A3A47-2BC6-4086-BBBF-127819958E4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76" name="Straight Connector 1375">
                <a:extLst>
                  <a:ext uri="{FF2B5EF4-FFF2-40B4-BE49-F238E27FC236}">
                    <a16:creationId xmlns:a16="http://schemas.microsoft.com/office/drawing/2014/main" id="{28038B17-83F4-4C9A-8BCE-9F03519D7FD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57" name="Group 1356">
              <a:extLst>
                <a:ext uri="{FF2B5EF4-FFF2-40B4-BE49-F238E27FC236}">
                  <a16:creationId xmlns:a16="http://schemas.microsoft.com/office/drawing/2014/main" id="{456C30EB-1992-44B4-84E8-1273FDADD091}"/>
                </a:ext>
              </a:extLst>
            </p:cNvPr>
            <p:cNvGrpSpPr/>
            <p:nvPr/>
          </p:nvGrpSpPr>
          <p:grpSpPr>
            <a:xfrm>
              <a:off x="1918008" y="2165729"/>
              <a:ext cx="70461" cy="72000"/>
              <a:chOff x="5800094" y="2078182"/>
              <a:chExt cx="70461" cy="72000"/>
            </a:xfrm>
          </p:grpSpPr>
          <p:cxnSp>
            <p:nvCxnSpPr>
              <p:cNvPr id="1373" name="Straight Connector 1372">
                <a:extLst>
                  <a:ext uri="{FF2B5EF4-FFF2-40B4-BE49-F238E27FC236}">
                    <a16:creationId xmlns:a16="http://schemas.microsoft.com/office/drawing/2014/main" id="{0E738F6E-8C12-4512-B203-3865CD2783B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74" name="Straight Connector 1373">
                <a:extLst>
                  <a:ext uri="{FF2B5EF4-FFF2-40B4-BE49-F238E27FC236}">
                    <a16:creationId xmlns:a16="http://schemas.microsoft.com/office/drawing/2014/main" id="{D6DC17C6-3A28-4A30-AD0E-EEB90E68D7B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58" name="Group 1357">
              <a:extLst>
                <a:ext uri="{FF2B5EF4-FFF2-40B4-BE49-F238E27FC236}">
                  <a16:creationId xmlns:a16="http://schemas.microsoft.com/office/drawing/2014/main" id="{4ADD8C88-08D7-438A-A145-263A09C75A59}"/>
                </a:ext>
              </a:extLst>
            </p:cNvPr>
            <p:cNvGrpSpPr/>
            <p:nvPr/>
          </p:nvGrpSpPr>
          <p:grpSpPr>
            <a:xfrm>
              <a:off x="1879839" y="2168569"/>
              <a:ext cx="70461" cy="72000"/>
              <a:chOff x="5800094" y="2078182"/>
              <a:chExt cx="70461" cy="72000"/>
            </a:xfrm>
          </p:grpSpPr>
          <p:cxnSp>
            <p:nvCxnSpPr>
              <p:cNvPr id="1371" name="Straight Connector 1370">
                <a:extLst>
                  <a:ext uri="{FF2B5EF4-FFF2-40B4-BE49-F238E27FC236}">
                    <a16:creationId xmlns:a16="http://schemas.microsoft.com/office/drawing/2014/main" id="{CB9FD454-5F47-4893-8DF6-6FDBB01B1A7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72" name="Straight Connector 1371">
                <a:extLst>
                  <a:ext uri="{FF2B5EF4-FFF2-40B4-BE49-F238E27FC236}">
                    <a16:creationId xmlns:a16="http://schemas.microsoft.com/office/drawing/2014/main" id="{88FC716C-4E01-478A-8B59-7EE6E4AEAFD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59" name="Group 1358">
              <a:extLst>
                <a:ext uri="{FF2B5EF4-FFF2-40B4-BE49-F238E27FC236}">
                  <a16:creationId xmlns:a16="http://schemas.microsoft.com/office/drawing/2014/main" id="{D17F11B7-FAA1-484E-81A4-2FFC6FCA39C4}"/>
                </a:ext>
              </a:extLst>
            </p:cNvPr>
            <p:cNvGrpSpPr/>
            <p:nvPr/>
          </p:nvGrpSpPr>
          <p:grpSpPr>
            <a:xfrm>
              <a:off x="1853714" y="2165729"/>
              <a:ext cx="70461" cy="72000"/>
              <a:chOff x="5800094" y="2078182"/>
              <a:chExt cx="70461" cy="72000"/>
            </a:xfrm>
          </p:grpSpPr>
          <p:cxnSp>
            <p:nvCxnSpPr>
              <p:cNvPr id="1369" name="Straight Connector 1368">
                <a:extLst>
                  <a:ext uri="{FF2B5EF4-FFF2-40B4-BE49-F238E27FC236}">
                    <a16:creationId xmlns:a16="http://schemas.microsoft.com/office/drawing/2014/main" id="{93520F41-848F-4889-A67D-69F913F394E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70" name="Straight Connector 1369">
                <a:extLst>
                  <a:ext uri="{FF2B5EF4-FFF2-40B4-BE49-F238E27FC236}">
                    <a16:creationId xmlns:a16="http://schemas.microsoft.com/office/drawing/2014/main" id="{7E0D897F-3DF2-441E-B3ED-8BEBE8A6256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60" name="Group 1359">
              <a:extLst>
                <a:ext uri="{FF2B5EF4-FFF2-40B4-BE49-F238E27FC236}">
                  <a16:creationId xmlns:a16="http://schemas.microsoft.com/office/drawing/2014/main" id="{E1226B07-A9F5-46FA-A6B4-104677C8E31A}"/>
                </a:ext>
              </a:extLst>
            </p:cNvPr>
            <p:cNvGrpSpPr/>
            <p:nvPr/>
          </p:nvGrpSpPr>
          <p:grpSpPr>
            <a:xfrm>
              <a:off x="1837073" y="2163383"/>
              <a:ext cx="70461" cy="72000"/>
              <a:chOff x="5800094" y="2078182"/>
              <a:chExt cx="70461" cy="72000"/>
            </a:xfrm>
          </p:grpSpPr>
          <p:cxnSp>
            <p:nvCxnSpPr>
              <p:cNvPr id="1367" name="Straight Connector 1366">
                <a:extLst>
                  <a:ext uri="{FF2B5EF4-FFF2-40B4-BE49-F238E27FC236}">
                    <a16:creationId xmlns:a16="http://schemas.microsoft.com/office/drawing/2014/main" id="{F7F31BCA-312C-41A0-B122-EC82F8DBDDB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68" name="Straight Connector 1367">
                <a:extLst>
                  <a:ext uri="{FF2B5EF4-FFF2-40B4-BE49-F238E27FC236}">
                    <a16:creationId xmlns:a16="http://schemas.microsoft.com/office/drawing/2014/main" id="{09504CAB-AE13-4C71-B82D-B4ED5F56B05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61" name="Group 1360">
              <a:extLst>
                <a:ext uri="{FF2B5EF4-FFF2-40B4-BE49-F238E27FC236}">
                  <a16:creationId xmlns:a16="http://schemas.microsoft.com/office/drawing/2014/main" id="{DC2381BD-E6B4-46EA-9127-286A076E1BAA}"/>
                </a:ext>
              </a:extLst>
            </p:cNvPr>
            <p:cNvGrpSpPr/>
            <p:nvPr/>
          </p:nvGrpSpPr>
          <p:grpSpPr>
            <a:xfrm>
              <a:off x="1832242" y="2141674"/>
              <a:ext cx="70461" cy="72000"/>
              <a:chOff x="5800094" y="2078182"/>
              <a:chExt cx="70461" cy="72000"/>
            </a:xfrm>
          </p:grpSpPr>
          <p:cxnSp>
            <p:nvCxnSpPr>
              <p:cNvPr id="1365" name="Straight Connector 1364">
                <a:extLst>
                  <a:ext uri="{FF2B5EF4-FFF2-40B4-BE49-F238E27FC236}">
                    <a16:creationId xmlns:a16="http://schemas.microsoft.com/office/drawing/2014/main" id="{1742E803-5A5B-4E19-9A9B-A98395AF4E0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66" name="Straight Connector 1365">
                <a:extLst>
                  <a:ext uri="{FF2B5EF4-FFF2-40B4-BE49-F238E27FC236}">
                    <a16:creationId xmlns:a16="http://schemas.microsoft.com/office/drawing/2014/main" id="{A81897E2-8A54-4B88-98E1-D1FDF98AE47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62" name="Group 1361">
              <a:extLst>
                <a:ext uri="{FF2B5EF4-FFF2-40B4-BE49-F238E27FC236}">
                  <a16:creationId xmlns:a16="http://schemas.microsoft.com/office/drawing/2014/main" id="{F13F584E-3418-47DA-8694-0CB285F11612}"/>
                </a:ext>
              </a:extLst>
            </p:cNvPr>
            <p:cNvGrpSpPr/>
            <p:nvPr/>
          </p:nvGrpSpPr>
          <p:grpSpPr>
            <a:xfrm>
              <a:off x="1832237" y="2123848"/>
              <a:ext cx="70461" cy="72000"/>
              <a:chOff x="5800094" y="2078182"/>
              <a:chExt cx="70461" cy="72000"/>
            </a:xfrm>
          </p:grpSpPr>
          <p:cxnSp>
            <p:nvCxnSpPr>
              <p:cNvPr id="1363" name="Straight Connector 1362">
                <a:extLst>
                  <a:ext uri="{FF2B5EF4-FFF2-40B4-BE49-F238E27FC236}">
                    <a16:creationId xmlns:a16="http://schemas.microsoft.com/office/drawing/2014/main" id="{40AAA464-6705-4E54-9AA0-BD8F7DC025A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35324" y="2078182"/>
                <a:ext cx="0" cy="7200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64" name="Straight Connector 1363">
                <a:extLst>
                  <a:ext uri="{FF2B5EF4-FFF2-40B4-BE49-F238E27FC236}">
                    <a16:creationId xmlns:a16="http://schemas.microsoft.com/office/drawing/2014/main" id="{F307A6BF-38D9-4363-8AF3-029907B557F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00094" y="2114182"/>
                <a:ext cx="70461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176182678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CEB9E4-E329-A140-B8D6-841FD67BA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Fedratinib</a:t>
            </a:r>
            <a:r>
              <a:rPr lang="en-US" dirty="0"/>
              <a:t> FDA Approved (MF)</a:t>
            </a:r>
          </a:p>
          <a:p>
            <a:r>
              <a:rPr lang="en-US" dirty="0"/>
              <a:t>August 16, 2019 </a:t>
            </a:r>
          </a:p>
        </p:txBody>
      </p:sp>
    </p:spTree>
    <p:extLst>
      <p:ext uri="{BB962C8B-B14F-4D97-AF65-F5344CB8AC3E}">
        <p14:creationId xmlns:p14="http://schemas.microsoft.com/office/powerpoint/2010/main" val="579688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BD369A6-0D75-C399-C0C7-7F946880AB0E}"/>
              </a:ext>
            </a:extLst>
          </p:cNvPr>
          <p:cNvSpPr txBox="1"/>
          <p:nvPr/>
        </p:nvSpPr>
        <p:spPr>
          <a:xfrm>
            <a:off x="1650380" y="301083"/>
            <a:ext cx="7928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err="1">
                <a:solidFill>
                  <a:srgbClr val="0432FF"/>
                </a:solidFill>
              </a:rPr>
              <a:t>Fedratinib</a:t>
            </a:r>
            <a:endParaRPr lang="en-US" sz="3200" b="1" dirty="0">
              <a:solidFill>
                <a:srgbClr val="0432FF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A880F1-A2A4-437C-8D4B-537A1702B598}"/>
              </a:ext>
            </a:extLst>
          </p:cNvPr>
          <p:cNvSpPr txBox="1"/>
          <p:nvPr/>
        </p:nvSpPr>
        <p:spPr>
          <a:xfrm>
            <a:off x="790616" y="998967"/>
            <a:ext cx="6486404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Oral, selective inhibitor of JAK2</a:t>
            </a:r>
            <a:r>
              <a:rPr lang="en-US" sz="2000" baseline="30000" dirty="0"/>
              <a:t>1</a:t>
            </a:r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FDA approved for the treatment of intermediate-2 or high-risk primary or secondary (post-polycythemia vera or post-essential thrombocythemia) myelofibrosis and platelet counts ≥50 × 10</a:t>
            </a:r>
            <a:r>
              <a:rPr lang="en-US" sz="2000" baseline="30000" dirty="0"/>
              <a:t>9</a:t>
            </a:r>
            <a:r>
              <a:rPr lang="en-US" sz="2000" dirty="0"/>
              <a:t> /L based on outcomes from the phase III JAKARTA trial for JAK-inhibitor-naïve patients and the phase 2 JAKARTA2 trial for patients previously treated with ruxolitinib</a:t>
            </a:r>
            <a:r>
              <a:rPr lang="en-US" sz="2000" baseline="30000" dirty="0"/>
              <a:t>1</a:t>
            </a:r>
            <a:r>
              <a:rPr lang="en-US" sz="20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err="1"/>
              <a:t>Fedratinib</a:t>
            </a:r>
            <a:r>
              <a:rPr lang="en-US" sz="2000" dirty="0"/>
              <a:t> has higher inhibitory activity for JAK2 over JAK1, JAK3, and TYK24</a:t>
            </a:r>
            <a:r>
              <a:rPr lang="en-US" sz="2000" baseline="30000" dirty="0"/>
              <a:t>2</a:t>
            </a:r>
          </a:p>
          <a:p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Both JAKARTA and JAKARTA2 allowed enrollment of patients with platelet counts of ≥50 × 10</a:t>
            </a:r>
            <a:r>
              <a:rPr lang="en-US" sz="2000" baseline="30000" dirty="0"/>
              <a:t>9</a:t>
            </a:r>
            <a:r>
              <a:rPr lang="en-US" sz="2000" dirty="0"/>
              <a:t>/L at study entry</a:t>
            </a:r>
            <a:r>
              <a:rPr lang="en-US" sz="2000" baseline="30000" dirty="0"/>
              <a:t>3,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D4E9A28-19B8-543B-A0ED-0EABA1AA49D0}"/>
              </a:ext>
            </a:extLst>
          </p:cNvPr>
          <p:cNvSpPr txBox="1"/>
          <p:nvPr/>
        </p:nvSpPr>
        <p:spPr>
          <a:xfrm>
            <a:off x="151526" y="6025273"/>
            <a:ext cx="1092622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/>
              <a:t>1. Harrison CN et al. </a:t>
            </a:r>
            <a:r>
              <a:rPr lang="en-US" sz="1500" i="1" dirty="0"/>
              <a:t>Br J </a:t>
            </a:r>
            <a:r>
              <a:rPr lang="en-US" sz="1500" i="1" dirty="0" err="1"/>
              <a:t>Haematol</a:t>
            </a:r>
            <a:r>
              <a:rPr lang="en-US" sz="1500" dirty="0"/>
              <a:t> 2022;198(2):317-27. 2. </a:t>
            </a:r>
            <a:r>
              <a:rPr lang="en-US" sz="1500" dirty="0" err="1"/>
              <a:t>Wernig</a:t>
            </a:r>
            <a:r>
              <a:rPr lang="en-US" sz="1500" dirty="0"/>
              <a:t> G et al. </a:t>
            </a:r>
            <a:r>
              <a:rPr lang="en-US" sz="1500" i="1" dirty="0"/>
              <a:t>Cancer Cell </a:t>
            </a:r>
            <a:r>
              <a:rPr lang="en-US" sz="1500" dirty="0"/>
              <a:t>2008;13(4):311-20. 3. </a:t>
            </a:r>
            <a:r>
              <a:rPr lang="en-US" sz="1500" dirty="0" err="1"/>
              <a:t>Pardanani</a:t>
            </a:r>
            <a:r>
              <a:rPr lang="en-US" sz="1500" dirty="0"/>
              <a:t> et al. </a:t>
            </a:r>
            <a:r>
              <a:rPr lang="en-US" sz="1500" i="1" dirty="0"/>
              <a:t>JAMA </a:t>
            </a:r>
            <a:br>
              <a:rPr lang="en-US" sz="1500" i="1" dirty="0"/>
            </a:br>
            <a:r>
              <a:rPr lang="en-US" sz="1500" i="1" dirty="0"/>
              <a:t>Oncol </a:t>
            </a:r>
            <a:r>
              <a:rPr lang="en-US" sz="1500" dirty="0"/>
              <a:t>2015;1(5):643-51. 4. Harrison CN et al. </a:t>
            </a:r>
            <a:r>
              <a:rPr lang="en-US" sz="1500" i="1" dirty="0"/>
              <a:t>Lancet </a:t>
            </a:r>
            <a:r>
              <a:rPr lang="en-US" sz="1500" i="1" dirty="0" err="1"/>
              <a:t>Haematol</a:t>
            </a:r>
            <a:r>
              <a:rPr lang="en-US" sz="1500" dirty="0"/>
              <a:t> 2017;4(7):e317-e24. 5. Harrison et al. </a:t>
            </a:r>
            <a:r>
              <a:rPr lang="en-US" sz="1500" i="1" dirty="0"/>
              <a:t>Lancet </a:t>
            </a:r>
            <a:r>
              <a:rPr lang="en-US" sz="1500" i="1" dirty="0" err="1"/>
              <a:t>Haematol</a:t>
            </a:r>
            <a:r>
              <a:rPr lang="en-US" sz="1500" i="1" dirty="0"/>
              <a:t> </a:t>
            </a:r>
            <a:r>
              <a:rPr lang="en-US" sz="1500" dirty="0"/>
              <a:t>2017;4:e317-24. </a:t>
            </a:r>
            <a:br>
              <a:rPr lang="en-US" sz="1500" dirty="0"/>
            </a:br>
            <a:r>
              <a:rPr lang="en-US" sz="1500" dirty="0"/>
              <a:t>6. </a:t>
            </a:r>
            <a:r>
              <a:rPr lang="en-US" sz="1500" dirty="0" err="1"/>
              <a:t>Hantschel</a:t>
            </a:r>
            <a:r>
              <a:rPr lang="en-US" sz="1500" dirty="0"/>
              <a:t> O. </a:t>
            </a:r>
            <a:r>
              <a:rPr lang="en-US" sz="1500" i="1" dirty="0"/>
              <a:t>ACS Chem Biol</a:t>
            </a:r>
            <a:r>
              <a:rPr lang="en-US" sz="1500" dirty="0"/>
              <a:t> 2015;10(1):234-45.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E2D185C-0ADE-1AE0-7742-203F48A5F2EC}"/>
              </a:ext>
            </a:extLst>
          </p:cNvPr>
          <p:cNvGrpSpPr/>
          <p:nvPr/>
        </p:nvGrpSpPr>
        <p:grpSpPr>
          <a:xfrm>
            <a:off x="8229600" y="301083"/>
            <a:ext cx="3398949" cy="5683618"/>
            <a:chOff x="7876522" y="1750333"/>
            <a:chExt cx="1501633" cy="2797243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F569287D-C415-4F82-3EF3-766B08A8E9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rcRect b="23497"/>
            <a:stretch/>
          </p:blipFill>
          <p:spPr>
            <a:xfrm>
              <a:off x="7941338" y="2806720"/>
              <a:ext cx="1336457" cy="1591177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C0A9E5F-E2BC-5A28-10F8-FFD40E7820F2}"/>
                </a:ext>
              </a:extLst>
            </p:cNvPr>
            <p:cNvSpPr txBox="1"/>
            <p:nvPr/>
          </p:nvSpPr>
          <p:spPr>
            <a:xfrm>
              <a:off x="7876522" y="4403675"/>
              <a:ext cx="1501633" cy="1439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300" dirty="0"/>
                <a:t>JAK2 KINASE DOMAIN – </a:t>
              </a:r>
              <a:r>
                <a:rPr lang="en-US" sz="1300" dirty="0" err="1"/>
                <a:t>Fedratinib</a:t>
              </a:r>
              <a:r>
                <a:rPr lang="en-US" sz="1300" dirty="0"/>
                <a:t> Complex</a:t>
              </a:r>
              <a:r>
                <a:rPr lang="en-US" sz="1300" baseline="30000" dirty="0"/>
                <a:t>6</a:t>
              </a:r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AB2147D5-635C-E525-6C09-5497D7F4B3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20352" b="19297"/>
            <a:stretch/>
          </p:blipFill>
          <p:spPr>
            <a:xfrm>
              <a:off x="7941338" y="1750333"/>
              <a:ext cx="1363637" cy="822961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AFA5C76-7293-7474-AD13-E879DF36E612}"/>
                </a:ext>
              </a:extLst>
            </p:cNvPr>
            <p:cNvSpPr/>
            <p:nvPr/>
          </p:nvSpPr>
          <p:spPr>
            <a:xfrm>
              <a:off x="8296517" y="2570110"/>
              <a:ext cx="458968" cy="14390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300" dirty="0"/>
                <a:t>FEDRATINIB</a:t>
              </a:r>
              <a:r>
                <a:rPr lang="en-US" sz="1300" baseline="30000" dirty="0"/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8390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CEB9E4-E329-A140-B8D6-841FD67BA5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acritinib</a:t>
            </a:r>
            <a:r>
              <a:rPr lang="en-US" dirty="0"/>
              <a:t> FDA Approved (MF)</a:t>
            </a:r>
          </a:p>
          <a:p>
            <a:r>
              <a:rPr lang="en-US" dirty="0"/>
              <a:t>February 28</a:t>
            </a:r>
            <a:r>
              <a:rPr lang="en-US" baseline="30000" dirty="0"/>
              <a:t>th</a:t>
            </a:r>
            <a:r>
              <a:rPr lang="en-US" dirty="0"/>
              <a:t>, 2022</a:t>
            </a:r>
          </a:p>
        </p:txBody>
      </p:sp>
    </p:spTree>
    <p:extLst>
      <p:ext uri="{BB962C8B-B14F-4D97-AF65-F5344CB8AC3E}">
        <p14:creationId xmlns:p14="http://schemas.microsoft.com/office/powerpoint/2010/main" val="406059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7037" y="352697"/>
            <a:ext cx="8312339" cy="977291"/>
          </a:xfrm>
        </p:spPr>
        <p:txBody>
          <a:bodyPr>
            <a:noAutofit/>
          </a:bodyPr>
          <a:lstStyle/>
          <a:p>
            <a:r>
              <a:rPr lang="en-US" sz="3200" dirty="0" err="1"/>
              <a:t>Pacritinib</a:t>
            </a:r>
            <a:r>
              <a:rPr lang="en-US" sz="3200" dirty="0"/>
              <a:t> (PAC): A Selective Inhibitor of </a:t>
            </a:r>
            <a:r>
              <a:rPr lang="en-US" sz="3200" i="1" dirty="0"/>
              <a:t>JAK2</a:t>
            </a:r>
            <a:r>
              <a:rPr lang="en-US" sz="3200" dirty="0"/>
              <a:t> and IRAK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1350"/>
              </a:spcBef>
              <a:buNone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350"/>
              </a:spcBef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1350"/>
              </a:spcBef>
              <a:buNone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1633725" y="5563145"/>
            <a:ext cx="6230324" cy="266700"/>
          </a:xfrm>
        </p:spPr>
        <p:txBody>
          <a:bodyPr>
            <a:noAutofit/>
          </a:bodyPr>
          <a:lstStyle/>
          <a:p>
            <a:r>
              <a:rPr lang="en-GB" sz="750" b="1" dirty="0">
                <a:solidFill>
                  <a:prstClr val="black"/>
                </a:solidFill>
                <a:latin typeface="Arial" panose="020B0604020202020204"/>
                <a:cs typeface="Arial"/>
              </a:rPr>
              <a:t>IC</a:t>
            </a:r>
            <a:r>
              <a:rPr lang="en-GB" sz="750" b="1" baseline="-25000" dirty="0">
                <a:solidFill>
                  <a:prstClr val="black"/>
                </a:solidFill>
                <a:latin typeface="Arial" panose="020B0604020202020204"/>
                <a:cs typeface="Arial"/>
              </a:rPr>
              <a:t>50</a:t>
            </a:r>
            <a:r>
              <a:rPr lang="en-GB" sz="750" dirty="0">
                <a:solidFill>
                  <a:prstClr val="black"/>
                </a:solidFill>
                <a:latin typeface="Arial" panose="020B0604020202020204"/>
                <a:cs typeface="Arial"/>
              </a:rPr>
              <a:t>, half-maximal inhibitory concentration; </a:t>
            </a:r>
            <a:r>
              <a:rPr lang="en-GB" sz="750" b="1" dirty="0">
                <a:solidFill>
                  <a:prstClr val="black"/>
                </a:solidFill>
                <a:latin typeface="Arial" panose="020B0604020202020204"/>
                <a:cs typeface="Arial"/>
              </a:rPr>
              <a:t>JAK</a:t>
            </a:r>
            <a:r>
              <a:rPr lang="en-GB" sz="750" dirty="0">
                <a:solidFill>
                  <a:prstClr val="black"/>
                </a:solidFill>
                <a:latin typeface="Arial" panose="020B0604020202020204"/>
                <a:cs typeface="Arial"/>
              </a:rPr>
              <a:t>, Janus kinase; </a:t>
            </a:r>
            <a:r>
              <a:rPr lang="en-GB" sz="750" b="1" dirty="0">
                <a:solidFill>
                  <a:prstClr val="black"/>
                </a:solidFill>
                <a:latin typeface="Arial" panose="020B0604020202020204"/>
                <a:cs typeface="Arial"/>
              </a:rPr>
              <a:t>TYK</a:t>
            </a:r>
            <a:r>
              <a:rPr lang="en-GB" sz="750" dirty="0">
                <a:solidFill>
                  <a:prstClr val="black"/>
                </a:solidFill>
                <a:latin typeface="Arial" panose="020B0604020202020204"/>
                <a:cs typeface="Arial"/>
              </a:rPr>
              <a:t>, tyrosine kinase; </a:t>
            </a:r>
            <a:r>
              <a:rPr lang="en-GB" sz="750" b="1" dirty="0">
                <a:solidFill>
                  <a:prstClr val="black"/>
                </a:solidFill>
                <a:latin typeface="Arial" panose="020B0604020202020204"/>
                <a:cs typeface="Arial"/>
              </a:rPr>
              <a:t>FLT</a:t>
            </a:r>
            <a:r>
              <a:rPr lang="en-GB" sz="750" dirty="0">
                <a:solidFill>
                  <a:prstClr val="black"/>
                </a:solidFill>
                <a:latin typeface="Arial" panose="020B0604020202020204"/>
                <a:cs typeface="Arial"/>
              </a:rPr>
              <a:t>, FMS-like tyrosine kinase; </a:t>
            </a:r>
            <a:r>
              <a:rPr lang="en-GB" sz="750" b="1" dirty="0">
                <a:solidFill>
                  <a:prstClr val="black"/>
                </a:solidFill>
                <a:latin typeface="Arial" panose="020B0604020202020204"/>
                <a:cs typeface="Arial"/>
              </a:rPr>
              <a:t>ITD</a:t>
            </a:r>
            <a:r>
              <a:rPr lang="en-GB" sz="750" dirty="0">
                <a:solidFill>
                  <a:prstClr val="black"/>
                </a:solidFill>
                <a:latin typeface="Arial" panose="020B0604020202020204"/>
                <a:cs typeface="Arial"/>
              </a:rPr>
              <a:t>, internal tandem duplication; </a:t>
            </a:r>
            <a:r>
              <a:rPr lang="en-GB" sz="750" b="1" dirty="0">
                <a:solidFill>
                  <a:prstClr val="black"/>
                </a:solidFill>
                <a:latin typeface="Arial" panose="020B0604020202020204"/>
                <a:cs typeface="Arial"/>
              </a:rPr>
              <a:t>CSF1R</a:t>
            </a:r>
            <a:r>
              <a:rPr lang="en-GB" sz="750" dirty="0">
                <a:solidFill>
                  <a:prstClr val="black"/>
                </a:solidFill>
                <a:latin typeface="Arial" panose="020B0604020202020204"/>
                <a:cs typeface="Arial"/>
              </a:rPr>
              <a:t>, colony stimulating factor 1 receptor; </a:t>
            </a:r>
            <a:r>
              <a:rPr lang="en-GB" sz="750" b="1" dirty="0">
                <a:solidFill>
                  <a:prstClr val="black"/>
                </a:solidFill>
                <a:latin typeface="Arial" panose="020B0604020202020204"/>
                <a:cs typeface="Arial"/>
              </a:rPr>
              <a:t>IRAK</a:t>
            </a:r>
            <a:r>
              <a:rPr lang="en-GB" sz="750" dirty="0">
                <a:solidFill>
                  <a:prstClr val="black"/>
                </a:solidFill>
                <a:latin typeface="Arial" panose="020B0604020202020204"/>
                <a:cs typeface="Arial"/>
              </a:rPr>
              <a:t>, interleukin-1 receptor-associated kinase</a:t>
            </a:r>
            <a:endParaRPr lang="da-DK" sz="750" baseline="30000" dirty="0">
              <a:solidFill>
                <a:schemeClr val="tx1"/>
              </a:solidFill>
              <a:latin typeface="Arial" panose="020B0604020202020204"/>
              <a:cs typeface="Arial"/>
            </a:endParaRPr>
          </a:p>
          <a:p>
            <a:r>
              <a:rPr lang="da-DK" sz="750" baseline="30000" dirty="0">
                <a:solidFill>
                  <a:schemeClr val="tx1"/>
                </a:solidFill>
                <a:latin typeface="Arial" panose="020B0604020202020204"/>
                <a:cs typeface="Arial"/>
              </a:rPr>
              <a:t>a</a:t>
            </a:r>
            <a:r>
              <a:rPr lang="en-GB" sz="750" dirty="0">
                <a:solidFill>
                  <a:schemeClr val="tx1"/>
                </a:solidFill>
                <a:latin typeface="Arial" panose="020B0604020202020204"/>
                <a:cs typeface="Arial"/>
              </a:rPr>
              <a:t>Jadwiga J, et. al. </a:t>
            </a:r>
            <a:r>
              <a:rPr lang="en-GB" sz="750" i="1" dirty="0">
                <a:solidFill>
                  <a:schemeClr val="tx1"/>
                </a:solidFill>
                <a:latin typeface="Arial" panose="020B0604020202020204"/>
                <a:cs typeface="Arial"/>
              </a:rPr>
              <a:t>Blood</a:t>
            </a:r>
            <a:r>
              <a:rPr lang="en-GB" sz="750" dirty="0">
                <a:solidFill>
                  <a:schemeClr val="tx1"/>
                </a:solidFill>
                <a:latin typeface="Arial" panose="020B0604020202020204"/>
                <a:cs typeface="Arial"/>
              </a:rPr>
              <a:t> (2018) 132 (Supplement 1): 2559. Mascarenhas JO, et. al. </a:t>
            </a:r>
            <a:r>
              <a:rPr lang="en-GB" sz="750" i="1" dirty="0" err="1">
                <a:solidFill>
                  <a:schemeClr val="tx1"/>
                </a:solidFill>
                <a:latin typeface="Arial" panose="020B0604020202020204"/>
                <a:cs typeface="Arial"/>
              </a:rPr>
              <a:t>Haematologica</a:t>
            </a:r>
            <a:r>
              <a:rPr lang="en-GB" sz="750" i="1" dirty="0">
                <a:solidFill>
                  <a:schemeClr val="tx1"/>
                </a:solidFill>
                <a:latin typeface="Arial" panose="020B0604020202020204"/>
                <a:cs typeface="Arial"/>
              </a:rPr>
              <a:t>.</a:t>
            </a:r>
            <a:r>
              <a:rPr lang="en-GB" sz="750" dirty="0">
                <a:solidFill>
                  <a:schemeClr val="tx1"/>
                </a:solidFill>
                <a:latin typeface="Arial" panose="020B0604020202020204"/>
                <a:cs typeface="Arial"/>
              </a:rPr>
              <a:t> 2017; 102(2):327.</a:t>
            </a:r>
            <a:endParaRPr lang="da-DK" sz="750" dirty="0">
              <a:solidFill>
                <a:schemeClr val="tx1"/>
              </a:solidFill>
              <a:latin typeface="Arial" panose="020B0604020202020204"/>
              <a:cs typeface="Arial"/>
            </a:endParaRPr>
          </a:p>
          <a:p>
            <a:r>
              <a:rPr lang="da-DK" sz="750" dirty="0">
                <a:solidFill>
                  <a:prstClr val="black"/>
                </a:solidFill>
                <a:latin typeface="Arial" panose="020B0604020202020204"/>
                <a:cs typeface="Arial"/>
              </a:rPr>
              <a:t>Singer et al. ASH, 2014, Abstract 1874.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1ABEBF57-A5CE-D045-B1B1-4F19BF16A0BC}"/>
              </a:ext>
            </a:extLst>
          </p:cNvPr>
          <p:cNvGrpSpPr/>
          <p:nvPr/>
        </p:nvGrpSpPr>
        <p:grpSpPr>
          <a:xfrm>
            <a:off x="1633750" y="1436707"/>
            <a:ext cx="4765507" cy="3656400"/>
            <a:chOff x="321924" y="1392419"/>
            <a:chExt cx="5767450" cy="4498563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2DFF9542-7856-3C40-BB10-E9A779C7B93D}"/>
                </a:ext>
              </a:extLst>
            </p:cNvPr>
            <p:cNvSpPr txBox="1"/>
            <p:nvPr/>
          </p:nvSpPr>
          <p:spPr>
            <a:xfrm>
              <a:off x="321924" y="4193299"/>
              <a:ext cx="5767450" cy="16976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36" indent="-285736" defTabSz="685766">
                <a:buClr>
                  <a:srgbClr val="EE5340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200" dirty="0">
                  <a:solidFill>
                    <a:srgbClr val="000000"/>
                  </a:solidFill>
                  <a:latin typeface="Arial" panose="020B0604020202020204"/>
                </a:rPr>
                <a:t>JAK1/2 inhibitors impair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/>
                </a:rPr>
                <a:t>megakaryopoiesis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/>
                </a:rPr>
                <a:t> while preserving thrombopoiesis, whereas JAK1 inhibition impairs both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/>
                </a:rPr>
                <a:t>megakaryopoiesis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/>
                </a:rPr>
                <a:t> and platelet release </a:t>
              </a:r>
              <a:r>
                <a:rPr lang="en-US" sz="1200" i="1" dirty="0">
                  <a:solidFill>
                    <a:srgbClr val="000000"/>
                  </a:solidFill>
                  <a:latin typeface="Arial" panose="020B0604020202020204"/>
                </a:rPr>
                <a:t>in vitro 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/>
                </a:rPr>
                <a:t>and can exacerbate thrombocytopenia in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/>
                </a:rPr>
                <a:t>MF.</a:t>
              </a:r>
              <a:r>
                <a:rPr lang="en-US" sz="1200" baseline="30000" dirty="0" err="1">
                  <a:solidFill>
                    <a:srgbClr val="000000"/>
                  </a:solidFill>
                  <a:latin typeface="Arial" panose="020B0604020202020204"/>
                </a:rPr>
                <a:t>a</a:t>
              </a:r>
              <a:endParaRPr lang="en-US" sz="1200" baseline="30000" dirty="0">
                <a:solidFill>
                  <a:srgbClr val="000000"/>
                </a:solidFill>
                <a:latin typeface="Arial" panose="020B0604020202020204"/>
              </a:endParaRPr>
            </a:p>
            <a:p>
              <a:pPr marL="285736" indent="-285736" defTabSz="685766">
                <a:spcBef>
                  <a:spcPts val="1350"/>
                </a:spcBef>
                <a:buClr>
                  <a:srgbClr val="EE5340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200" dirty="0">
                  <a:solidFill>
                    <a:srgbClr val="000000"/>
                  </a:solidFill>
                  <a:latin typeface="Arial" panose="020B0604020202020204"/>
                </a:rPr>
                <a:t>Minimal JAK1 inhibition uniquely positions pacritinib for use in thrombocytopenic MF patients.</a:t>
              </a: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5FF12BA2-0FB6-1444-9730-6A181DA021C0}"/>
                </a:ext>
              </a:extLst>
            </p:cNvPr>
            <p:cNvGrpSpPr/>
            <p:nvPr/>
          </p:nvGrpSpPr>
          <p:grpSpPr>
            <a:xfrm>
              <a:off x="785549" y="1392419"/>
              <a:ext cx="4927692" cy="2414730"/>
              <a:chOff x="306577" y="1392417"/>
              <a:chExt cx="4927692" cy="2414730"/>
            </a:xfrm>
          </p:grpSpPr>
          <p:pic>
            <p:nvPicPr>
              <p:cNvPr id="87" name="Picture 2">
                <a:extLst>
                  <a:ext uri="{FF2B5EF4-FFF2-40B4-BE49-F238E27FC236}">
                    <a16:creationId xmlns:a16="http://schemas.microsoft.com/office/drawing/2014/main" id="{3CFDBCFB-8FBE-7C4A-AC26-018F4C0B9F8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flipV="1">
                <a:off x="1823236" y="1933525"/>
                <a:ext cx="1598714" cy="110378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C98CCF5E-52C2-364E-9A44-9C05DD0936F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9163" y="2080586"/>
                <a:ext cx="917353" cy="800994"/>
                <a:chOff x="544826" y="3164739"/>
                <a:chExt cx="1141213" cy="996459"/>
              </a:xfrm>
            </p:grpSpPr>
            <p:pic>
              <p:nvPicPr>
                <p:cNvPr id="107" name="Picture 2">
                  <a:extLst>
                    <a:ext uri="{FF2B5EF4-FFF2-40B4-BE49-F238E27FC236}">
                      <a16:creationId xmlns:a16="http://schemas.microsoft.com/office/drawing/2014/main" id="{81886EB7-D89B-EE4A-89BF-9267709B9E7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715108" y="3164739"/>
                  <a:ext cx="970931" cy="99645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08" name="Picture 2">
                  <a:extLst>
                    <a:ext uri="{FF2B5EF4-FFF2-40B4-BE49-F238E27FC236}">
                      <a16:creationId xmlns:a16="http://schemas.microsoft.com/office/drawing/2014/main" id="{41A7420C-C55F-A04B-B15E-1FC85584180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544826" y="3616076"/>
                  <a:ext cx="340564" cy="14067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cxnSp>
            <p:nvCxnSpPr>
              <p:cNvPr id="89" name="Straight Arrow Connector 88">
                <a:extLst>
                  <a:ext uri="{FF2B5EF4-FFF2-40B4-BE49-F238E27FC236}">
                    <a16:creationId xmlns:a16="http://schemas.microsoft.com/office/drawing/2014/main" id="{4F0C92E7-1473-7F42-BF0E-39813CE6382C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V="1">
                <a:off x="1549396" y="2346078"/>
                <a:ext cx="0" cy="365760"/>
              </a:xfrm>
              <a:prstGeom prst="straightConnector1">
                <a:avLst/>
              </a:prstGeom>
              <a:ln w="3175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607CB76E-79B0-7D4F-82AF-25B5DA2CA65F}"/>
                  </a:ext>
                </a:extLst>
              </p:cNvPr>
              <p:cNvSpPr txBox="1"/>
              <p:nvPr/>
            </p:nvSpPr>
            <p:spPr>
              <a:xfrm>
                <a:off x="1990175" y="2917340"/>
                <a:ext cx="1110087" cy="4119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766">
                  <a:defRPr/>
                </a:pPr>
                <a:r>
                  <a:rPr lang="en-US" sz="788" b="1">
                    <a:solidFill>
                      <a:srgbClr val="BBBCBC">
                        <a:lumMod val="50000"/>
                      </a:srgbClr>
                    </a:solidFill>
                    <a:latin typeface="Arial" panose="020B0604020202020204"/>
                  </a:rPr>
                  <a:t>Mature </a:t>
                </a:r>
              </a:p>
              <a:p>
                <a:pPr algn="ctr" defTabSz="685766">
                  <a:defRPr/>
                </a:pPr>
                <a:r>
                  <a:rPr lang="en-US" sz="788" b="1">
                    <a:solidFill>
                      <a:srgbClr val="BBBCBC">
                        <a:lumMod val="50000"/>
                      </a:srgbClr>
                    </a:solidFill>
                    <a:latin typeface="Arial" panose="020B0604020202020204"/>
                  </a:rPr>
                  <a:t>Megakaryocyte</a:t>
                </a: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375FDC51-0B64-0444-A03B-0EE8AC1EBF19}"/>
                  </a:ext>
                </a:extLst>
              </p:cNvPr>
              <p:cNvSpPr txBox="1"/>
              <p:nvPr/>
            </p:nvSpPr>
            <p:spPr>
              <a:xfrm>
                <a:off x="306577" y="2909561"/>
                <a:ext cx="1110087" cy="4119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5766">
                  <a:defRPr/>
                </a:pPr>
                <a:r>
                  <a:rPr lang="en-US" sz="788" b="1">
                    <a:solidFill>
                      <a:srgbClr val="BBBCBC">
                        <a:lumMod val="50000"/>
                      </a:srgbClr>
                    </a:solidFill>
                    <a:latin typeface="Arial" panose="020B0604020202020204"/>
                  </a:rPr>
                  <a:t>Immature </a:t>
                </a:r>
              </a:p>
              <a:p>
                <a:pPr algn="ctr" defTabSz="685766">
                  <a:defRPr/>
                </a:pPr>
                <a:r>
                  <a:rPr lang="en-US" sz="788" b="1">
                    <a:solidFill>
                      <a:srgbClr val="BBBCBC">
                        <a:lumMod val="50000"/>
                      </a:srgbClr>
                    </a:solidFill>
                    <a:latin typeface="Arial" panose="020B0604020202020204"/>
                  </a:rPr>
                  <a:t>Megakaryocyte</a:t>
                </a:r>
              </a:p>
            </p:txBody>
          </p:sp>
          <p:pic>
            <p:nvPicPr>
              <p:cNvPr id="92" name="Picture 2">
                <a:extLst>
                  <a:ext uri="{FF2B5EF4-FFF2-40B4-BE49-F238E27FC236}">
                    <a16:creationId xmlns:a16="http://schemas.microsoft.com/office/drawing/2014/main" id="{A63F8139-DBAE-0540-8693-A31CD85FE44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flipV="1">
                <a:off x="3635555" y="2189085"/>
                <a:ext cx="1598714" cy="6549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81E1BD38-F0AD-1B4A-9F58-38A44C2685DC}"/>
                  </a:ext>
                </a:extLst>
              </p:cNvPr>
              <p:cNvSpPr txBox="1"/>
              <p:nvPr/>
            </p:nvSpPr>
            <p:spPr>
              <a:xfrm>
                <a:off x="4001428" y="2927544"/>
                <a:ext cx="727901" cy="41195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rtlCol="0">
                <a:spAutoFit/>
              </a:bodyPr>
              <a:lstStyle/>
              <a:p>
                <a:pPr algn="ctr" defTabSz="685766">
                  <a:defRPr/>
                </a:pPr>
                <a:r>
                  <a:rPr lang="en-US" sz="788" b="1">
                    <a:solidFill>
                      <a:srgbClr val="BBBCBC">
                        <a:lumMod val="50000"/>
                      </a:srgbClr>
                    </a:solidFill>
                    <a:latin typeface="Arial" panose="020B0604020202020204"/>
                  </a:rPr>
                  <a:t>Blood </a:t>
                </a:r>
              </a:p>
              <a:p>
                <a:pPr algn="ctr" defTabSz="685766">
                  <a:defRPr/>
                </a:pPr>
                <a:r>
                  <a:rPr lang="en-US" sz="788" b="1">
                    <a:solidFill>
                      <a:srgbClr val="BBBCBC">
                        <a:lumMod val="50000"/>
                      </a:srgbClr>
                    </a:solidFill>
                    <a:latin typeface="Arial" panose="020B0604020202020204"/>
                  </a:rPr>
                  <a:t>Platelets</a:t>
                </a: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257D0733-9FED-D048-93C6-F253D6EA0019}"/>
                  </a:ext>
                </a:extLst>
              </p:cNvPr>
              <p:cNvSpPr txBox="1"/>
              <p:nvPr/>
            </p:nvSpPr>
            <p:spPr>
              <a:xfrm>
                <a:off x="983378" y="3390615"/>
                <a:ext cx="1005713" cy="4165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766">
                  <a:defRPr/>
                </a:pPr>
                <a:r>
                  <a:rPr lang="en-US" sz="1600" b="1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JAK1/2i</a:t>
                </a:r>
              </a:p>
            </p:txBody>
          </p: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FFBD3990-9F7E-C641-A32D-4F044FE22B3E}"/>
                  </a:ext>
                </a:extLst>
              </p:cNvPr>
              <p:cNvGrpSpPr/>
              <p:nvPr/>
            </p:nvGrpSpPr>
            <p:grpSpPr>
              <a:xfrm rot="5400000">
                <a:off x="1156545" y="2962300"/>
                <a:ext cx="702494" cy="164592"/>
                <a:chOff x="1491070" y="3231793"/>
                <a:chExt cx="274693" cy="137160"/>
              </a:xfrm>
            </p:grpSpPr>
            <p:cxnSp>
              <p:nvCxnSpPr>
                <p:cNvPr id="105" name="Straight Arrow Connector 104">
                  <a:extLst>
                    <a:ext uri="{FF2B5EF4-FFF2-40B4-BE49-F238E27FC236}">
                      <a16:creationId xmlns:a16="http://schemas.microsoft.com/office/drawing/2014/main" id="{547C5121-0DBE-0F46-8124-1A00A6C6DA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1628603" y="3162613"/>
                  <a:ext cx="0" cy="274320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Straight Arrow Connector 105">
                  <a:extLst>
                    <a:ext uri="{FF2B5EF4-FFF2-40B4-BE49-F238E27FC236}">
                      <a16:creationId xmlns:a16="http://schemas.microsoft.com/office/drawing/2014/main" id="{FE242C6A-4299-4248-80B7-3E1CD3FDA55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91070" y="3231793"/>
                  <a:ext cx="0" cy="137160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975424BF-F07B-8647-A2D5-B864CA902C44}"/>
                  </a:ext>
                </a:extLst>
              </p:cNvPr>
              <p:cNvSpPr txBox="1"/>
              <p:nvPr/>
            </p:nvSpPr>
            <p:spPr>
              <a:xfrm>
                <a:off x="2173361" y="1392417"/>
                <a:ext cx="772909" cy="4165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685766">
                  <a:defRPr/>
                </a:pPr>
                <a:r>
                  <a:rPr lang="en-US" sz="1600" b="1">
                    <a:solidFill>
                      <a:srgbClr val="000000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JAK1i</a:t>
                </a:r>
              </a:p>
            </p:txBody>
          </p: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480715B0-314A-D141-8DE3-BE8657A73DD0}"/>
                  </a:ext>
                </a:extLst>
              </p:cNvPr>
              <p:cNvGrpSpPr/>
              <p:nvPr/>
            </p:nvGrpSpPr>
            <p:grpSpPr>
              <a:xfrm rot="16200000">
                <a:off x="1254258" y="1953025"/>
                <a:ext cx="511185" cy="164592"/>
                <a:chOff x="1491070" y="3231793"/>
                <a:chExt cx="277580" cy="137160"/>
              </a:xfrm>
            </p:grpSpPr>
            <p:cxnSp>
              <p:nvCxnSpPr>
                <p:cNvPr id="103" name="Straight Arrow Connector 102">
                  <a:extLst>
                    <a:ext uri="{FF2B5EF4-FFF2-40B4-BE49-F238E27FC236}">
                      <a16:creationId xmlns:a16="http://schemas.microsoft.com/office/drawing/2014/main" id="{2AB52F54-B00F-B642-BE59-FEE26184F7B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1631490" y="3162613"/>
                  <a:ext cx="0" cy="274320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Arrow Connector 103">
                  <a:extLst>
                    <a:ext uri="{FF2B5EF4-FFF2-40B4-BE49-F238E27FC236}">
                      <a16:creationId xmlns:a16="http://schemas.microsoft.com/office/drawing/2014/main" id="{7403EC8F-958D-994A-BA2A-5EDA11F0015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91070" y="3231793"/>
                  <a:ext cx="0" cy="137160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98" name="Straight Arrow Connector 97">
                <a:extLst>
                  <a:ext uri="{FF2B5EF4-FFF2-40B4-BE49-F238E27FC236}">
                    <a16:creationId xmlns:a16="http://schemas.microsoft.com/office/drawing/2014/main" id="{50441605-84C6-A242-B719-E61920852E61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 flipV="1">
                <a:off x="2558090" y="730766"/>
                <a:ext cx="5195" cy="2103120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BBCDE514-960B-9445-A477-E2F2D5AA08BA}"/>
                  </a:ext>
                </a:extLst>
              </p:cNvPr>
              <p:cNvGrpSpPr/>
              <p:nvPr/>
            </p:nvGrpSpPr>
            <p:grpSpPr>
              <a:xfrm rot="16200000">
                <a:off x="3350560" y="1947830"/>
                <a:ext cx="511185" cy="164592"/>
                <a:chOff x="1491070" y="3231793"/>
                <a:chExt cx="277580" cy="137160"/>
              </a:xfrm>
            </p:grpSpPr>
            <p:cxnSp>
              <p:nvCxnSpPr>
                <p:cNvPr id="101" name="Straight Arrow Connector 100">
                  <a:extLst>
                    <a:ext uri="{FF2B5EF4-FFF2-40B4-BE49-F238E27FC236}">
                      <a16:creationId xmlns:a16="http://schemas.microsoft.com/office/drawing/2014/main" id="{C56C4ECA-245D-6A42-90C7-EE0B3802ED4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1631490" y="3162613"/>
                  <a:ext cx="0" cy="274320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Arrow Connector 101">
                  <a:extLst>
                    <a:ext uri="{FF2B5EF4-FFF2-40B4-BE49-F238E27FC236}">
                      <a16:creationId xmlns:a16="http://schemas.microsoft.com/office/drawing/2014/main" id="{F6F5948A-C117-4847-8A8D-D740C91AD7E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91070" y="3231793"/>
                  <a:ext cx="0" cy="137160"/>
                </a:xfrm>
                <a:prstGeom prst="straightConnector1">
                  <a:avLst/>
                </a:prstGeom>
                <a:ln w="28575">
                  <a:solidFill>
                    <a:schemeClr val="tx1"/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100" name="Picture 99">
                <a:extLst>
                  <a:ext uri="{FF2B5EF4-FFF2-40B4-BE49-F238E27FC236}">
                    <a16:creationId xmlns:a16="http://schemas.microsoft.com/office/drawing/2014/main" id="{DC4FE002-64E3-7B40-BD09-E7AFEEC512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427032" y="2406793"/>
                <a:ext cx="495300" cy="241300"/>
              </a:xfrm>
              <a:prstGeom prst="rect">
                <a:avLst/>
              </a:prstGeom>
            </p:spPr>
          </p:pic>
        </p:grpSp>
      </p:grpSp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63A93C90-F9AC-450E-903D-C41D1E72F2B0}"/>
              </a:ext>
            </a:extLst>
          </p:cNvPr>
          <p:cNvGraphicFramePr>
            <a:graphicFrameLocks noGrp="1"/>
          </p:cNvGraphicFramePr>
          <p:nvPr/>
        </p:nvGraphicFramePr>
        <p:xfrm>
          <a:off x="6558695" y="1494447"/>
          <a:ext cx="3833212" cy="17941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83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583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8303">
                  <a:extLst>
                    <a:ext uri="{9D8B030D-6E8A-4147-A177-3AD203B41FA5}">
                      <a16:colId xmlns:a16="http://schemas.microsoft.com/office/drawing/2014/main" val="3100357130"/>
                    </a:ext>
                  </a:extLst>
                </a:gridCol>
                <a:gridCol w="958303">
                  <a:extLst>
                    <a:ext uri="{9D8B030D-6E8A-4147-A177-3AD203B41FA5}">
                      <a16:colId xmlns:a16="http://schemas.microsoft.com/office/drawing/2014/main" val="1000044421"/>
                    </a:ext>
                  </a:extLst>
                </a:gridCol>
              </a:tblGrid>
              <a:tr h="233172">
                <a:tc gridSpan="4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cs typeface="Calibri" panose="020F0502020204030204" pitchFamily="34" charset="0"/>
                        </a:rPr>
                        <a:t>JAK and FLT3 Kinases</a:t>
                      </a:r>
                      <a:r>
                        <a:rPr lang="en-US" sz="1200" baseline="30000" dirty="0"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aseline="0" dirty="0">
                          <a:latin typeface="+mn-lt"/>
                          <a:cs typeface="Calibri" panose="020F0502020204030204" pitchFamily="34" charset="0"/>
                        </a:rPr>
                        <a:t>IC</a:t>
                      </a:r>
                      <a:r>
                        <a:rPr lang="en-US" sz="1200" baseline="-25000" dirty="0">
                          <a:latin typeface="+mn-lt"/>
                          <a:cs typeface="Calibri" panose="020F0502020204030204" pitchFamily="34" charset="0"/>
                        </a:rPr>
                        <a:t>50</a:t>
                      </a:r>
                      <a:r>
                        <a:rPr lang="en-US" sz="1200" baseline="0" dirty="0">
                          <a:latin typeface="+mn-lt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200" baseline="0" dirty="0" err="1">
                          <a:latin typeface="+mn-lt"/>
                          <a:cs typeface="Calibri" panose="020F0502020204030204" pitchFamily="34" charset="0"/>
                        </a:rPr>
                        <a:t>nM</a:t>
                      </a:r>
                      <a:r>
                        <a:rPr lang="en-US" sz="1200" baseline="0" dirty="0">
                          <a:latin typeface="+mn-lt"/>
                          <a:cs typeface="Calibri" panose="020F0502020204030204" pitchFamily="34" charset="0"/>
                        </a:rPr>
                        <a:t>)</a:t>
                      </a:r>
                      <a:endParaRPr lang="en-US" sz="1200" b="1" baseline="30000" dirty="0">
                        <a:solidFill>
                          <a:prstClr val="white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b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A01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baseline="30000">
                        <a:solidFill>
                          <a:prstClr val="white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baseline="30000">
                        <a:solidFill>
                          <a:prstClr val="white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268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b="1" dirty="0">
                          <a:latin typeface="+mn-lt"/>
                          <a:cs typeface="Calibri" panose="020F0502020204030204" pitchFamily="34" charset="0"/>
                        </a:rPr>
                        <a:t>Kinase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b="1" dirty="0">
                          <a:latin typeface="+mn-lt"/>
                          <a:cs typeface="Calibri" panose="020F0502020204030204" pitchFamily="34" charset="0"/>
                        </a:rPr>
                        <a:t>Pacritinib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Ruxolitinib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Fedratinib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830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JAK1</a:t>
                      </a:r>
                    </a:p>
                  </a:txBody>
                  <a:tcPr marL="68580" marR="68580" marT="34290" marB="34290">
                    <a:lnL w="12700" cmpd="sng">
                      <a:noFill/>
                    </a:lnL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1280</a:t>
                      </a:r>
                    </a:p>
                  </a:txBody>
                  <a:tcPr marL="68580" marR="68580" marT="34290" marB="3429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3.4</a:t>
                      </a:r>
                    </a:p>
                  </a:txBody>
                  <a:tcPr marL="68580" marR="68580" marT="34290" marB="3429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>
                          <a:latin typeface="+mn-lt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68580" marR="68580" marT="34290" marB="34290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830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i="1" dirty="0">
                          <a:latin typeface="+mn-lt"/>
                          <a:cs typeface="Calibri" panose="020F0502020204030204" pitchFamily="34" charset="0"/>
                        </a:rPr>
                        <a:t>JAK2</a:t>
                      </a:r>
                    </a:p>
                  </a:txBody>
                  <a:tcPr marL="68580" marR="68580" marT="34290" marB="34290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6.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0.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>
                          <a:latin typeface="+mn-lt"/>
                          <a:cs typeface="Calibri" panose="020F0502020204030204" pitchFamily="34" charset="0"/>
                        </a:rPr>
                        <a:t>1.1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830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i="1" baseline="0" dirty="0">
                          <a:latin typeface="+mn-lt"/>
                          <a:cs typeface="Calibri" panose="020F0502020204030204" pitchFamily="34" charset="0"/>
                        </a:rPr>
                        <a:t>JAK2</a:t>
                      </a:r>
                      <a:r>
                        <a:rPr lang="en-US" sz="1100" baseline="0" dirty="0">
                          <a:latin typeface="+mn-lt"/>
                          <a:cs typeface="Calibri" panose="020F0502020204030204" pitchFamily="34" charset="0"/>
                        </a:rPr>
                        <a:t> V617F</a:t>
                      </a:r>
                    </a:p>
                  </a:txBody>
                  <a:tcPr marL="68580" marR="68580" marT="34290" marB="34290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9.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N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N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830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>
                          <a:latin typeface="+mn-lt"/>
                          <a:cs typeface="Calibri" panose="020F0502020204030204" pitchFamily="34" charset="0"/>
                        </a:rPr>
                        <a:t>JAK3</a:t>
                      </a:r>
                    </a:p>
                  </a:txBody>
                  <a:tcPr marL="68580" marR="68580" marT="34290" marB="34290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>
                          <a:latin typeface="+mn-lt"/>
                          <a:cs typeface="Calibri" panose="020F0502020204030204" pitchFamily="34" charset="0"/>
                        </a:rPr>
                        <a:t>18.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>
                          <a:latin typeface="+mn-lt"/>
                          <a:cs typeface="Calibri" panose="020F0502020204030204" pitchFamily="34" charset="0"/>
                        </a:rPr>
                        <a:t>2.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74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830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>
                          <a:latin typeface="+mn-lt"/>
                          <a:cs typeface="Calibri" panose="020F0502020204030204" pitchFamily="34" charset="0"/>
                        </a:rPr>
                        <a:t>FLT3</a:t>
                      </a:r>
                    </a:p>
                  </a:txBody>
                  <a:tcPr marL="68580" marR="68580" marT="34290" marB="34290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>
                          <a:latin typeface="+mn-lt"/>
                          <a:cs typeface="Calibri" panose="020F0502020204030204" pitchFamily="34" charset="0"/>
                        </a:rPr>
                        <a:t>14.8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latin typeface="+mn-lt"/>
                          <a:cs typeface="Calibri" panose="020F0502020204030204" pitchFamily="34" charset="0"/>
                        </a:rPr>
                        <a:t>&gt;30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13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AFF33765-7238-4C43-9623-DF95F89B8335}"/>
              </a:ext>
            </a:extLst>
          </p:cNvPr>
          <p:cNvGraphicFramePr>
            <a:graphicFrameLocks noGrp="1"/>
          </p:cNvGraphicFramePr>
          <p:nvPr/>
        </p:nvGraphicFramePr>
        <p:xfrm>
          <a:off x="6565601" y="3452111"/>
          <a:ext cx="3833212" cy="1148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83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583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8303">
                  <a:extLst>
                    <a:ext uri="{9D8B030D-6E8A-4147-A177-3AD203B41FA5}">
                      <a16:colId xmlns:a16="http://schemas.microsoft.com/office/drawing/2014/main" val="2710146589"/>
                    </a:ext>
                  </a:extLst>
                </a:gridCol>
                <a:gridCol w="958303">
                  <a:extLst>
                    <a:ext uri="{9D8B030D-6E8A-4147-A177-3AD203B41FA5}">
                      <a16:colId xmlns:a16="http://schemas.microsoft.com/office/drawing/2014/main" val="574748981"/>
                    </a:ext>
                  </a:extLst>
                </a:gridCol>
              </a:tblGrid>
              <a:tr h="287204">
                <a:tc gridSpan="4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cs typeface="Calibri" panose="020F0502020204030204" pitchFamily="34" charset="0"/>
                        </a:rPr>
                        <a:t>Non-Tyrosine Kinases of Interest</a:t>
                      </a:r>
                      <a:r>
                        <a:rPr lang="en-US" sz="1200" baseline="0" dirty="0">
                          <a:latin typeface="+mn-lt"/>
                          <a:cs typeface="Calibri" panose="020F0502020204030204" pitchFamily="34" charset="0"/>
                        </a:rPr>
                        <a:t> IC</a:t>
                      </a:r>
                      <a:r>
                        <a:rPr lang="en-US" sz="1200" baseline="-25000" dirty="0">
                          <a:latin typeface="+mn-lt"/>
                          <a:cs typeface="Calibri" panose="020F0502020204030204" pitchFamily="34" charset="0"/>
                        </a:rPr>
                        <a:t>50</a:t>
                      </a:r>
                      <a:r>
                        <a:rPr lang="en-US" sz="1200" baseline="0" dirty="0">
                          <a:latin typeface="+mn-lt"/>
                          <a:cs typeface="Calibri" panose="020F0502020204030204" pitchFamily="34" charset="0"/>
                        </a:rPr>
                        <a:t> (</a:t>
                      </a:r>
                      <a:r>
                        <a:rPr lang="en-US" sz="1200" baseline="0" dirty="0" err="1">
                          <a:latin typeface="+mn-lt"/>
                          <a:cs typeface="Calibri" panose="020F0502020204030204" pitchFamily="34" charset="0"/>
                        </a:rPr>
                        <a:t>nM</a:t>
                      </a:r>
                      <a:r>
                        <a:rPr lang="en-US" sz="1200" baseline="0" dirty="0">
                          <a:latin typeface="+mn-lt"/>
                          <a:cs typeface="Calibri" panose="020F0502020204030204" pitchFamily="34" charset="0"/>
                        </a:rPr>
                        <a:t>)</a:t>
                      </a:r>
                      <a:endParaRPr lang="en-US" sz="1200" b="1" baseline="30000" dirty="0">
                        <a:solidFill>
                          <a:prstClr val="white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b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>
                          <a:lumMod val="50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A01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baseline="30000">
                        <a:solidFill>
                          <a:prstClr val="white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rgbClr val="116CA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baseline="30000">
                        <a:solidFill>
                          <a:prstClr val="white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solidFill>
                      <a:srgbClr val="116C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720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b="1" dirty="0">
                          <a:latin typeface="+mn-lt"/>
                          <a:cs typeface="Calibri" panose="020F0502020204030204" pitchFamily="34" charset="0"/>
                        </a:rPr>
                        <a:t>Kinas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b="1" dirty="0">
                          <a:latin typeface="+mn-lt"/>
                          <a:cs typeface="Calibri" panose="020F0502020204030204" pitchFamily="34" charset="0"/>
                        </a:rPr>
                        <a:t>Pacritinib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Ruxolitinib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Fedratinib</a:t>
                      </a:r>
                    </a:p>
                  </a:txBody>
                  <a:tcPr marL="68580" marR="68580" marT="34290" marB="34290">
                    <a:lnR w="12700" cmpd="sng">
                      <a:noFill/>
                    </a:ln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720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CSF1R</a:t>
                      </a:r>
                      <a:endParaRPr lang="en-US" sz="11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39.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&gt;30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220</a:t>
                      </a:r>
                    </a:p>
                  </a:txBody>
                  <a:tcPr marL="68580" marR="68580" marT="34290" marB="34290">
                    <a:lnR w="12700" cmpd="sng"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720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>
                          <a:latin typeface="+mn-lt"/>
                          <a:cs typeface="Calibri" panose="020F0502020204030204" pitchFamily="34" charset="0"/>
                        </a:rPr>
                        <a:t>IRAK1</a:t>
                      </a:r>
                    </a:p>
                  </a:txBody>
                  <a:tcPr marL="68580" marR="68580" marT="34290" marB="34290">
                    <a:lnL w="12700" cmpd="sng">
                      <a:noFill/>
                    </a:lnL>
                    <a:lnB w="12700" cmpd="sng"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>
                          <a:latin typeface="+mn-lt"/>
                          <a:cs typeface="Calibri" panose="020F0502020204030204" pitchFamily="34" charset="0"/>
                        </a:rPr>
                        <a:t>13.6</a:t>
                      </a:r>
                    </a:p>
                  </a:txBody>
                  <a:tcPr marL="68580" marR="68580" marT="34290" marB="34290">
                    <a:lnB w="12700" cmpd="sng"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>
                          <a:latin typeface="+mn-lt"/>
                          <a:cs typeface="Calibri" panose="020F0502020204030204" pitchFamily="34" charset="0"/>
                        </a:rPr>
                        <a:t>290</a:t>
                      </a:r>
                    </a:p>
                  </a:txBody>
                  <a:tcPr marL="68580" marR="68580" marT="34290" marB="34290">
                    <a:lnB w="12700" cmpd="sng"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n-lt"/>
                          <a:cs typeface="Calibri" panose="020F0502020204030204" pitchFamily="34" charset="0"/>
                        </a:rPr>
                        <a:t>620</a:t>
                      </a:r>
                    </a:p>
                  </a:txBody>
                  <a:tcPr marL="68580" marR="68580" marT="34290" marB="34290">
                    <a:lnR w="12700" cmpd="sng">
                      <a:noFill/>
                    </a:lnR>
                    <a:lnB w="12700" cmpd="sng">
                      <a:noFill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2899DF25-4B21-48D6-B741-B4C4298DB885}"/>
              </a:ext>
            </a:extLst>
          </p:cNvPr>
          <p:cNvSpPr txBox="1">
            <a:spLocks/>
          </p:cNvSpPr>
          <p:nvPr/>
        </p:nvSpPr>
        <p:spPr>
          <a:xfrm>
            <a:off x="6565602" y="5066753"/>
            <a:ext cx="3826305" cy="2667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Wingdings" pitchFamily="2" charset="2"/>
              <a:buNone/>
              <a:defRPr sz="800" b="0" i="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System Font Regular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System Font Regular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83">
              <a:buClr>
                <a:srgbClr val="EE5340"/>
              </a:buClr>
              <a:defRPr/>
            </a:pPr>
            <a:r>
              <a:rPr lang="en-US" sz="600" dirty="0">
                <a:solidFill>
                  <a:srgbClr val="000000"/>
                </a:solidFill>
                <a:latin typeface="Arial" panose="020B0604020202020204"/>
              </a:rPr>
              <a:t>Eurofins “</a:t>
            </a:r>
            <a:r>
              <a:rPr lang="en-US" sz="600" dirty="0" err="1">
                <a:solidFill>
                  <a:srgbClr val="000000"/>
                </a:solidFill>
                <a:latin typeface="Arial" panose="020B0604020202020204"/>
              </a:rPr>
              <a:t>KINOME</a:t>
            </a:r>
            <a:r>
              <a:rPr lang="en-US" sz="600" i="1" dirty="0" err="1">
                <a:solidFill>
                  <a:srgbClr val="000000"/>
                </a:solidFill>
                <a:latin typeface="Arial" panose="020B0604020202020204"/>
              </a:rPr>
              <a:t>scan</a:t>
            </a:r>
            <a:r>
              <a:rPr lang="en-US" sz="600" dirty="0">
                <a:solidFill>
                  <a:srgbClr val="000000"/>
                </a:solidFill>
                <a:latin typeface="Arial" panose="020B0604020202020204"/>
              </a:rPr>
              <a:t>” for </a:t>
            </a:r>
            <a:r>
              <a:rPr lang="en-US" sz="600" dirty="0">
                <a:solidFill>
                  <a:srgbClr val="000000"/>
                </a:solidFill>
                <a:latin typeface="Arial" panose="020B0604020202020204"/>
                <a:hlinkClick r:id="rId8"/>
              </a:rPr>
              <a:t>RUX</a:t>
            </a:r>
            <a:r>
              <a:rPr lang="en-US" sz="600" dirty="0">
                <a:solidFill>
                  <a:srgbClr val="000000"/>
                </a:solidFill>
                <a:latin typeface="Arial" panose="020B0604020202020204"/>
              </a:rPr>
              <a:t> and </a:t>
            </a:r>
            <a:r>
              <a:rPr lang="en-US" sz="600" dirty="0">
                <a:solidFill>
                  <a:srgbClr val="000000"/>
                </a:solidFill>
                <a:latin typeface="Arial" panose="020B0604020202020204"/>
                <a:hlinkClick r:id="rId9"/>
              </a:rPr>
              <a:t>FED</a:t>
            </a:r>
            <a:endParaRPr lang="en-US" sz="600" dirty="0">
              <a:solidFill>
                <a:srgbClr val="000000"/>
              </a:solidFill>
              <a:latin typeface="Arial" panose="020B0604020202020204"/>
            </a:endParaRPr>
          </a:p>
          <a:p>
            <a:pPr algn="r" defTabSz="685783">
              <a:buClr>
                <a:srgbClr val="EE5340"/>
              </a:buClr>
              <a:defRPr/>
            </a:pPr>
            <a:r>
              <a:rPr lang="en-US" sz="600" dirty="0">
                <a:solidFill>
                  <a:srgbClr val="000000"/>
                </a:solidFill>
                <a:latin typeface="Arial" panose="020B0604020202020204"/>
              </a:rPr>
              <a:t>J Exp Pharm publication for </a:t>
            </a:r>
            <a:r>
              <a:rPr lang="en-US" sz="600" dirty="0">
                <a:solidFill>
                  <a:srgbClr val="000000"/>
                </a:solidFill>
                <a:latin typeface="Arial" panose="020B0604020202020204"/>
                <a:hlinkClick r:id="rId10"/>
              </a:rPr>
              <a:t>PAC</a:t>
            </a:r>
            <a:endParaRPr lang="en-US" sz="600" dirty="0">
              <a:solidFill>
                <a:srgbClr val="000000"/>
              </a:solidFill>
              <a:latin typeface="Arial" panose="020B0604020202020204"/>
            </a:endParaRPr>
          </a:p>
          <a:p>
            <a:pPr algn="r" defTabSz="685783">
              <a:buClr>
                <a:srgbClr val="EE5340"/>
              </a:buClr>
              <a:defRPr/>
            </a:pPr>
            <a:r>
              <a:rPr lang="en-US" sz="600" dirty="0">
                <a:solidFill>
                  <a:srgbClr val="000000"/>
                </a:solidFill>
                <a:latin typeface="Arial" panose="020B0604020202020204"/>
              </a:rPr>
              <a:t>Leukemia publication for </a:t>
            </a:r>
            <a:r>
              <a:rPr lang="en-US" sz="600" dirty="0">
                <a:solidFill>
                  <a:srgbClr val="000000"/>
                </a:solidFill>
                <a:latin typeface="Arial" panose="020B0604020202020204"/>
                <a:hlinkClick r:id="rId11"/>
              </a:rPr>
              <a:t>PAC</a:t>
            </a:r>
            <a:r>
              <a:rPr lang="en-US" sz="600" dirty="0">
                <a:solidFill>
                  <a:srgbClr val="000000"/>
                </a:solidFill>
                <a:latin typeface="Arial" panose="020B0604020202020204"/>
              </a:rPr>
              <a:t> (JAK1)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6082C27-DC26-41FC-B462-E855F55EA557}"/>
              </a:ext>
            </a:extLst>
          </p:cNvPr>
          <p:cNvSpPr txBox="1"/>
          <p:nvPr/>
        </p:nvSpPr>
        <p:spPr>
          <a:xfrm>
            <a:off x="6565602" y="4679137"/>
            <a:ext cx="3992648" cy="6412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36" indent="-285736" defTabSz="685766">
              <a:buClr>
                <a:srgbClr val="EE5340"/>
              </a:buClr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solidFill>
                  <a:srgbClr val="EE5340"/>
                </a:solidFill>
                <a:latin typeface="Arial" panose="020B0604020202020204"/>
              </a:rPr>
              <a:t>Only pacritinib is a potent inhibitor of IRAK1</a:t>
            </a:r>
          </a:p>
          <a:p>
            <a:pPr marL="285736" indent="-285736" defTabSz="685766">
              <a:spcBef>
                <a:spcPts val="1350"/>
              </a:spcBef>
              <a:buClr>
                <a:srgbClr val="EE5340"/>
              </a:buClr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466BB40-FB88-4A46-850E-C9FAB83F7DDF}"/>
              </a:ext>
            </a:extLst>
          </p:cNvPr>
          <p:cNvSpPr/>
          <p:nvPr/>
        </p:nvSpPr>
        <p:spPr>
          <a:xfrm>
            <a:off x="1524000" y="6594085"/>
            <a:ext cx="9144000" cy="2639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Goudy Old Style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C435DB4-6771-034A-87F0-55808BAA5D7B}"/>
              </a:ext>
            </a:extLst>
          </p:cNvPr>
          <p:cNvSpPr/>
          <p:nvPr/>
        </p:nvSpPr>
        <p:spPr>
          <a:xfrm>
            <a:off x="1524000" y="-17939"/>
            <a:ext cx="9144000" cy="2639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Goudy Old Style"/>
            </a:endParaRPr>
          </a:p>
        </p:txBody>
      </p:sp>
    </p:spTree>
    <p:extLst>
      <p:ext uri="{BB962C8B-B14F-4D97-AF65-F5344CB8AC3E}">
        <p14:creationId xmlns:p14="http://schemas.microsoft.com/office/powerpoint/2010/main" val="27479006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heme/theme1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002C77"/>
      </a:accent3>
      <a:accent4>
        <a:srgbClr val="62BB46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2_Mays_Cancer_Center_Template">
  <a:themeElements>
    <a:clrScheme name="UTHSA-White">
      <a:dk1>
        <a:srgbClr val="BC4800"/>
      </a:dk1>
      <a:lt1>
        <a:srgbClr val="FFFFFF"/>
      </a:lt1>
      <a:dk2>
        <a:srgbClr val="000000"/>
      </a:dk2>
      <a:lt2>
        <a:srgbClr val="FFFFFF"/>
      </a:lt2>
      <a:accent1>
        <a:srgbClr val="007298"/>
      </a:accent1>
      <a:accent2>
        <a:srgbClr val="4E7F71"/>
      </a:accent2>
      <a:accent3>
        <a:srgbClr val="624C79"/>
      </a:accent3>
      <a:accent4>
        <a:srgbClr val="D65F00"/>
      </a:accent4>
      <a:accent5>
        <a:srgbClr val="BA7828"/>
      </a:accent5>
      <a:accent6>
        <a:srgbClr val="AA999D"/>
      </a:accent6>
      <a:hlink>
        <a:srgbClr val="BC4800"/>
      </a:hlink>
      <a:folHlink>
        <a:srgbClr val="9E2A00"/>
      </a:folHlink>
    </a:clrScheme>
    <a:fontScheme name="Inkwell">
      <a:majorFont>
        <a:latin typeface="Goudy Old Style"/>
        <a:ea typeface=""/>
        <a:cs typeface=""/>
        <a:font script="Jpan" typeface="ＭＳ 明朝"/>
        <a:font script="Hans" typeface="宋体"/>
        <a:font script="Hant" typeface="新細明體"/>
      </a:majorFont>
      <a:minorFont>
        <a:latin typeface="Goudy Old Style"/>
        <a:ea typeface=""/>
        <a:cs typeface=""/>
        <a:font script="Jpan" typeface="ＭＳ 明朝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SHA PowerPoint Template_4x3_100716" id="{BD6FA644-250E-4540-988F-651F10CEEC50}" vid="{41A70BD3-DB1E-EF42-9792-D3C80850D985}"/>
    </a:ext>
  </a:extLst>
</a:theme>
</file>

<file path=ppt/theme/theme11.xml><?xml version="1.0" encoding="utf-8"?>
<a:theme xmlns:a="http://schemas.openxmlformats.org/drawingml/2006/main" name="NORMAL SLIDES">
  <a:themeElements>
    <a:clrScheme name="Program Content Slides">
      <a:dk1>
        <a:srgbClr val="47484F"/>
      </a:dk1>
      <a:lt1>
        <a:sysClr val="window" lastClr="FFFFFF"/>
      </a:lt1>
      <a:dk2>
        <a:srgbClr val="0F3853"/>
      </a:dk2>
      <a:lt2>
        <a:srgbClr val="134E77"/>
      </a:lt2>
      <a:accent1>
        <a:srgbClr val="116EA7"/>
      </a:accent1>
      <a:accent2>
        <a:srgbClr val="7897A8"/>
      </a:accent2>
      <a:accent3>
        <a:srgbClr val="6E1F23"/>
      </a:accent3>
      <a:accent4>
        <a:srgbClr val="9C130C"/>
      </a:accent4>
      <a:accent5>
        <a:srgbClr val="DA2520"/>
      </a:accent5>
      <a:accent6>
        <a:srgbClr val="FD8831"/>
      </a:accent6>
      <a:hlink>
        <a:srgbClr val="116EA7"/>
      </a:hlink>
      <a:folHlink>
        <a:srgbClr val="116EA7"/>
      </a:folHlink>
    </a:clrScheme>
    <a:fontScheme name="Program Slides">
      <a:majorFont>
        <a:latin typeface="Roboto Condensed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8_Office Theme">
  <a:themeElements>
    <a:clrScheme name="Custom 4">
      <a:dk1>
        <a:srgbClr val="656D78"/>
      </a:dk1>
      <a:lt1>
        <a:srgbClr val="FFFFFF"/>
      </a:lt1>
      <a:dk2>
        <a:srgbClr val="44546A"/>
      </a:dk2>
      <a:lt2>
        <a:srgbClr val="E7E6E6"/>
      </a:lt2>
      <a:accent1>
        <a:srgbClr val="E14D3B"/>
      </a:accent1>
      <a:accent2>
        <a:srgbClr val="1D4F60"/>
      </a:accent2>
      <a:accent3>
        <a:srgbClr val="F3B334"/>
      </a:accent3>
      <a:accent4>
        <a:srgbClr val="6DCADE"/>
      </a:accent4>
      <a:accent5>
        <a:srgbClr val="2A7993"/>
      </a:accent5>
      <a:accent6>
        <a:srgbClr val="D7C400"/>
      </a:accent6>
      <a:hlink>
        <a:srgbClr val="0563C1"/>
      </a:hlink>
      <a:folHlink>
        <a:srgbClr val="954F72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877BC"/>
      </a:accent1>
      <a:accent2>
        <a:srgbClr val="7AD0E7"/>
      </a:accent2>
      <a:accent3>
        <a:srgbClr val="F79647"/>
      </a:accent3>
      <a:accent4>
        <a:srgbClr val="F8C946"/>
      </a:accent4>
      <a:accent5>
        <a:srgbClr val="DBDBDB"/>
      </a:accent5>
      <a:accent6>
        <a:srgbClr val="1EC85A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5_Mays_Cancer_Center_Template">
  <a:themeElements>
    <a:clrScheme name="UTHSA-White">
      <a:dk1>
        <a:srgbClr val="BC4800"/>
      </a:dk1>
      <a:lt1>
        <a:srgbClr val="FFFFFF"/>
      </a:lt1>
      <a:dk2>
        <a:srgbClr val="000000"/>
      </a:dk2>
      <a:lt2>
        <a:srgbClr val="FFFFFF"/>
      </a:lt2>
      <a:accent1>
        <a:srgbClr val="007298"/>
      </a:accent1>
      <a:accent2>
        <a:srgbClr val="4E7F71"/>
      </a:accent2>
      <a:accent3>
        <a:srgbClr val="624C79"/>
      </a:accent3>
      <a:accent4>
        <a:srgbClr val="D65F00"/>
      </a:accent4>
      <a:accent5>
        <a:srgbClr val="BA7828"/>
      </a:accent5>
      <a:accent6>
        <a:srgbClr val="AA999D"/>
      </a:accent6>
      <a:hlink>
        <a:srgbClr val="BC4800"/>
      </a:hlink>
      <a:folHlink>
        <a:srgbClr val="9E2A00"/>
      </a:folHlink>
    </a:clrScheme>
    <a:fontScheme name="Inkwell">
      <a:majorFont>
        <a:latin typeface="Goudy Old Style"/>
        <a:ea typeface=""/>
        <a:cs typeface=""/>
        <a:font script="Jpan" typeface="ＭＳ 明朝"/>
        <a:font script="Hans" typeface="宋体"/>
        <a:font script="Hant" typeface="新細明體"/>
      </a:majorFont>
      <a:minorFont>
        <a:latin typeface="Goudy Old Style"/>
        <a:ea typeface=""/>
        <a:cs typeface=""/>
        <a:font script="Jpan" typeface="ＭＳ 明朝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SHA PowerPoint Template_4x3_100716" id="{BD6FA644-250E-4540-988F-651F10CEEC50}" vid="{41A70BD3-DB1E-EF42-9792-D3C80850D985}"/>
    </a:ext>
  </a:extLst>
</a:theme>
</file>

<file path=ppt/theme/theme15.xml><?xml version="1.0" encoding="utf-8"?>
<a:theme xmlns:a="http://schemas.openxmlformats.org/drawingml/2006/main" name="6_Mays_Cancer_Center_Template">
  <a:themeElements>
    <a:clrScheme name="UTHSA-White">
      <a:dk1>
        <a:srgbClr val="BC4800"/>
      </a:dk1>
      <a:lt1>
        <a:srgbClr val="FFFFFF"/>
      </a:lt1>
      <a:dk2>
        <a:srgbClr val="000000"/>
      </a:dk2>
      <a:lt2>
        <a:srgbClr val="FFFFFF"/>
      </a:lt2>
      <a:accent1>
        <a:srgbClr val="007298"/>
      </a:accent1>
      <a:accent2>
        <a:srgbClr val="4E7F71"/>
      </a:accent2>
      <a:accent3>
        <a:srgbClr val="624C79"/>
      </a:accent3>
      <a:accent4>
        <a:srgbClr val="D65F00"/>
      </a:accent4>
      <a:accent5>
        <a:srgbClr val="BA7828"/>
      </a:accent5>
      <a:accent6>
        <a:srgbClr val="AA999D"/>
      </a:accent6>
      <a:hlink>
        <a:srgbClr val="BC4800"/>
      </a:hlink>
      <a:folHlink>
        <a:srgbClr val="9E2A00"/>
      </a:folHlink>
    </a:clrScheme>
    <a:fontScheme name="Inkwell">
      <a:majorFont>
        <a:latin typeface="Goudy Old Style"/>
        <a:ea typeface=""/>
        <a:cs typeface=""/>
        <a:font script="Jpan" typeface="ＭＳ 明朝"/>
        <a:font script="Hans" typeface="宋体"/>
        <a:font script="Hant" typeface="新細明體"/>
      </a:majorFont>
      <a:minorFont>
        <a:latin typeface="Goudy Old Style"/>
        <a:ea typeface=""/>
        <a:cs typeface=""/>
        <a:font script="Jpan" typeface="ＭＳ 明朝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SHA PowerPoint Template_4x3_100716" id="{BD6FA644-250E-4540-988F-651F10CEEC50}" vid="{41A70BD3-DB1E-EF42-9792-D3C80850D985}"/>
    </a:ext>
  </a:extLst>
</a:theme>
</file>

<file path=ppt/theme/theme16.xml><?xml version="1.0" encoding="utf-8"?>
<a:theme xmlns:a="http://schemas.openxmlformats.org/drawingml/2006/main" name="1_EHA">
  <a:themeElements>
    <a:clrScheme name="Custom 2">
      <a:dk1>
        <a:srgbClr val="1F497D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HA" id="{F5DDA9BF-5F6C-4D10-9CA0-4991F87A9F00}" vid="{85DA17DF-DD77-4E9F-9ABD-32F2D79440C9}"/>
    </a:ext>
  </a:extLst>
</a:theme>
</file>

<file path=ppt/theme/theme17.xml><?xml version="1.0" encoding="utf-8"?>
<a:theme xmlns:a="http://schemas.openxmlformats.org/drawingml/2006/main" name="9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C5A4C9F2-5175-46A4-A69E-8F6251DE160C}" vid="{08B67342-873D-4CC5-B906-2190EFBD4818}"/>
    </a:ext>
  </a:extLst>
</a:theme>
</file>

<file path=ppt/theme/theme18.xml><?xml version="1.0" encoding="utf-8"?>
<a:theme xmlns:a="http://schemas.openxmlformats.org/drawingml/2006/main" name="3_Mays_Cancer_Center_Template">
  <a:themeElements>
    <a:clrScheme name="UTHSA-White">
      <a:dk1>
        <a:srgbClr val="BC4800"/>
      </a:dk1>
      <a:lt1>
        <a:srgbClr val="FFFFFF"/>
      </a:lt1>
      <a:dk2>
        <a:srgbClr val="000000"/>
      </a:dk2>
      <a:lt2>
        <a:srgbClr val="FFFFFF"/>
      </a:lt2>
      <a:accent1>
        <a:srgbClr val="007298"/>
      </a:accent1>
      <a:accent2>
        <a:srgbClr val="4E7F71"/>
      </a:accent2>
      <a:accent3>
        <a:srgbClr val="624C79"/>
      </a:accent3>
      <a:accent4>
        <a:srgbClr val="D65F00"/>
      </a:accent4>
      <a:accent5>
        <a:srgbClr val="BA7828"/>
      </a:accent5>
      <a:accent6>
        <a:srgbClr val="AA999D"/>
      </a:accent6>
      <a:hlink>
        <a:srgbClr val="BC4800"/>
      </a:hlink>
      <a:folHlink>
        <a:srgbClr val="9E2A00"/>
      </a:folHlink>
    </a:clrScheme>
    <a:fontScheme name="Inkwell">
      <a:majorFont>
        <a:latin typeface="Goudy Old Style"/>
        <a:ea typeface=""/>
        <a:cs typeface=""/>
        <a:font script="Jpan" typeface="ＭＳ 明朝"/>
        <a:font script="Hans" typeface="宋体"/>
        <a:font script="Hant" typeface="新細明體"/>
      </a:majorFont>
      <a:minorFont>
        <a:latin typeface="Goudy Old Style"/>
        <a:ea typeface=""/>
        <a:cs typeface=""/>
        <a:font script="Jpan" typeface="ＭＳ 明朝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SHA PowerPoint Template_4x3_100716" id="{BD6FA644-250E-4540-988F-651F10CEEC50}" vid="{41A70BD3-DB1E-EF42-9792-D3C80850D985}"/>
    </a:ext>
  </a:extLst>
</a:theme>
</file>

<file path=ppt/theme/theme19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C5A4C9F2-5175-46A4-A69E-8F6251DE160C}" vid="{08B67342-873D-4CC5-B906-2190EFBD4818}"/>
    </a:ext>
  </a:extLst>
</a:theme>
</file>

<file path=ppt/theme/theme2.xml><?xml version="1.0" encoding="utf-8"?>
<a:theme xmlns:a="http://schemas.openxmlformats.org/drawingml/2006/main" name="1_Kartos Therapeutics">
  <a:themeElements>
    <a:clrScheme name="KARTOS COLORS">
      <a:dk1>
        <a:srgbClr val="1D366C"/>
      </a:dk1>
      <a:lt1>
        <a:srgbClr val="FFFFFF"/>
      </a:lt1>
      <a:dk2>
        <a:srgbClr val="000000"/>
      </a:dk2>
      <a:lt2>
        <a:srgbClr val="E7E6E6"/>
      </a:lt2>
      <a:accent1>
        <a:srgbClr val="0970CE"/>
      </a:accent1>
      <a:accent2>
        <a:srgbClr val="1D366C"/>
      </a:accent2>
      <a:accent3>
        <a:srgbClr val="2F6690"/>
      </a:accent3>
      <a:accent4>
        <a:srgbClr val="73A5B8"/>
      </a:accent4>
      <a:accent5>
        <a:srgbClr val="60BB46"/>
      </a:accent5>
      <a:accent6>
        <a:srgbClr val="F37933"/>
      </a:accent6>
      <a:hlink>
        <a:srgbClr val="0563C1"/>
      </a:hlink>
      <a:folHlink>
        <a:srgbClr val="624B78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_Kartos_Therapeutics_template_6.25.18B" id="{6203D8FA-F038-F045-906C-42EC3DF8EDF9}" vid="{C246888C-EE4B-3D4E-9DB1-D0054C0ADBDE}"/>
    </a:ext>
  </a:extLst>
</a:theme>
</file>

<file path=ppt/theme/theme20.xml><?xml version="1.0" encoding="utf-8"?>
<a:theme xmlns:a="http://schemas.openxmlformats.org/drawingml/2006/main" name="Incyte">
  <a:themeElements>
    <a:clrScheme name="Incyte 2018 NEW">
      <a:dk1>
        <a:srgbClr val="000000"/>
      </a:dk1>
      <a:lt1>
        <a:srgbClr val="FFFFFF"/>
      </a:lt1>
      <a:dk2>
        <a:srgbClr val="243444"/>
      </a:dk2>
      <a:lt2>
        <a:srgbClr val="CADCF2"/>
      </a:lt2>
      <a:accent1>
        <a:srgbClr val="005CAB"/>
      </a:accent1>
      <a:accent2>
        <a:srgbClr val="7DC242"/>
      </a:accent2>
      <a:accent3>
        <a:srgbClr val="962710"/>
      </a:accent3>
      <a:accent4>
        <a:srgbClr val="CEA00C"/>
      </a:accent4>
      <a:accent5>
        <a:srgbClr val="0094C8"/>
      </a:accent5>
      <a:accent6>
        <a:srgbClr val="53237B"/>
      </a:accent6>
      <a:hlink>
        <a:srgbClr val="2B8F91"/>
      </a:hlink>
      <a:folHlink>
        <a:srgbClr val="D46C1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3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7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3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NYL2014_PPT_Slides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Georgia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72" charset="0"/>
            <a:ea typeface="ＭＳ Ｐゴシック" pitchFamily="-72" charset="-128"/>
            <a:cs typeface="ＭＳ Ｐゴシック" pitchFamily="-7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72" charset="0"/>
            <a:ea typeface="ＭＳ Ｐゴシック" pitchFamily="-72" charset="-128"/>
            <a:cs typeface="ＭＳ Ｐゴシック" pitchFamily="-72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NYL2014_PPT_Slides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Georgia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72" charset="0"/>
            <a:ea typeface="ＭＳ Ｐゴシック" pitchFamily="-72" charset="-128"/>
            <a:cs typeface="ＭＳ Ｐゴシック" pitchFamily="-7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72" charset="0"/>
            <a:ea typeface="ＭＳ Ｐゴシック" pitchFamily="-72" charset="-128"/>
            <a:cs typeface="ＭＳ Ｐゴシック" pitchFamily="-72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Mays_Cancer_Center_Template">
  <a:themeElements>
    <a:clrScheme name="Custom 2">
      <a:dk1>
        <a:srgbClr val="BC4800"/>
      </a:dk1>
      <a:lt1>
        <a:srgbClr val="FFFFFF"/>
      </a:lt1>
      <a:dk2>
        <a:srgbClr val="000000"/>
      </a:dk2>
      <a:lt2>
        <a:srgbClr val="FFFFFF"/>
      </a:lt2>
      <a:accent1>
        <a:srgbClr val="513C40"/>
      </a:accent1>
      <a:accent2>
        <a:srgbClr val="7B6469"/>
      </a:accent2>
      <a:accent3>
        <a:srgbClr val="624C79"/>
      </a:accent3>
      <a:accent4>
        <a:srgbClr val="D65F00"/>
      </a:accent4>
      <a:accent5>
        <a:srgbClr val="BA7828"/>
      </a:accent5>
      <a:accent6>
        <a:srgbClr val="AA999D"/>
      </a:accent6>
      <a:hlink>
        <a:srgbClr val="BC4800"/>
      </a:hlink>
      <a:folHlink>
        <a:srgbClr val="9E2A00"/>
      </a:folHlink>
    </a:clrScheme>
    <a:fontScheme name="Civic">
      <a:majorFont>
        <a:latin typeface="Georgia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Georgia"/>
        <a:ea typeface=""/>
        <a:cs typeface=""/>
        <a:font script="Jpan" typeface="ＭＳ Ｐ明朝"/>
        <a:font script="Hang" typeface="바탕"/>
        <a:font script="Hans" typeface="华文新魏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SHA PowerPoint Template_4x3_100716" id="{BD6FA644-250E-4540-988F-651F10CEEC50}" vid="{41A70BD3-DB1E-EF42-9792-D3C80850D985}"/>
    </a:ext>
  </a:extLst>
</a:theme>
</file>

<file path=ppt/theme/theme6.xml><?xml version="1.0" encoding="utf-8"?>
<a:theme xmlns:a="http://schemas.openxmlformats.org/drawingml/2006/main" name="1_Theme2">
  <a:themeElements>
    <a:clrScheme name="PR 16to9 ratio">
      <a:dk1>
        <a:srgbClr val="000000"/>
      </a:dk1>
      <a:lt1>
        <a:srgbClr val="FFFFFF"/>
      </a:lt1>
      <a:dk2>
        <a:srgbClr val="203D32"/>
      </a:dk2>
      <a:lt2>
        <a:srgbClr val="1E2171"/>
      </a:lt2>
      <a:accent1>
        <a:srgbClr val="70AD47"/>
      </a:accent1>
      <a:accent2>
        <a:srgbClr val="0A9CA5"/>
      </a:accent2>
      <a:accent3>
        <a:srgbClr val="7FCAF1"/>
      </a:accent3>
      <a:accent4>
        <a:srgbClr val="94F6DC"/>
      </a:accent4>
      <a:accent5>
        <a:srgbClr val="FCC200"/>
      </a:accent5>
      <a:accent6>
        <a:srgbClr val="FBAF85"/>
      </a:accent6>
      <a:hlink>
        <a:srgbClr val="1E2171"/>
      </a:hlink>
      <a:folHlink>
        <a:srgbClr val="07757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4_Practice Point - Simply Speaking Template V1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Theme2" id="{321E6E78-1548-4A4C-BCD2-D1BE2139F245}" vid="{E9832025-568F-40B8-907C-BC980DB71566}"/>
    </a:ext>
  </a:extLst>
</a:theme>
</file>

<file path=ppt/theme/theme7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Mays_Cancer_Center_Template">
  <a:themeElements>
    <a:clrScheme name="UTHSA-White">
      <a:dk1>
        <a:srgbClr val="BC4800"/>
      </a:dk1>
      <a:lt1>
        <a:srgbClr val="FFFFFF"/>
      </a:lt1>
      <a:dk2>
        <a:srgbClr val="000000"/>
      </a:dk2>
      <a:lt2>
        <a:srgbClr val="FFFFFF"/>
      </a:lt2>
      <a:accent1>
        <a:srgbClr val="007298"/>
      </a:accent1>
      <a:accent2>
        <a:srgbClr val="4E7F71"/>
      </a:accent2>
      <a:accent3>
        <a:srgbClr val="624C79"/>
      </a:accent3>
      <a:accent4>
        <a:srgbClr val="D65F00"/>
      </a:accent4>
      <a:accent5>
        <a:srgbClr val="BA7828"/>
      </a:accent5>
      <a:accent6>
        <a:srgbClr val="AA999D"/>
      </a:accent6>
      <a:hlink>
        <a:srgbClr val="BC4800"/>
      </a:hlink>
      <a:folHlink>
        <a:srgbClr val="9E2A00"/>
      </a:folHlink>
    </a:clrScheme>
    <a:fontScheme name="Inkwell">
      <a:majorFont>
        <a:latin typeface="Goudy Old Style"/>
        <a:ea typeface=""/>
        <a:cs typeface=""/>
        <a:font script="Jpan" typeface="ＭＳ 明朝"/>
        <a:font script="Hans" typeface="宋体"/>
        <a:font script="Hant" typeface="新細明體"/>
      </a:majorFont>
      <a:minorFont>
        <a:latin typeface="Goudy Old Style"/>
        <a:ea typeface=""/>
        <a:cs typeface=""/>
        <a:font script="Jpan" typeface="ＭＳ 明朝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SHA PowerPoint Template_4x3_100716" id="{BD6FA644-250E-4540-988F-651F10CEEC50}" vid="{41A70BD3-DB1E-EF42-9792-D3C80850D98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862A45804C7345BFDE61DA2C172BE7" ma:contentTypeVersion="19" ma:contentTypeDescription="Create a new document." ma:contentTypeScope="" ma:versionID="83bf1051954f228ef3dccc82cfc58357">
  <xsd:schema xmlns:xsd="http://www.w3.org/2001/XMLSchema" xmlns:xs="http://www.w3.org/2001/XMLSchema" xmlns:p="http://schemas.microsoft.com/office/2006/metadata/properties" xmlns:ns1="96f1686b-f877-4eb8-89ab-3a67a5dc2612" xmlns:ns3="b4104d5b-b872-4636-a728-507be7308f43" targetNamespace="http://schemas.microsoft.com/office/2006/metadata/properties" ma:root="true" ma:fieldsID="b1f103e14bcb636125a88c7b57b71e20" ns1:_="" ns3:_="">
    <xsd:import namespace="96f1686b-f877-4eb8-89ab-3a67a5dc2612"/>
    <xsd:import namespace="b4104d5b-b872-4636-a728-507be7308f43"/>
    <xsd:element name="properties">
      <xsd:complexType>
        <xsd:sequence>
          <xsd:element name="documentManagement">
            <xsd:complexType>
              <xsd:all>
                <xsd:element ref="ns1:QID" minOccurs="0"/>
                <xsd:element ref="ns1:Status" minOccurs="0"/>
                <xsd:element ref="ns1:MediaServiceMetadata" minOccurs="0"/>
                <xsd:element ref="ns1:MediaServiceFastMetadata" minOccurs="0"/>
                <xsd:element ref="ns1:MediaServiceAutoTags" minOccurs="0"/>
                <xsd:element ref="ns1:MediaServiceOCR" minOccurs="0"/>
                <xsd:element ref="ns1:MediaServiceDateTaken" minOccurs="0"/>
                <xsd:element ref="ns1:MediaServiceLocation" minOccurs="0"/>
                <xsd:element ref="ns3:SharedWithUsers" minOccurs="0"/>
                <xsd:element ref="ns3:SharedWithDetails" minOccurs="0"/>
                <xsd:element ref="ns1:MediaServiceEventHashCode" minOccurs="0"/>
                <xsd:element ref="ns1:MediaServiceGenerationTime" minOccurs="0"/>
                <xsd:element ref="ns3:TaxKeywordTaxHTField" minOccurs="0"/>
                <xsd:element ref="ns3:TaxCatchAll" minOccurs="0"/>
                <xsd:element ref="ns1:MediaServiceAutoKeyPoints" minOccurs="0"/>
                <xsd:element ref="ns1:MediaServiceKeyPoints" minOccurs="0"/>
                <xsd:element ref="ns1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1686b-f877-4eb8-89ab-3a67a5dc2612" elementFormDefault="qualified">
    <xsd:import namespace="http://schemas.microsoft.com/office/2006/documentManagement/types"/>
    <xsd:import namespace="http://schemas.microsoft.com/office/infopath/2007/PartnerControls"/>
    <xsd:element name="QID" ma:index="0" nillable="true" ma:displayName="QID" ma:indexed="true" ma:internalName="QID">
      <xsd:simpleType>
        <xsd:restriction base="dms:Number"/>
      </xsd:simpleType>
    </xsd:element>
    <xsd:element name="Status" ma:index="3" nillable="true" ma:displayName="Status" ma:format="Dropdown" ma:internalName="Status">
      <xsd:simpleType>
        <xsd:restriction base="dms:Choice">
          <xsd:enumeration value="Not started"/>
          <xsd:enumeration value="Web Build"/>
          <xsd:enumeration value="In Progress"/>
          <xsd:enumeration value="Launched"/>
          <xsd:enumeration value="Complete"/>
          <xsd:enumeration value="Delayed"/>
        </xsd:restriction>
      </xsd:simpleType>
    </xsd:element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8" nillable="true" ma:displayName="MediaServiceAutoTags" ma:internalName="MediaServiceAutoTags" ma:readOnly="true">
      <xsd:simpleType>
        <xsd:restriction base="dms:Text"/>
      </xsd:simpleType>
    </xsd:element>
    <xsd:element name="MediaServiceOCR" ma:index="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4c811d1f-5e4a-4ee3-9cfd-88a4fb073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04d5b-b872-4636-a728-507be730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d75259b8-d078-43ce-9531-d35c0553c861}" ma:internalName="TaxCatchAll" ma:showField="CatchAllData" ma:web="b4104d5b-b872-4636-a728-507be7308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6F76EE8-C9F5-4537-8C32-05181BA1F3B7}"/>
</file>

<file path=customXml/itemProps2.xml><?xml version="1.0" encoding="utf-8"?>
<ds:datastoreItem xmlns:ds="http://schemas.openxmlformats.org/officeDocument/2006/customXml" ds:itemID="{FA061CAD-15BC-4CC8-896B-64FE8FDB2B3C}"/>
</file>

<file path=docProps/app.xml><?xml version="1.0" encoding="utf-8"?>
<Properties xmlns="http://schemas.openxmlformats.org/officeDocument/2006/extended-properties" xmlns:vt="http://schemas.openxmlformats.org/officeDocument/2006/docPropsVTypes">
  <Template>Mays_Cancer_Center_Template</Template>
  <TotalTime>4271</TotalTime>
  <Words>5946</Words>
  <Application>Microsoft Macintosh PowerPoint</Application>
  <PresentationFormat>Widescreen</PresentationFormat>
  <Paragraphs>922</Paragraphs>
  <Slides>43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21</vt:i4>
      </vt:variant>
      <vt:variant>
        <vt:lpstr>Theme</vt:lpstr>
      </vt:variant>
      <vt:variant>
        <vt:i4>2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3</vt:i4>
      </vt:variant>
    </vt:vector>
  </HeadingPairs>
  <TitlesOfParts>
    <vt:vector size="89" baseType="lpstr">
      <vt:lpstr>Arial</vt:lpstr>
      <vt:lpstr>Arial Narrow</vt:lpstr>
      <vt:lpstr>Avenir Heavy</vt:lpstr>
      <vt:lpstr>Calibri</vt:lpstr>
      <vt:lpstr>Calibri Light</vt:lpstr>
      <vt:lpstr>Courier New</vt:lpstr>
      <vt:lpstr>Franklin Gothic Book</vt:lpstr>
      <vt:lpstr>Franklin Gothic Medium Cond</vt:lpstr>
      <vt:lpstr>Georgia</vt:lpstr>
      <vt:lpstr>Goudy Old Style</vt:lpstr>
      <vt:lpstr>Goudy Oldstyle Std Regular</vt:lpstr>
      <vt:lpstr>Montserrat SemiBold</vt:lpstr>
      <vt:lpstr>Open Sans</vt:lpstr>
      <vt:lpstr>Proxima Nova Rg</vt:lpstr>
      <vt:lpstr>Roboto Condensed</vt:lpstr>
      <vt:lpstr>Symbol</vt:lpstr>
      <vt:lpstr>System Font Regular</vt:lpstr>
      <vt:lpstr>Times New Roman</vt:lpstr>
      <vt:lpstr>Trebuchet MS</vt:lpstr>
      <vt:lpstr>Verdana</vt:lpstr>
      <vt:lpstr>Wingdings</vt:lpstr>
      <vt:lpstr>1_Office Theme</vt:lpstr>
      <vt:lpstr>1_Kartos Therapeutics</vt:lpstr>
      <vt:lpstr>NYL2014_PPT_Slides</vt:lpstr>
      <vt:lpstr>1_NYL2014_PPT_Slides</vt:lpstr>
      <vt:lpstr>4_Mays_Cancer_Center_Template</vt:lpstr>
      <vt:lpstr>1_Theme2</vt:lpstr>
      <vt:lpstr>5_Custom Design</vt:lpstr>
      <vt:lpstr>6_Custom Design</vt:lpstr>
      <vt:lpstr>1_Mays_Cancer_Center_Template</vt:lpstr>
      <vt:lpstr>2_Mays_Cancer_Center_Template</vt:lpstr>
      <vt:lpstr>NORMAL SLIDES</vt:lpstr>
      <vt:lpstr>8_Office Theme</vt:lpstr>
      <vt:lpstr>2_Office Theme</vt:lpstr>
      <vt:lpstr>5_Mays_Cancer_Center_Template</vt:lpstr>
      <vt:lpstr>6_Mays_Cancer_Center_Template</vt:lpstr>
      <vt:lpstr>1_EHA</vt:lpstr>
      <vt:lpstr>9_Office Theme</vt:lpstr>
      <vt:lpstr>3_Mays_Cancer_Center_Template</vt:lpstr>
      <vt:lpstr>Office Theme</vt:lpstr>
      <vt:lpstr>Incyte</vt:lpstr>
      <vt:lpstr>3_Office Theme</vt:lpstr>
      <vt:lpstr>7_Office Theme</vt:lpstr>
      <vt:lpstr>3_Default Design</vt:lpstr>
      <vt:lpstr>think-cell Slide</vt:lpstr>
      <vt:lpstr>Prism 9</vt:lpstr>
      <vt:lpstr>PowerPoint Presentation</vt:lpstr>
      <vt:lpstr>PowerPoint Presentation</vt:lpstr>
      <vt:lpstr>PowerPoint Presentation</vt:lpstr>
      <vt:lpstr>Ruxolitinib phase III trials (COMFORT I &amp; II) </vt:lpstr>
      <vt:lpstr>Results: OS ~ ruxolitinib</vt:lpstr>
      <vt:lpstr>PowerPoint Presentation</vt:lpstr>
      <vt:lpstr>PowerPoint Presentation</vt:lpstr>
      <vt:lpstr>PowerPoint Presentation</vt:lpstr>
      <vt:lpstr>Pacritinib (PAC): A Selective Inhibitor of JAK2 and IRAK1</vt:lpstr>
      <vt:lpstr>PowerPoint Presentation</vt:lpstr>
      <vt:lpstr>MOMENTUM: Phase 3 Randomized Study of Momelotinib (MMB) versus Danazol (DAN) in Symptomatic and Anemic Myelofibrosis (MF) Patients Previously Treated with a JAK Inhibitor</vt:lpstr>
      <vt:lpstr>Momelotinib Inhibits JAK1, JAK2 and ACVR1 to Address MF Symptoms, Spleen, and Anemia</vt:lpstr>
      <vt:lpstr>Momelotinib: Prior Evidence of Clinical Benefit in Completed Trials</vt:lpstr>
      <vt:lpstr>MOMENTUM Study Design</vt:lpstr>
      <vt:lpstr>MFSAF Total Symptom Score Response Rate* at W24</vt:lpstr>
      <vt:lpstr>Spleen Response Rate* at Week 24</vt:lpstr>
      <vt:lpstr>Transfusion Independence* Rate at W24 and Mean Hemoglobin Over Time </vt:lpstr>
      <vt:lpstr>Step 1 for MF Management: Optimize JAK Inhibition</vt:lpstr>
      <vt:lpstr>PowerPoint Presentation</vt:lpstr>
      <vt:lpstr>Strategies for Non JAKi MOA in MF</vt:lpstr>
      <vt:lpstr>PowerPoint Presentation</vt:lpstr>
      <vt:lpstr>PowerPoint Presentation</vt:lpstr>
      <vt:lpstr>Arm 3: JAKi-naïve MF patients — Reduction of spleen volume and total symptom score in majority of the patients</vt:lpstr>
      <vt:lpstr>Navitoclax Plus Ruxolitinib in JAK Inhibitor-Naïve Patients With Myelofibrosis:  Preliminary Safety and Efficacy in a Multicenter, Open-label Phase 2 Study</vt:lpstr>
      <vt:lpstr>PowerPoint Presentation</vt:lpstr>
      <vt:lpstr>PowerPoint Presentation</vt:lpstr>
      <vt:lpstr>PowerPoint Presentation</vt:lpstr>
      <vt:lpstr>Add-on Parsaclisib in Patients With Myelofibrosis and Suboptimal Response to Ruxolitinib</vt:lpstr>
      <vt:lpstr>JAK1/2 and PI3K Pathways in Myelofibrosis</vt:lpstr>
      <vt:lpstr>Phase 2 Study of the JAK 1/2 Inhibitor, Ruxolitinib, and Add-on PI3Kδ Inhibitor, Parsaclisib (NCT02718300) </vt:lpstr>
      <vt:lpstr>Percentage Change in Spleen Volume and Response Categories of All Enrolled Patients*</vt:lpstr>
      <vt:lpstr>Percentage Change in MFSAF-TSS of All Enrolled Patients*</vt:lpstr>
      <vt:lpstr>Most Common Nonhematologic, Serious, and Fatal TEAEs Among All Treated Patients</vt:lpstr>
      <vt:lpstr>MF Treatment in 3-5 Years (Where Transplant Not Selected)</vt:lpstr>
      <vt:lpstr>Case 1 – Worsening Anemia in MF</vt:lpstr>
      <vt:lpstr>Case 2 – Up front MF</vt:lpstr>
      <vt:lpstr>Case 3 – Suboptimal response to JAKi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mith, Lauren K</dc:creator>
  <cp:lastModifiedBy>Fernando Rendina</cp:lastModifiedBy>
  <cp:revision>287</cp:revision>
  <dcterms:created xsi:type="dcterms:W3CDTF">2018-02-19T20:08:39Z</dcterms:created>
  <dcterms:modified xsi:type="dcterms:W3CDTF">2022-11-11T22:33:56Z</dcterms:modified>
</cp:coreProperties>
</file>